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</p:sldMasterIdLst>
  <p:notesMasterIdLst>
    <p:notesMasterId r:id="rId20"/>
  </p:notesMasterIdLst>
  <p:sldIdLst>
    <p:sldId id="256" r:id="rId3"/>
    <p:sldId id="274" r:id="rId4"/>
    <p:sldId id="275" r:id="rId5"/>
    <p:sldId id="282" r:id="rId6"/>
    <p:sldId id="283" r:id="rId7"/>
    <p:sldId id="284" r:id="rId8"/>
    <p:sldId id="279" r:id="rId9"/>
    <p:sldId id="280" r:id="rId10"/>
    <p:sldId id="257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snawanugroho" initials="t" lastIdx="13" clrIdx="0">
    <p:extLst>
      <p:ext uri="{19B8F6BF-5375-455C-9EA6-DF929625EA0E}">
        <p15:presenceInfo xmlns:p15="http://schemas.microsoft.com/office/powerpoint/2012/main" userId="trisnawanugroh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2D74"/>
    <a:srgbClr val="1F8492"/>
    <a:srgbClr val="101935"/>
    <a:srgbClr val="A53975"/>
    <a:srgbClr val="564787"/>
    <a:srgbClr val="DBCBD8"/>
    <a:srgbClr val="F2FDFF"/>
    <a:srgbClr val="9AD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0307" autoAdjust="0"/>
  </p:normalViewPr>
  <p:slideViewPr>
    <p:cSldViewPr snapToGrid="0">
      <p:cViewPr>
        <p:scale>
          <a:sx n="66" d="100"/>
          <a:sy n="66" d="100"/>
        </p:scale>
        <p:origin x="678" y="78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urop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6A4A-4EF4-90B2-011FF062AF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si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6A4A-4EF4-90B2-011FF062AF7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merica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D$2:$D$5</c:f>
              <c:numCache>
                <c:formatCode>0%</c:formatCode>
                <c:ptCount val="4"/>
                <c:pt idx="0">
                  <c:v>0.2</c:v>
                </c:pt>
                <c:pt idx="1">
                  <c:v>0.2</c:v>
                </c:pt>
                <c:pt idx="2">
                  <c:v>0.3</c:v>
                </c:pt>
                <c:pt idx="3">
                  <c:v>0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6A4A-4EF4-90B2-011FF062AF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54614640"/>
        <c:axId val="1957179632"/>
      </c:lineChart>
      <c:catAx>
        <c:axId val="1954614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7179632"/>
        <c:crosses val="autoZero"/>
        <c:auto val="1"/>
        <c:lblAlgn val="ctr"/>
        <c:lblOffset val="100"/>
        <c:noMultiLvlLbl val="0"/>
      </c:catAx>
      <c:valAx>
        <c:axId val="1957179632"/>
        <c:scaling>
          <c:orientation val="minMax"/>
          <c:max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4614640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80334-13B4-4816-BC0B-C9543A5DB7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25FB8-320C-4083-8A3A-856629D1A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43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124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886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495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145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rawpixel.com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295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rawpixel.com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351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rawpixel.com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4068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083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creativeart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336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FC1A2541-C66C-4680-968E-4CFD21EFF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DCC127CB-45BF-4D09-B501-F4C759F644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5F3DBF-45AF-4497-B142-6B38DF4B36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738DDFBC-1843-4C12-9D5E-451430B716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0ADFB6B-EF4D-40B0-B7EB-BB5B7BCA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F285D75-D480-429C-B8A5-568CD5D6C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1BA913B-0C70-402E-BF80-D38C98E02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4D2E29-67F4-44D8-B0E3-F54815B4F1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572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EF0440-6787-4FB6-91F7-986D630D3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239B314-C197-4CF7-8C4A-A0F666AFC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5E3161F-7401-4CE3-88F9-E3B43A17F6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74AEB55-2516-4D24-ABCE-0E2FBF67C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7D310D6-21B6-45B8-9A1B-D0108DB6D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69F3178B-92CA-4AA6-8394-8DD1D5C04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1987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7B9822-D706-4383-BB13-021207C1A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DF99D451-7321-4604-BAAE-CEB91BAD12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A96B4F2-80BF-4C4F-8EB8-B3AF48321E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3EFBFA1-C918-4257-967E-A04CD6515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EBE88E6-9E52-4051-9CE3-1DA07A89B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F313B7B-53A7-4AC0-A7C3-15B16B8E22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2063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0C09CB-98DD-4E7D-83F9-6744ECC64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44E4A381-4D6F-4282-8C0E-E67E02AAB9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DF1B113-783F-424C-AF4F-82E169EF1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DFC3965-B169-42D5-83F5-7930B151A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F0C933D-B0F7-4630-B315-83071450C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058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67A59D32-1BCB-4D1B-BF59-A9E5F6E730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EB08353-DE13-47C1-9FB2-6E20CFA560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4AA202E-CC82-4338-A1CB-AD8F7FDFD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601F3E0-F87C-43F3-AA7B-EF8D99CB1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1129CA5-0E42-4851-8F2B-516ECC90CD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E9C760-6439-437F-BBB1-C3856724A8A8}" type="datetime1">
              <a:rPr lang="en-US" smtClean="0"/>
              <a:t>1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411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xmlns="" id="{1A405EED-F690-4A11-92A7-2981DA55D4FE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BA2064D-F3C3-4247-BB0E-3A8B9A2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0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16F16FD-2C53-403B-BF33-81984B8570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34B0F8-76FB-42F2-8E67-4517D27F0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B9F3021-AB9D-4B2B-987A-B25B40257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30859"/>
            <a:ext cx="10972800" cy="484610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BF14A7C7-1984-4854-9D29-7402A14F4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993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pos="7296" userDrawn="1">
          <p15:clr>
            <a:srgbClr val="FBAE40"/>
          </p15:clr>
        </p15:guide>
        <p15:guide id="3" pos="3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9D4652-E0A2-44BC-BF9A-3AC39F9A1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D8890D1-0EF5-4789-AAD1-8F8FB965C2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0042A68-EB8D-4FB4-A44E-3FD7C2895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BBD10A-2920-4089-BF61-A23EF5094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3AABF26-6AEA-453A-A056-845118393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0946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012667-43FF-46C8-9605-F3BED234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C9E5B60-E138-47DA-9BBD-6FBE16FAFF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D045B90-619E-45A4-AB42-B3C0B0C43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2FFCE8-CBFE-4A78-BFF5-74BACB31E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1A30F96-7539-4EF3-9D1B-DD8EF18C4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30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D231C7A-110F-4A9D-9E78-AD6830858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0E32DC7-EA53-4A5C-942B-1F8B3F0C4E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70C813E-00DC-4FB6-A287-7950B24E6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7D92E5C-C823-4AD8-BCE3-1065E48B9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1444E0E-99B1-4711-AF34-A53410BD4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570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E5BBBF-15D1-49FC-A511-5FE885337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372538C-DA3A-4F7B-AD90-F14653C101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E3B34B8-A26A-45A5-BC1E-EF02CF0E0E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83B0635-B989-4442-9203-22A862CCA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F32666F-5499-4BE1-9599-4930B6D14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BBEC7BD-7D57-44F9-BDEF-4F38DA506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010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FACBBB-5315-45D4-BF61-26F099C1F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515EE24-5306-4321-87D4-0230D737D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1E532815-F074-4391-84BA-D63EA8DB51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FAC2155-9E3F-4DFF-A78B-8C56CABC21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977E3EF3-A991-4FF2-8569-325F06C863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4E7AB23F-407F-444D-9F96-B742BE0CB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AE00144-BA72-4A02-BA17-C2E6ABE60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56EF456-EB18-4100-9CE5-206E5B6E7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755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89BA81A8-8427-42C4-9E6E-ED379197B2B8}"/>
              </a:ext>
            </a:extLst>
          </p:cNvPr>
          <p:cNvSpPr/>
          <p:nvPr userDrawn="1"/>
        </p:nvSpPr>
        <p:spPr>
          <a:xfrm>
            <a:off x="6235700" y="0"/>
            <a:ext cx="59563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1E99322-D0AB-44C7-B68E-F9E3C0AA3452}"/>
              </a:ext>
            </a:extLst>
          </p:cNvPr>
          <p:cNvSpPr/>
          <p:nvPr userDrawn="1"/>
        </p:nvSpPr>
        <p:spPr>
          <a:xfrm>
            <a:off x="0" y="0"/>
            <a:ext cx="5956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8CBDD9E-C173-411F-8978-F4E284A954BB}"/>
              </a:ext>
            </a:extLst>
          </p:cNvPr>
          <p:cNvSpPr/>
          <p:nvPr userDrawn="1"/>
        </p:nvSpPr>
        <p:spPr>
          <a:xfrm>
            <a:off x="188687" y="182789"/>
            <a:ext cx="11814627" cy="65386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AD37813-2CF6-441F-809E-B375EE2AF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B3473419-2BA8-44AC-AB0F-A12C1E04B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BAAF00F-9D11-455E-8B7E-2B9C64B50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3268E1D-CC3A-4BD0-80F7-458BCAA4B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B9F6BE6-1FB5-4588-8F14-A58CF75A9AF3}"/>
              </a:ext>
            </a:extLst>
          </p:cNvPr>
          <p:cNvSpPr/>
          <p:nvPr userDrawn="1"/>
        </p:nvSpPr>
        <p:spPr>
          <a:xfrm>
            <a:off x="10160000" y="6286500"/>
            <a:ext cx="1676400" cy="571500"/>
          </a:xfrm>
          <a:prstGeom prst="rect">
            <a:avLst/>
          </a:prstGeom>
          <a:pattFill prst="wdDn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09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97AD7B8-2A79-4B15-B8F9-7D2C252C0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0CD3D3E-0564-4F96-98E5-33109CAF9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3051355-5E85-4B04-866B-4EB218DB3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385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C59F4C5-B0B1-4297-BAA0-7E0E72AF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0197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51C34D6F-D0F4-4534-8C4A-5CB0647CBE1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C15189CC-BB19-4580-9BD1-E60E21E8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FBED655-EDEF-4F48-8965-AC9A79BA0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30859"/>
            <a:ext cx="10972800" cy="484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: Single Corner Rounded 12">
            <a:extLst>
              <a:ext uri="{FF2B5EF4-FFF2-40B4-BE49-F238E27FC236}">
                <a16:creationId xmlns:a16="http://schemas.microsoft.com/office/drawing/2014/main" xmlns="" id="{D9201932-F016-4634-83E9-B726DBE3A173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6AC4CF72-3B1D-42D0-A397-3629DD6AB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pos="3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7C24B0B4-6BDD-4B6C-8DC4-CE6A74225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D6AC650-2510-484B-B679-3E8846CA9C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D0EA47C-4C58-46CA-9AD3-2A2A5400A6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6EDD2E-AF6E-47DC-890C-D2B624409947}" type="datetimeFigureOut">
              <a:rPr lang="en-US" smtClean="0"/>
              <a:t>1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C5BE471-1F60-4329-9C09-8DFF815D85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55A945C-24D5-4E34-899B-D418CD7CDB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125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6.bin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4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5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>
            <a:extLst>
              <a:ext uri="{FF2B5EF4-FFF2-40B4-BE49-F238E27FC236}">
                <a16:creationId xmlns:a16="http://schemas.microsoft.com/office/drawing/2014/main" xmlns="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xmlns="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xmlns="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A person standing next to a computer&#10;&#10;Description automatically generated">
            <a:extLst>
              <a:ext uri="{FF2B5EF4-FFF2-40B4-BE49-F238E27FC236}">
                <a16:creationId xmlns:a16="http://schemas.microsoft.com/office/drawing/2014/main" xmlns="" id="{6B0A5532-14D8-42B9-B21F-D0C438D5F18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747" r="1613"/>
          <a:stretch/>
        </p:blipFill>
        <p:spPr>
          <a:xfrm>
            <a:off x="0" y="0"/>
            <a:ext cx="6539571" cy="6858000"/>
          </a:xfrm>
          <a:custGeom>
            <a:avLst/>
            <a:gdLst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8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2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6">
            <a:extLst>
              <a:ext uri="{FF2B5EF4-FFF2-40B4-BE49-F238E27FC236}">
                <a16:creationId xmlns:a16="http://schemas.microsoft.com/office/drawing/2014/main" xmlns="" id="{B018D872-74EC-4C12-835A-5F484647A850}"/>
              </a:ext>
            </a:extLst>
          </p:cNvPr>
          <p:cNvSpPr/>
          <p:nvPr/>
        </p:nvSpPr>
        <p:spPr>
          <a:xfrm>
            <a:off x="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xmlns="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622" y="2401722"/>
            <a:ext cx="4700080" cy="139731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552" y="248361"/>
            <a:ext cx="1905000" cy="1905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84571" y="4916384"/>
            <a:ext cx="3550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461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940" y="138499"/>
            <a:ext cx="11324119" cy="6369817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-2" y="3554574"/>
            <a:ext cx="11487152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78FDFDA-BEF5-4DEF-B80F-DA46ED605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723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Rectangle 34">
            <a:extLst>
              <a:ext uri="{FF2B5EF4-FFF2-40B4-BE49-F238E27FC236}">
                <a16:creationId xmlns:a16="http://schemas.microsoft.com/office/drawing/2014/main" xmlns="" id="{D1F89E4E-E549-4B72-B0C1-B89855BD0328}"/>
              </a:ext>
            </a:extLst>
          </p:cNvPr>
          <p:cNvSpPr/>
          <p:nvPr/>
        </p:nvSpPr>
        <p:spPr>
          <a:xfrm flipH="1" flipV="1">
            <a:off x="-2" y="3554574"/>
            <a:ext cx="11487152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259" name="Picture 258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xmlns="" id="{F0F7A178-0008-4EBA-B8D1-993F1780F1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868" r="47907" b="16601"/>
          <a:stretch/>
        </p:blipFill>
        <p:spPr>
          <a:xfrm>
            <a:off x="624344" y="0"/>
            <a:ext cx="4052641" cy="612502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CC4C589-D729-4B39-B788-06282CB685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xmlns="" id="{562E07FC-6BAE-43C3-9C70-3CD3DB4FC862}"/>
              </a:ext>
            </a:extLst>
          </p:cNvPr>
          <p:cNvSpPr/>
          <p:nvPr/>
        </p:nvSpPr>
        <p:spPr>
          <a:xfrm>
            <a:off x="624346" y="0"/>
            <a:ext cx="4053562" cy="6125029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57" name="Title 7">
            <a:extLst>
              <a:ext uri="{FF2B5EF4-FFF2-40B4-BE49-F238E27FC236}">
                <a16:creationId xmlns:a16="http://schemas.microsoft.com/office/drawing/2014/main" xmlns="" id="{D6BBC02A-57B6-4751-8230-AE7A6A241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870" y="4459966"/>
            <a:ext cx="2660005" cy="1107996"/>
          </a:xfrm>
        </p:spPr>
        <p:txBody>
          <a:bodyPr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Competitor Analysi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38B681EB-DB13-4D6C-B8F5-BFEE8EC6FD95}"/>
              </a:ext>
            </a:extLst>
          </p:cNvPr>
          <p:cNvGrpSpPr/>
          <p:nvPr/>
        </p:nvGrpSpPr>
        <p:grpSpPr>
          <a:xfrm>
            <a:off x="5668509" y="552757"/>
            <a:ext cx="2423933" cy="3175248"/>
            <a:chOff x="594889" y="1834251"/>
            <a:chExt cx="2734301" cy="3581817"/>
          </a:xfrm>
          <a:solidFill>
            <a:schemeClr val="accent1"/>
          </a:solidFill>
        </p:grpSpPr>
        <p:sp>
          <p:nvSpPr>
            <p:cNvPr id="198" name="Freeform 43">
              <a:extLst>
                <a:ext uri="{FF2B5EF4-FFF2-40B4-BE49-F238E27FC236}">
                  <a16:creationId xmlns:a16="http://schemas.microsoft.com/office/drawing/2014/main" xmlns="" id="{0AFCA4F1-54EB-42BD-A4E4-D0C198A6B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443" y="5364933"/>
              <a:ext cx="53497" cy="51135"/>
            </a:xfrm>
            <a:custGeom>
              <a:avLst/>
              <a:gdLst>
                <a:gd name="T0" fmla="*/ 0 w 41"/>
                <a:gd name="T1" fmla="*/ 30 h 38"/>
                <a:gd name="T2" fmla="*/ 10 w 41"/>
                <a:gd name="T3" fmla="*/ 0 h 38"/>
                <a:gd name="T4" fmla="*/ 13 w 41"/>
                <a:gd name="T5" fmla="*/ 0 h 38"/>
                <a:gd name="T6" fmla="*/ 22 w 41"/>
                <a:gd name="T7" fmla="*/ 12 h 38"/>
                <a:gd name="T8" fmla="*/ 40 w 41"/>
                <a:gd name="T9" fmla="*/ 25 h 38"/>
                <a:gd name="T10" fmla="*/ 19 w 41"/>
                <a:gd name="T11" fmla="*/ 25 h 38"/>
                <a:gd name="T12" fmla="*/ 15 w 41"/>
                <a:gd name="T13" fmla="*/ 37 h 38"/>
                <a:gd name="T14" fmla="*/ 0 w 41"/>
                <a:gd name="T15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8">
                  <a:moveTo>
                    <a:pt x="0" y="30"/>
                  </a:moveTo>
                  <a:lnTo>
                    <a:pt x="10" y="0"/>
                  </a:lnTo>
                  <a:lnTo>
                    <a:pt x="13" y="0"/>
                  </a:lnTo>
                  <a:lnTo>
                    <a:pt x="22" y="12"/>
                  </a:lnTo>
                  <a:lnTo>
                    <a:pt x="40" y="25"/>
                  </a:lnTo>
                  <a:lnTo>
                    <a:pt x="19" y="25"/>
                  </a:lnTo>
                  <a:lnTo>
                    <a:pt x="15" y="37"/>
                  </a:lnTo>
                  <a:lnTo>
                    <a:pt x="0" y="3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9" name="Freeform 44">
              <a:extLst>
                <a:ext uri="{FF2B5EF4-FFF2-40B4-BE49-F238E27FC236}">
                  <a16:creationId xmlns:a16="http://schemas.microsoft.com/office/drawing/2014/main" xmlns="" id="{839CCD9E-67CE-42FF-86B6-DC64279A6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722" y="5357798"/>
              <a:ext cx="47553" cy="49946"/>
            </a:xfrm>
            <a:custGeom>
              <a:avLst/>
              <a:gdLst>
                <a:gd name="T0" fmla="*/ 31 w 35"/>
                <a:gd name="T1" fmla="*/ 5 h 38"/>
                <a:gd name="T2" fmla="*/ 21 w 35"/>
                <a:gd name="T3" fmla="*/ 37 h 38"/>
                <a:gd name="T4" fmla="*/ 0 w 35"/>
                <a:gd name="T5" fmla="*/ 25 h 38"/>
                <a:gd name="T6" fmla="*/ 5 w 35"/>
                <a:gd name="T7" fmla="*/ 7 h 38"/>
                <a:gd name="T8" fmla="*/ 14 w 35"/>
                <a:gd name="T9" fmla="*/ 0 h 38"/>
                <a:gd name="T10" fmla="*/ 34 w 35"/>
                <a:gd name="T11" fmla="*/ 5 h 38"/>
                <a:gd name="T12" fmla="*/ 31 w 35"/>
                <a:gd name="T13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8">
                  <a:moveTo>
                    <a:pt x="31" y="5"/>
                  </a:moveTo>
                  <a:lnTo>
                    <a:pt x="21" y="37"/>
                  </a:lnTo>
                  <a:lnTo>
                    <a:pt x="0" y="25"/>
                  </a:lnTo>
                  <a:lnTo>
                    <a:pt x="5" y="7"/>
                  </a:lnTo>
                  <a:lnTo>
                    <a:pt x="14" y="0"/>
                  </a:lnTo>
                  <a:lnTo>
                    <a:pt x="34" y="5"/>
                  </a:lnTo>
                  <a:lnTo>
                    <a:pt x="31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0" name="Freeform 45">
              <a:extLst>
                <a:ext uri="{FF2B5EF4-FFF2-40B4-BE49-F238E27FC236}">
                  <a16:creationId xmlns:a16="http://schemas.microsoft.com/office/drawing/2014/main" xmlns="" id="{8AD7273D-F148-4DE3-B2CB-3B578FDE6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1763" y="4490884"/>
              <a:ext cx="137904" cy="899022"/>
            </a:xfrm>
            <a:custGeom>
              <a:avLst/>
              <a:gdLst>
                <a:gd name="T0" fmla="*/ 56 w 103"/>
                <a:gd name="T1" fmla="*/ 625 h 674"/>
                <a:gd name="T2" fmla="*/ 40 w 103"/>
                <a:gd name="T3" fmla="*/ 597 h 674"/>
                <a:gd name="T4" fmla="*/ 46 w 103"/>
                <a:gd name="T5" fmla="*/ 551 h 674"/>
                <a:gd name="T6" fmla="*/ 49 w 103"/>
                <a:gd name="T7" fmla="*/ 478 h 674"/>
                <a:gd name="T8" fmla="*/ 43 w 103"/>
                <a:gd name="T9" fmla="*/ 438 h 674"/>
                <a:gd name="T10" fmla="*/ 33 w 103"/>
                <a:gd name="T11" fmla="*/ 397 h 674"/>
                <a:gd name="T12" fmla="*/ 44 w 103"/>
                <a:gd name="T13" fmla="*/ 372 h 674"/>
                <a:gd name="T14" fmla="*/ 41 w 103"/>
                <a:gd name="T15" fmla="*/ 326 h 674"/>
                <a:gd name="T16" fmla="*/ 41 w 103"/>
                <a:gd name="T17" fmla="*/ 309 h 674"/>
                <a:gd name="T18" fmla="*/ 49 w 103"/>
                <a:gd name="T19" fmla="*/ 284 h 674"/>
                <a:gd name="T20" fmla="*/ 41 w 103"/>
                <a:gd name="T21" fmla="*/ 265 h 674"/>
                <a:gd name="T22" fmla="*/ 47 w 103"/>
                <a:gd name="T23" fmla="*/ 235 h 674"/>
                <a:gd name="T24" fmla="*/ 42 w 103"/>
                <a:gd name="T25" fmla="*/ 198 h 674"/>
                <a:gd name="T26" fmla="*/ 49 w 103"/>
                <a:gd name="T27" fmla="*/ 175 h 674"/>
                <a:gd name="T28" fmla="*/ 63 w 103"/>
                <a:gd name="T29" fmla="*/ 155 h 674"/>
                <a:gd name="T30" fmla="*/ 64 w 103"/>
                <a:gd name="T31" fmla="*/ 134 h 674"/>
                <a:gd name="T32" fmla="*/ 73 w 103"/>
                <a:gd name="T33" fmla="*/ 112 h 674"/>
                <a:gd name="T34" fmla="*/ 64 w 103"/>
                <a:gd name="T35" fmla="*/ 87 h 674"/>
                <a:gd name="T36" fmla="*/ 54 w 103"/>
                <a:gd name="T37" fmla="*/ 36 h 674"/>
                <a:gd name="T38" fmla="*/ 38 w 103"/>
                <a:gd name="T39" fmla="*/ 8 h 674"/>
                <a:gd name="T40" fmla="*/ 21 w 103"/>
                <a:gd name="T41" fmla="*/ 10 h 674"/>
                <a:gd name="T42" fmla="*/ 28 w 103"/>
                <a:gd name="T43" fmla="*/ 39 h 674"/>
                <a:gd name="T44" fmla="*/ 23 w 103"/>
                <a:gd name="T45" fmla="*/ 104 h 674"/>
                <a:gd name="T46" fmla="*/ 28 w 103"/>
                <a:gd name="T47" fmla="*/ 112 h 674"/>
                <a:gd name="T48" fmla="*/ 24 w 103"/>
                <a:gd name="T49" fmla="*/ 147 h 674"/>
                <a:gd name="T50" fmla="*/ 13 w 103"/>
                <a:gd name="T51" fmla="*/ 187 h 674"/>
                <a:gd name="T52" fmla="*/ 14 w 103"/>
                <a:gd name="T53" fmla="*/ 216 h 674"/>
                <a:gd name="T54" fmla="*/ 15 w 103"/>
                <a:gd name="T55" fmla="*/ 268 h 674"/>
                <a:gd name="T56" fmla="*/ 4 w 103"/>
                <a:gd name="T57" fmla="*/ 340 h 674"/>
                <a:gd name="T58" fmla="*/ 11 w 103"/>
                <a:gd name="T59" fmla="*/ 437 h 674"/>
                <a:gd name="T60" fmla="*/ 15 w 103"/>
                <a:gd name="T61" fmla="*/ 451 h 674"/>
                <a:gd name="T62" fmla="*/ 20 w 103"/>
                <a:gd name="T63" fmla="*/ 499 h 674"/>
                <a:gd name="T64" fmla="*/ 13 w 103"/>
                <a:gd name="T65" fmla="*/ 535 h 674"/>
                <a:gd name="T66" fmla="*/ 13 w 103"/>
                <a:gd name="T67" fmla="*/ 566 h 674"/>
                <a:gd name="T68" fmla="*/ 28 w 103"/>
                <a:gd name="T69" fmla="*/ 605 h 674"/>
                <a:gd name="T70" fmla="*/ 40 w 103"/>
                <a:gd name="T71" fmla="*/ 625 h 674"/>
                <a:gd name="T72" fmla="*/ 54 w 103"/>
                <a:gd name="T73" fmla="*/ 637 h 674"/>
                <a:gd name="T74" fmla="*/ 72 w 103"/>
                <a:gd name="T75" fmla="*/ 654 h 674"/>
                <a:gd name="T76" fmla="*/ 87 w 103"/>
                <a:gd name="T77" fmla="*/ 673 h 674"/>
                <a:gd name="T78" fmla="*/ 102 w 103"/>
                <a:gd name="T79" fmla="*/ 650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3" h="674">
                  <a:moveTo>
                    <a:pt x="99" y="623"/>
                  </a:moveTo>
                  <a:lnTo>
                    <a:pt x="56" y="625"/>
                  </a:lnTo>
                  <a:lnTo>
                    <a:pt x="53" y="604"/>
                  </a:lnTo>
                  <a:lnTo>
                    <a:pt x="40" y="597"/>
                  </a:lnTo>
                  <a:lnTo>
                    <a:pt x="38" y="552"/>
                  </a:lnTo>
                  <a:lnTo>
                    <a:pt x="46" y="551"/>
                  </a:lnTo>
                  <a:lnTo>
                    <a:pt x="48" y="538"/>
                  </a:lnTo>
                  <a:lnTo>
                    <a:pt x="49" y="478"/>
                  </a:lnTo>
                  <a:lnTo>
                    <a:pt x="43" y="462"/>
                  </a:lnTo>
                  <a:lnTo>
                    <a:pt x="43" y="438"/>
                  </a:lnTo>
                  <a:lnTo>
                    <a:pt x="38" y="411"/>
                  </a:lnTo>
                  <a:lnTo>
                    <a:pt x="33" y="397"/>
                  </a:lnTo>
                  <a:lnTo>
                    <a:pt x="33" y="385"/>
                  </a:lnTo>
                  <a:lnTo>
                    <a:pt x="44" y="372"/>
                  </a:lnTo>
                  <a:lnTo>
                    <a:pt x="31" y="343"/>
                  </a:lnTo>
                  <a:lnTo>
                    <a:pt x="41" y="326"/>
                  </a:lnTo>
                  <a:lnTo>
                    <a:pt x="48" y="317"/>
                  </a:lnTo>
                  <a:lnTo>
                    <a:pt x="41" y="309"/>
                  </a:lnTo>
                  <a:lnTo>
                    <a:pt x="41" y="287"/>
                  </a:lnTo>
                  <a:lnTo>
                    <a:pt x="49" y="284"/>
                  </a:lnTo>
                  <a:lnTo>
                    <a:pt x="48" y="267"/>
                  </a:lnTo>
                  <a:lnTo>
                    <a:pt x="41" y="265"/>
                  </a:lnTo>
                  <a:lnTo>
                    <a:pt x="40" y="240"/>
                  </a:lnTo>
                  <a:lnTo>
                    <a:pt x="47" y="235"/>
                  </a:lnTo>
                  <a:lnTo>
                    <a:pt x="45" y="222"/>
                  </a:lnTo>
                  <a:lnTo>
                    <a:pt x="42" y="198"/>
                  </a:lnTo>
                  <a:lnTo>
                    <a:pt x="48" y="189"/>
                  </a:lnTo>
                  <a:lnTo>
                    <a:pt x="49" y="175"/>
                  </a:lnTo>
                  <a:lnTo>
                    <a:pt x="59" y="168"/>
                  </a:lnTo>
                  <a:lnTo>
                    <a:pt x="63" y="155"/>
                  </a:lnTo>
                  <a:lnTo>
                    <a:pt x="55" y="144"/>
                  </a:lnTo>
                  <a:lnTo>
                    <a:pt x="64" y="134"/>
                  </a:lnTo>
                  <a:lnTo>
                    <a:pt x="64" y="115"/>
                  </a:lnTo>
                  <a:lnTo>
                    <a:pt x="73" y="112"/>
                  </a:lnTo>
                  <a:lnTo>
                    <a:pt x="74" y="93"/>
                  </a:lnTo>
                  <a:lnTo>
                    <a:pt x="64" y="87"/>
                  </a:lnTo>
                  <a:lnTo>
                    <a:pt x="54" y="67"/>
                  </a:lnTo>
                  <a:lnTo>
                    <a:pt x="54" y="36"/>
                  </a:lnTo>
                  <a:lnTo>
                    <a:pt x="40" y="23"/>
                  </a:lnTo>
                  <a:lnTo>
                    <a:pt x="38" y="8"/>
                  </a:lnTo>
                  <a:lnTo>
                    <a:pt x="31" y="0"/>
                  </a:lnTo>
                  <a:lnTo>
                    <a:pt x="21" y="10"/>
                  </a:lnTo>
                  <a:lnTo>
                    <a:pt x="24" y="31"/>
                  </a:lnTo>
                  <a:lnTo>
                    <a:pt x="28" y="39"/>
                  </a:lnTo>
                  <a:lnTo>
                    <a:pt x="29" y="97"/>
                  </a:lnTo>
                  <a:lnTo>
                    <a:pt x="23" y="104"/>
                  </a:lnTo>
                  <a:lnTo>
                    <a:pt x="23" y="112"/>
                  </a:lnTo>
                  <a:lnTo>
                    <a:pt x="28" y="112"/>
                  </a:lnTo>
                  <a:lnTo>
                    <a:pt x="28" y="147"/>
                  </a:lnTo>
                  <a:lnTo>
                    <a:pt x="24" y="147"/>
                  </a:lnTo>
                  <a:lnTo>
                    <a:pt x="23" y="187"/>
                  </a:lnTo>
                  <a:lnTo>
                    <a:pt x="13" y="187"/>
                  </a:lnTo>
                  <a:lnTo>
                    <a:pt x="18" y="196"/>
                  </a:lnTo>
                  <a:lnTo>
                    <a:pt x="14" y="216"/>
                  </a:lnTo>
                  <a:lnTo>
                    <a:pt x="11" y="266"/>
                  </a:lnTo>
                  <a:lnTo>
                    <a:pt x="15" y="268"/>
                  </a:lnTo>
                  <a:lnTo>
                    <a:pt x="9" y="330"/>
                  </a:lnTo>
                  <a:lnTo>
                    <a:pt x="4" y="340"/>
                  </a:lnTo>
                  <a:lnTo>
                    <a:pt x="0" y="346"/>
                  </a:lnTo>
                  <a:lnTo>
                    <a:pt x="11" y="437"/>
                  </a:lnTo>
                  <a:lnTo>
                    <a:pt x="5" y="451"/>
                  </a:lnTo>
                  <a:lnTo>
                    <a:pt x="15" y="451"/>
                  </a:lnTo>
                  <a:lnTo>
                    <a:pt x="18" y="454"/>
                  </a:lnTo>
                  <a:lnTo>
                    <a:pt x="20" y="499"/>
                  </a:lnTo>
                  <a:lnTo>
                    <a:pt x="14" y="512"/>
                  </a:lnTo>
                  <a:lnTo>
                    <a:pt x="13" y="535"/>
                  </a:lnTo>
                  <a:lnTo>
                    <a:pt x="23" y="540"/>
                  </a:lnTo>
                  <a:lnTo>
                    <a:pt x="13" y="566"/>
                  </a:lnTo>
                  <a:lnTo>
                    <a:pt x="20" y="592"/>
                  </a:lnTo>
                  <a:lnTo>
                    <a:pt x="28" y="605"/>
                  </a:lnTo>
                  <a:lnTo>
                    <a:pt x="38" y="610"/>
                  </a:lnTo>
                  <a:lnTo>
                    <a:pt x="40" y="625"/>
                  </a:lnTo>
                  <a:lnTo>
                    <a:pt x="44" y="632"/>
                  </a:lnTo>
                  <a:lnTo>
                    <a:pt x="54" y="637"/>
                  </a:lnTo>
                  <a:lnTo>
                    <a:pt x="59" y="647"/>
                  </a:lnTo>
                  <a:lnTo>
                    <a:pt x="72" y="654"/>
                  </a:lnTo>
                  <a:lnTo>
                    <a:pt x="80" y="662"/>
                  </a:lnTo>
                  <a:lnTo>
                    <a:pt x="87" y="673"/>
                  </a:lnTo>
                  <a:lnTo>
                    <a:pt x="91" y="656"/>
                  </a:lnTo>
                  <a:lnTo>
                    <a:pt x="102" y="650"/>
                  </a:lnTo>
                  <a:lnTo>
                    <a:pt x="99" y="62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1" name="Freeform 46">
              <a:extLst>
                <a:ext uri="{FF2B5EF4-FFF2-40B4-BE49-F238E27FC236}">
                  <a16:creationId xmlns:a16="http://schemas.microsoft.com/office/drawing/2014/main" xmlns="" id="{B07F2CEE-90E4-4184-942A-D72B74591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7776" y="3656078"/>
              <a:ext cx="57064" cy="53513"/>
            </a:xfrm>
            <a:custGeom>
              <a:avLst/>
              <a:gdLst>
                <a:gd name="T0" fmla="*/ 32 w 43"/>
                <a:gd name="T1" fmla="*/ 1 h 41"/>
                <a:gd name="T2" fmla="*/ 26 w 43"/>
                <a:gd name="T3" fmla="*/ 14 h 41"/>
                <a:gd name="T4" fmla="*/ 32 w 43"/>
                <a:gd name="T5" fmla="*/ 21 h 41"/>
                <a:gd name="T6" fmla="*/ 23 w 43"/>
                <a:gd name="T7" fmla="*/ 26 h 41"/>
                <a:gd name="T8" fmla="*/ 0 w 43"/>
                <a:gd name="T9" fmla="*/ 26 h 41"/>
                <a:gd name="T10" fmla="*/ 3 w 43"/>
                <a:gd name="T11" fmla="*/ 37 h 41"/>
                <a:gd name="T12" fmla="*/ 21 w 43"/>
                <a:gd name="T13" fmla="*/ 38 h 41"/>
                <a:gd name="T14" fmla="*/ 37 w 43"/>
                <a:gd name="T15" fmla="*/ 40 h 41"/>
                <a:gd name="T16" fmla="*/ 42 w 43"/>
                <a:gd name="T17" fmla="*/ 29 h 41"/>
                <a:gd name="T18" fmla="*/ 42 w 43"/>
                <a:gd name="T19" fmla="*/ 8 h 41"/>
                <a:gd name="T20" fmla="*/ 42 w 43"/>
                <a:gd name="T21" fmla="*/ 0 h 41"/>
                <a:gd name="T22" fmla="*/ 32 w 43"/>
                <a:gd name="T23" fmla="*/ 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41">
                  <a:moveTo>
                    <a:pt x="32" y="1"/>
                  </a:moveTo>
                  <a:lnTo>
                    <a:pt x="26" y="14"/>
                  </a:lnTo>
                  <a:lnTo>
                    <a:pt x="32" y="21"/>
                  </a:lnTo>
                  <a:lnTo>
                    <a:pt x="23" y="26"/>
                  </a:lnTo>
                  <a:lnTo>
                    <a:pt x="0" y="26"/>
                  </a:lnTo>
                  <a:lnTo>
                    <a:pt x="3" y="37"/>
                  </a:lnTo>
                  <a:lnTo>
                    <a:pt x="21" y="38"/>
                  </a:lnTo>
                  <a:lnTo>
                    <a:pt x="37" y="40"/>
                  </a:lnTo>
                  <a:lnTo>
                    <a:pt x="42" y="29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32" y="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2" name="Freeform 47">
              <a:extLst>
                <a:ext uri="{FF2B5EF4-FFF2-40B4-BE49-F238E27FC236}">
                  <a16:creationId xmlns:a16="http://schemas.microsoft.com/office/drawing/2014/main" xmlns="" id="{8AF30C6E-75A0-4EF0-8356-12FBD2F90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7906" y="3364729"/>
              <a:ext cx="549238" cy="415025"/>
            </a:xfrm>
            <a:custGeom>
              <a:avLst/>
              <a:gdLst>
                <a:gd name="T0" fmla="*/ 245 w 412"/>
                <a:gd name="T1" fmla="*/ 119 h 312"/>
                <a:gd name="T2" fmla="*/ 229 w 412"/>
                <a:gd name="T3" fmla="*/ 93 h 312"/>
                <a:gd name="T4" fmla="*/ 216 w 412"/>
                <a:gd name="T5" fmla="*/ 60 h 312"/>
                <a:gd name="T6" fmla="*/ 196 w 412"/>
                <a:gd name="T7" fmla="*/ 70 h 312"/>
                <a:gd name="T8" fmla="*/ 174 w 412"/>
                <a:gd name="T9" fmla="*/ 45 h 312"/>
                <a:gd name="T10" fmla="*/ 164 w 412"/>
                <a:gd name="T11" fmla="*/ 29 h 312"/>
                <a:gd name="T12" fmla="*/ 147 w 412"/>
                <a:gd name="T13" fmla="*/ 11 h 312"/>
                <a:gd name="T14" fmla="*/ 125 w 412"/>
                <a:gd name="T15" fmla="*/ 20 h 312"/>
                <a:gd name="T16" fmla="*/ 101 w 412"/>
                <a:gd name="T17" fmla="*/ 29 h 312"/>
                <a:gd name="T18" fmla="*/ 63 w 412"/>
                <a:gd name="T19" fmla="*/ 31 h 312"/>
                <a:gd name="T20" fmla="*/ 35 w 412"/>
                <a:gd name="T21" fmla="*/ 11 h 312"/>
                <a:gd name="T22" fmla="*/ 0 w 412"/>
                <a:gd name="T23" fmla="*/ 0 h 312"/>
                <a:gd name="T24" fmla="*/ 16 w 412"/>
                <a:gd name="T25" fmla="*/ 53 h 312"/>
                <a:gd name="T26" fmla="*/ 25 w 412"/>
                <a:gd name="T27" fmla="*/ 87 h 312"/>
                <a:gd name="T28" fmla="*/ 41 w 412"/>
                <a:gd name="T29" fmla="*/ 110 h 312"/>
                <a:gd name="T30" fmla="*/ 59 w 412"/>
                <a:gd name="T31" fmla="*/ 146 h 312"/>
                <a:gd name="T32" fmla="*/ 98 w 412"/>
                <a:gd name="T33" fmla="*/ 177 h 312"/>
                <a:gd name="T34" fmla="*/ 78 w 412"/>
                <a:gd name="T35" fmla="*/ 129 h 312"/>
                <a:gd name="T36" fmla="*/ 51 w 412"/>
                <a:gd name="T37" fmla="*/ 83 h 312"/>
                <a:gd name="T38" fmla="*/ 31 w 412"/>
                <a:gd name="T39" fmla="*/ 45 h 312"/>
                <a:gd name="T40" fmla="*/ 41 w 412"/>
                <a:gd name="T41" fmla="*/ 28 h 312"/>
                <a:gd name="T42" fmla="*/ 64 w 412"/>
                <a:gd name="T43" fmla="*/ 49 h 312"/>
                <a:gd name="T44" fmla="*/ 78 w 412"/>
                <a:gd name="T45" fmla="*/ 88 h 312"/>
                <a:gd name="T46" fmla="*/ 97 w 412"/>
                <a:gd name="T47" fmla="*/ 112 h 312"/>
                <a:gd name="T48" fmla="*/ 110 w 412"/>
                <a:gd name="T49" fmla="*/ 132 h 312"/>
                <a:gd name="T50" fmla="*/ 129 w 412"/>
                <a:gd name="T51" fmla="*/ 158 h 312"/>
                <a:gd name="T52" fmla="*/ 140 w 412"/>
                <a:gd name="T53" fmla="*/ 172 h 312"/>
                <a:gd name="T54" fmla="*/ 147 w 412"/>
                <a:gd name="T55" fmla="*/ 207 h 312"/>
                <a:gd name="T56" fmla="*/ 156 w 412"/>
                <a:gd name="T57" fmla="*/ 230 h 312"/>
                <a:gd name="T58" fmla="*/ 275 w 412"/>
                <a:gd name="T59" fmla="*/ 295 h 312"/>
                <a:gd name="T60" fmla="*/ 299 w 412"/>
                <a:gd name="T61" fmla="*/ 291 h 312"/>
                <a:gd name="T62" fmla="*/ 327 w 412"/>
                <a:gd name="T63" fmla="*/ 311 h 312"/>
                <a:gd name="T64" fmla="*/ 346 w 412"/>
                <a:gd name="T65" fmla="*/ 290 h 312"/>
                <a:gd name="T66" fmla="*/ 370 w 412"/>
                <a:gd name="T67" fmla="*/ 263 h 312"/>
                <a:gd name="T68" fmla="*/ 396 w 412"/>
                <a:gd name="T69" fmla="*/ 250 h 312"/>
                <a:gd name="T70" fmla="*/ 405 w 412"/>
                <a:gd name="T71" fmla="*/ 218 h 312"/>
                <a:gd name="T72" fmla="*/ 408 w 412"/>
                <a:gd name="T73" fmla="*/ 200 h 312"/>
                <a:gd name="T74" fmla="*/ 362 w 412"/>
                <a:gd name="T75" fmla="*/ 208 h 312"/>
                <a:gd name="T76" fmla="*/ 325 w 412"/>
                <a:gd name="T77" fmla="*/ 245 h 312"/>
                <a:gd name="T78" fmla="*/ 269 w 412"/>
                <a:gd name="T79" fmla="*/ 229 h 312"/>
                <a:gd name="T80" fmla="*/ 254 w 412"/>
                <a:gd name="T81" fmla="*/ 160 h 312"/>
                <a:gd name="T82" fmla="*/ 265 w 412"/>
                <a:gd name="T83" fmla="*/ 11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2" h="312">
                  <a:moveTo>
                    <a:pt x="265" y="119"/>
                  </a:moveTo>
                  <a:lnTo>
                    <a:pt x="245" y="119"/>
                  </a:lnTo>
                  <a:lnTo>
                    <a:pt x="241" y="99"/>
                  </a:lnTo>
                  <a:lnTo>
                    <a:pt x="229" y="93"/>
                  </a:lnTo>
                  <a:lnTo>
                    <a:pt x="225" y="72"/>
                  </a:lnTo>
                  <a:lnTo>
                    <a:pt x="216" y="60"/>
                  </a:lnTo>
                  <a:lnTo>
                    <a:pt x="201" y="49"/>
                  </a:lnTo>
                  <a:lnTo>
                    <a:pt x="196" y="70"/>
                  </a:lnTo>
                  <a:lnTo>
                    <a:pt x="181" y="70"/>
                  </a:lnTo>
                  <a:lnTo>
                    <a:pt x="174" y="45"/>
                  </a:lnTo>
                  <a:lnTo>
                    <a:pt x="165" y="43"/>
                  </a:lnTo>
                  <a:lnTo>
                    <a:pt x="164" y="29"/>
                  </a:lnTo>
                  <a:lnTo>
                    <a:pt x="152" y="26"/>
                  </a:lnTo>
                  <a:lnTo>
                    <a:pt x="147" y="11"/>
                  </a:lnTo>
                  <a:lnTo>
                    <a:pt x="137" y="19"/>
                  </a:lnTo>
                  <a:lnTo>
                    <a:pt x="125" y="20"/>
                  </a:lnTo>
                  <a:lnTo>
                    <a:pt x="122" y="29"/>
                  </a:lnTo>
                  <a:lnTo>
                    <a:pt x="101" y="29"/>
                  </a:lnTo>
                  <a:lnTo>
                    <a:pt x="85" y="36"/>
                  </a:lnTo>
                  <a:lnTo>
                    <a:pt x="63" y="31"/>
                  </a:lnTo>
                  <a:lnTo>
                    <a:pt x="47" y="15"/>
                  </a:lnTo>
                  <a:lnTo>
                    <a:pt x="35" y="11"/>
                  </a:lnTo>
                  <a:lnTo>
                    <a:pt x="31" y="2"/>
                  </a:lnTo>
                  <a:lnTo>
                    <a:pt x="0" y="0"/>
                  </a:lnTo>
                  <a:lnTo>
                    <a:pt x="3" y="37"/>
                  </a:lnTo>
                  <a:lnTo>
                    <a:pt x="16" y="53"/>
                  </a:lnTo>
                  <a:lnTo>
                    <a:pt x="29" y="73"/>
                  </a:lnTo>
                  <a:lnTo>
                    <a:pt x="25" y="87"/>
                  </a:lnTo>
                  <a:lnTo>
                    <a:pt x="17" y="92"/>
                  </a:lnTo>
                  <a:lnTo>
                    <a:pt x="41" y="110"/>
                  </a:lnTo>
                  <a:lnTo>
                    <a:pt x="57" y="123"/>
                  </a:lnTo>
                  <a:lnTo>
                    <a:pt x="59" y="146"/>
                  </a:lnTo>
                  <a:lnTo>
                    <a:pt x="87" y="177"/>
                  </a:lnTo>
                  <a:lnTo>
                    <a:pt x="98" y="177"/>
                  </a:lnTo>
                  <a:lnTo>
                    <a:pt x="91" y="154"/>
                  </a:lnTo>
                  <a:lnTo>
                    <a:pt x="78" y="129"/>
                  </a:lnTo>
                  <a:lnTo>
                    <a:pt x="69" y="105"/>
                  </a:lnTo>
                  <a:lnTo>
                    <a:pt x="51" y="83"/>
                  </a:lnTo>
                  <a:lnTo>
                    <a:pt x="40" y="63"/>
                  </a:lnTo>
                  <a:lnTo>
                    <a:pt x="31" y="45"/>
                  </a:lnTo>
                  <a:lnTo>
                    <a:pt x="31" y="22"/>
                  </a:lnTo>
                  <a:lnTo>
                    <a:pt x="41" y="28"/>
                  </a:lnTo>
                  <a:lnTo>
                    <a:pt x="52" y="40"/>
                  </a:lnTo>
                  <a:lnTo>
                    <a:pt x="64" y="49"/>
                  </a:lnTo>
                  <a:lnTo>
                    <a:pt x="66" y="76"/>
                  </a:lnTo>
                  <a:lnTo>
                    <a:pt x="78" y="88"/>
                  </a:lnTo>
                  <a:lnTo>
                    <a:pt x="89" y="106"/>
                  </a:lnTo>
                  <a:lnTo>
                    <a:pt x="97" y="112"/>
                  </a:lnTo>
                  <a:lnTo>
                    <a:pt x="96" y="127"/>
                  </a:lnTo>
                  <a:lnTo>
                    <a:pt x="110" y="132"/>
                  </a:lnTo>
                  <a:lnTo>
                    <a:pt x="111" y="150"/>
                  </a:lnTo>
                  <a:lnTo>
                    <a:pt x="129" y="158"/>
                  </a:lnTo>
                  <a:lnTo>
                    <a:pt x="129" y="171"/>
                  </a:lnTo>
                  <a:lnTo>
                    <a:pt x="140" y="172"/>
                  </a:lnTo>
                  <a:lnTo>
                    <a:pt x="141" y="190"/>
                  </a:lnTo>
                  <a:lnTo>
                    <a:pt x="147" y="207"/>
                  </a:lnTo>
                  <a:lnTo>
                    <a:pt x="142" y="222"/>
                  </a:lnTo>
                  <a:lnTo>
                    <a:pt x="156" y="230"/>
                  </a:lnTo>
                  <a:lnTo>
                    <a:pt x="235" y="282"/>
                  </a:lnTo>
                  <a:lnTo>
                    <a:pt x="275" y="295"/>
                  </a:lnTo>
                  <a:lnTo>
                    <a:pt x="288" y="286"/>
                  </a:lnTo>
                  <a:lnTo>
                    <a:pt x="299" y="291"/>
                  </a:lnTo>
                  <a:lnTo>
                    <a:pt x="316" y="297"/>
                  </a:lnTo>
                  <a:lnTo>
                    <a:pt x="327" y="311"/>
                  </a:lnTo>
                  <a:lnTo>
                    <a:pt x="333" y="293"/>
                  </a:lnTo>
                  <a:lnTo>
                    <a:pt x="346" y="290"/>
                  </a:lnTo>
                  <a:lnTo>
                    <a:pt x="348" y="272"/>
                  </a:lnTo>
                  <a:lnTo>
                    <a:pt x="370" y="263"/>
                  </a:lnTo>
                  <a:lnTo>
                    <a:pt x="378" y="260"/>
                  </a:lnTo>
                  <a:lnTo>
                    <a:pt x="396" y="250"/>
                  </a:lnTo>
                  <a:lnTo>
                    <a:pt x="406" y="237"/>
                  </a:lnTo>
                  <a:lnTo>
                    <a:pt x="405" y="218"/>
                  </a:lnTo>
                  <a:lnTo>
                    <a:pt x="411" y="214"/>
                  </a:lnTo>
                  <a:lnTo>
                    <a:pt x="408" y="200"/>
                  </a:lnTo>
                  <a:lnTo>
                    <a:pt x="375" y="197"/>
                  </a:lnTo>
                  <a:lnTo>
                    <a:pt x="362" y="208"/>
                  </a:lnTo>
                  <a:lnTo>
                    <a:pt x="347" y="238"/>
                  </a:lnTo>
                  <a:lnTo>
                    <a:pt x="325" y="245"/>
                  </a:lnTo>
                  <a:lnTo>
                    <a:pt x="293" y="246"/>
                  </a:lnTo>
                  <a:lnTo>
                    <a:pt x="269" y="229"/>
                  </a:lnTo>
                  <a:lnTo>
                    <a:pt x="262" y="188"/>
                  </a:lnTo>
                  <a:lnTo>
                    <a:pt x="254" y="160"/>
                  </a:lnTo>
                  <a:lnTo>
                    <a:pt x="261" y="139"/>
                  </a:lnTo>
                  <a:lnTo>
                    <a:pt x="265" y="1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3" name="Freeform 48">
              <a:extLst>
                <a:ext uri="{FF2B5EF4-FFF2-40B4-BE49-F238E27FC236}">
                  <a16:creationId xmlns:a16="http://schemas.microsoft.com/office/drawing/2014/main" xmlns="" id="{4C762BD8-5358-4895-BE5F-224E20CF7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8192" y="3751213"/>
              <a:ext cx="130771" cy="64216"/>
            </a:xfrm>
            <a:custGeom>
              <a:avLst/>
              <a:gdLst>
                <a:gd name="T0" fmla="*/ 15 w 98"/>
                <a:gd name="T1" fmla="*/ 8 h 49"/>
                <a:gd name="T2" fmla="*/ 13 w 98"/>
                <a:gd name="T3" fmla="*/ 20 h 49"/>
                <a:gd name="T4" fmla="*/ 3 w 98"/>
                <a:gd name="T5" fmla="*/ 20 h 49"/>
                <a:gd name="T6" fmla="*/ 0 w 98"/>
                <a:gd name="T7" fmla="*/ 34 h 49"/>
                <a:gd name="T8" fmla="*/ 11 w 98"/>
                <a:gd name="T9" fmla="*/ 29 h 49"/>
                <a:gd name="T10" fmla="*/ 27 w 98"/>
                <a:gd name="T11" fmla="*/ 29 h 49"/>
                <a:gd name="T12" fmla="*/ 29 w 98"/>
                <a:gd name="T13" fmla="*/ 48 h 49"/>
                <a:gd name="T14" fmla="*/ 42 w 98"/>
                <a:gd name="T15" fmla="*/ 40 h 49"/>
                <a:gd name="T16" fmla="*/ 61 w 98"/>
                <a:gd name="T17" fmla="*/ 40 h 49"/>
                <a:gd name="T18" fmla="*/ 66 w 98"/>
                <a:gd name="T19" fmla="*/ 25 h 49"/>
                <a:gd name="T20" fmla="*/ 88 w 98"/>
                <a:gd name="T21" fmla="*/ 25 h 49"/>
                <a:gd name="T22" fmla="*/ 97 w 98"/>
                <a:gd name="T23" fmla="*/ 14 h 49"/>
                <a:gd name="T24" fmla="*/ 82 w 98"/>
                <a:gd name="T25" fmla="*/ 10 h 49"/>
                <a:gd name="T26" fmla="*/ 73 w 98"/>
                <a:gd name="T27" fmla="*/ 1 h 49"/>
                <a:gd name="T28" fmla="*/ 50 w 98"/>
                <a:gd name="T29" fmla="*/ 1 h 49"/>
                <a:gd name="T30" fmla="*/ 40 w 98"/>
                <a:gd name="T31" fmla="*/ 8 h 49"/>
                <a:gd name="T32" fmla="*/ 35 w 98"/>
                <a:gd name="T33" fmla="*/ 0 h 49"/>
                <a:gd name="T34" fmla="*/ 24 w 98"/>
                <a:gd name="T35" fmla="*/ 7 h 49"/>
                <a:gd name="T36" fmla="*/ 15 w 98"/>
                <a:gd name="T37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8" h="49">
                  <a:moveTo>
                    <a:pt x="15" y="8"/>
                  </a:moveTo>
                  <a:lnTo>
                    <a:pt x="13" y="20"/>
                  </a:lnTo>
                  <a:lnTo>
                    <a:pt x="3" y="20"/>
                  </a:lnTo>
                  <a:lnTo>
                    <a:pt x="0" y="34"/>
                  </a:lnTo>
                  <a:lnTo>
                    <a:pt x="11" y="29"/>
                  </a:lnTo>
                  <a:lnTo>
                    <a:pt x="27" y="29"/>
                  </a:lnTo>
                  <a:lnTo>
                    <a:pt x="29" y="48"/>
                  </a:lnTo>
                  <a:lnTo>
                    <a:pt x="42" y="40"/>
                  </a:lnTo>
                  <a:lnTo>
                    <a:pt x="61" y="40"/>
                  </a:lnTo>
                  <a:lnTo>
                    <a:pt x="66" y="25"/>
                  </a:lnTo>
                  <a:lnTo>
                    <a:pt x="88" y="25"/>
                  </a:lnTo>
                  <a:lnTo>
                    <a:pt x="97" y="14"/>
                  </a:lnTo>
                  <a:lnTo>
                    <a:pt x="82" y="10"/>
                  </a:lnTo>
                  <a:lnTo>
                    <a:pt x="73" y="1"/>
                  </a:lnTo>
                  <a:lnTo>
                    <a:pt x="50" y="1"/>
                  </a:lnTo>
                  <a:lnTo>
                    <a:pt x="40" y="8"/>
                  </a:lnTo>
                  <a:lnTo>
                    <a:pt x="35" y="0"/>
                  </a:lnTo>
                  <a:lnTo>
                    <a:pt x="24" y="7"/>
                  </a:lnTo>
                  <a:lnTo>
                    <a:pt x="15" y="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4" name="Freeform 49">
              <a:extLst>
                <a:ext uri="{FF2B5EF4-FFF2-40B4-BE49-F238E27FC236}">
                  <a16:creationId xmlns:a16="http://schemas.microsoft.com/office/drawing/2014/main" xmlns="" id="{9955EBF7-11D5-425F-96F6-085104510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6234" y="3784510"/>
              <a:ext cx="87973" cy="85621"/>
            </a:xfrm>
            <a:custGeom>
              <a:avLst/>
              <a:gdLst>
                <a:gd name="T0" fmla="*/ 60 w 66"/>
                <a:gd name="T1" fmla="*/ 0 h 63"/>
                <a:gd name="T2" fmla="*/ 38 w 66"/>
                <a:gd name="T3" fmla="*/ 0 h 63"/>
                <a:gd name="T4" fmla="*/ 33 w 66"/>
                <a:gd name="T5" fmla="*/ 14 h 63"/>
                <a:gd name="T6" fmla="*/ 14 w 66"/>
                <a:gd name="T7" fmla="*/ 15 h 63"/>
                <a:gd name="T8" fmla="*/ 0 w 66"/>
                <a:gd name="T9" fmla="*/ 23 h 63"/>
                <a:gd name="T10" fmla="*/ 8 w 66"/>
                <a:gd name="T11" fmla="*/ 31 h 63"/>
                <a:gd name="T12" fmla="*/ 15 w 66"/>
                <a:gd name="T13" fmla="*/ 49 h 63"/>
                <a:gd name="T14" fmla="*/ 25 w 66"/>
                <a:gd name="T15" fmla="*/ 60 h 63"/>
                <a:gd name="T16" fmla="*/ 56 w 66"/>
                <a:gd name="T17" fmla="*/ 62 h 63"/>
                <a:gd name="T18" fmla="*/ 60 w 66"/>
                <a:gd name="T19" fmla="*/ 18 h 63"/>
                <a:gd name="T20" fmla="*/ 65 w 66"/>
                <a:gd name="T21" fmla="*/ 7 h 63"/>
                <a:gd name="T22" fmla="*/ 60 w 66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63">
                  <a:moveTo>
                    <a:pt x="60" y="0"/>
                  </a:moveTo>
                  <a:lnTo>
                    <a:pt x="38" y="0"/>
                  </a:lnTo>
                  <a:lnTo>
                    <a:pt x="33" y="14"/>
                  </a:lnTo>
                  <a:lnTo>
                    <a:pt x="14" y="15"/>
                  </a:lnTo>
                  <a:lnTo>
                    <a:pt x="0" y="23"/>
                  </a:lnTo>
                  <a:lnTo>
                    <a:pt x="8" y="31"/>
                  </a:lnTo>
                  <a:lnTo>
                    <a:pt x="15" y="49"/>
                  </a:lnTo>
                  <a:lnTo>
                    <a:pt x="25" y="60"/>
                  </a:lnTo>
                  <a:lnTo>
                    <a:pt x="56" y="62"/>
                  </a:lnTo>
                  <a:lnTo>
                    <a:pt x="60" y="18"/>
                  </a:lnTo>
                  <a:lnTo>
                    <a:pt x="65" y="7"/>
                  </a:lnTo>
                  <a:lnTo>
                    <a:pt x="6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5" name="Freeform 50">
              <a:extLst>
                <a:ext uri="{FF2B5EF4-FFF2-40B4-BE49-F238E27FC236}">
                  <a16:creationId xmlns:a16="http://schemas.microsoft.com/office/drawing/2014/main" xmlns="" id="{F3982481-F83D-4121-9B46-B7694786D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371" y="4591965"/>
              <a:ext cx="323361" cy="732536"/>
            </a:xfrm>
            <a:custGeom>
              <a:avLst/>
              <a:gdLst>
                <a:gd name="T0" fmla="*/ 53 w 243"/>
                <a:gd name="T1" fmla="*/ 0 h 550"/>
                <a:gd name="T2" fmla="*/ 84 w 243"/>
                <a:gd name="T3" fmla="*/ 17 h 550"/>
                <a:gd name="T4" fmla="*/ 110 w 243"/>
                <a:gd name="T5" fmla="*/ 13 h 550"/>
                <a:gd name="T6" fmla="*/ 128 w 243"/>
                <a:gd name="T7" fmla="*/ 26 h 550"/>
                <a:gd name="T8" fmla="*/ 145 w 243"/>
                <a:gd name="T9" fmla="*/ 37 h 550"/>
                <a:gd name="T10" fmla="*/ 170 w 243"/>
                <a:gd name="T11" fmla="*/ 49 h 550"/>
                <a:gd name="T12" fmla="*/ 179 w 243"/>
                <a:gd name="T13" fmla="*/ 57 h 550"/>
                <a:gd name="T14" fmla="*/ 170 w 243"/>
                <a:gd name="T15" fmla="*/ 92 h 550"/>
                <a:gd name="T16" fmla="*/ 216 w 243"/>
                <a:gd name="T17" fmla="*/ 85 h 550"/>
                <a:gd name="T18" fmla="*/ 232 w 243"/>
                <a:gd name="T19" fmla="*/ 67 h 550"/>
                <a:gd name="T20" fmla="*/ 241 w 243"/>
                <a:gd name="T21" fmla="*/ 82 h 550"/>
                <a:gd name="T22" fmla="*/ 231 w 243"/>
                <a:gd name="T23" fmla="*/ 96 h 550"/>
                <a:gd name="T24" fmla="*/ 217 w 243"/>
                <a:gd name="T25" fmla="*/ 108 h 550"/>
                <a:gd name="T26" fmla="*/ 201 w 243"/>
                <a:gd name="T27" fmla="*/ 128 h 550"/>
                <a:gd name="T28" fmla="*/ 188 w 243"/>
                <a:gd name="T29" fmla="*/ 149 h 550"/>
                <a:gd name="T30" fmla="*/ 177 w 243"/>
                <a:gd name="T31" fmla="*/ 179 h 550"/>
                <a:gd name="T32" fmla="*/ 183 w 243"/>
                <a:gd name="T33" fmla="*/ 219 h 550"/>
                <a:gd name="T34" fmla="*/ 189 w 243"/>
                <a:gd name="T35" fmla="*/ 224 h 550"/>
                <a:gd name="T36" fmla="*/ 204 w 243"/>
                <a:gd name="T37" fmla="*/ 228 h 550"/>
                <a:gd name="T38" fmla="*/ 212 w 243"/>
                <a:gd name="T39" fmla="*/ 252 h 550"/>
                <a:gd name="T40" fmla="*/ 201 w 243"/>
                <a:gd name="T41" fmla="*/ 277 h 550"/>
                <a:gd name="T42" fmla="*/ 185 w 243"/>
                <a:gd name="T43" fmla="*/ 289 h 550"/>
                <a:gd name="T44" fmla="*/ 151 w 243"/>
                <a:gd name="T45" fmla="*/ 295 h 550"/>
                <a:gd name="T46" fmla="*/ 138 w 243"/>
                <a:gd name="T47" fmla="*/ 301 h 550"/>
                <a:gd name="T48" fmla="*/ 141 w 243"/>
                <a:gd name="T49" fmla="*/ 336 h 550"/>
                <a:gd name="T50" fmla="*/ 104 w 243"/>
                <a:gd name="T51" fmla="*/ 329 h 550"/>
                <a:gd name="T52" fmla="*/ 112 w 243"/>
                <a:gd name="T53" fmla="*/ 352 h 550"/>
                <a:gd name="T54" fmla="*/ 119 w 243"/>
                <a:gd name="T55" fmla="*/ 374 h 550"/>
                <a:gd name="T56" fmla="*/ 107 w 243"/>
                <a:gd name="T57" fmla="*/ 388 h 550"/>
                <a:gd name="T58" fmla="*/ 93 w 243"/>
                <a:gd name="T59" fmla="*/ 410 h 550"/>
                <a:gd name="T60" fmla="*/ 81 w 243"/>
                <a:gd name="T61" fmla="*/ 421 h 550"/>
                <a:gd name="T62" fmla="*/ 101 w 243"/>
                <a:gd name="T63" fmla="*/ 450 h 550"/>
                <a:gd name="T64" fmla="*/ 101 w 243"/>
                <a:gd name="T65" fmla="*/ 469 h 550"/>
                <a:gd name="T66" fmla="*/ 87 w 243"/>
                <a:gd name="T67" fmla="*/ 483 h 550"/>
                <a:gd name="T68" fmla="*/ 77 w 243"/>
                <a:gd name="T69" fmla="*/ 510 h 550"/>
                <a:gd name="T70" fmla="*/ 70 w 243"/>
                <a:gd name="T71" fmla="*/ 529 h 550"/>
                <a:gd name="T72" fmla="*/ 25 w 243"/>
                <a:gd name="T73" fmla="*/ 549 h 550"/>
                <a:gd name="T74" fmla="*/ 9 w 243"/>
                <a:gd name="T75" fmla="*/ 522 h 550"/>
                <a:gd name="T76" fmla="*/ 15 w 243"/>
                <a:gd name="T77" fmla="*/ 475 h 550"/>
                <a:gd name="T78" fmla="*/ 19 w 243"/>
                <a:gd name="T79" fmla="*/ 402 h 550"/>
                <a:gd name="T80" fmla="*/ 12 w 243"/>
                <a:gd name="T81" fmla="*/ 363 h 550"/>
                <a:gd name="T82" fmla="*/ 2 w 243"/>
                <a:gd name="T83" fmla="*/ 322 h 550"/>
                <a:gd name="T84" fmla="*/ 14 w 243"/>
                <a:gd name="T85" fmla="*/ 297 h 550"/>
                <a:gd name="T86" fmla="*/ 10 w 243"/>
                <a:gd name="T87" fmla="*/ 251 h 550"/>
                <a:gd name="T88" fmla="*/ 10 w 243"/>
                <a:gd name="T89" fmla="*/ 234 h 550"/>
                <a:gd name="T90" fmla="*/ 19 w 243"/>
                <a:gd name="T91" fmla="*/ 209 h 550"/>
                <a:gd name="T92" fmla="*/ 10 w 243"/>
                <a:gd name="T93" fmla="*/ 190 h 550"/>
                <a:gd name="T94" fmla="*/ 16 w 243"/>
                <a:gd name="T95" fmla="*/ 160 h 550"/>
                <a:gd name="T96" fmla="*/ 11 w 243"/>
                <a:gd name="T97" fmla="*/ 123 h 550"/>
                <a:gd name="T98" fmla="*/ 19 w 243"/>
                <a:gd name="T99" fmla="*/ 100 h 550"/>
                <a:gd name="T100" fmla="*/ 32 w 243"/>
                <a:gd name="T101" fmla="*/ 80 h 550"/>
                <a:gd name="T102" fmla="*/ 33 w 243"/>
                <a:gd name="T103" fmla="*/ 59 h 550"/>
                <a:gd name="T104" fmla="*/ 42 w 243"/>
                <a:gd name="T105" fmla="*/ 3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3" h="550">
                  <a:moveTo>
                    <a:pt x="44" y="19"/>
                  </a:moveTo>
                  <a:lnTo>
                    <a:pt x="53" y="0"/>
                  </a:lnTo>
                  <a:lnTo>
                    <a:pt x="67" y="11"/>
                  </a:lnTo>
                  <a:lnTo>
                    <a:pt x="84" y="17"/>
                  </a:lnTo>
                  <a:lnTo>
                    <a:pt x="101" y="3"/>
                  </a:lnTo>
                  <a:lnTo>
                    <a:pt x="110" y="13"/>
                  </a:lnTo>
                  <a:lnTo>
                    <a:pt x="124" y="19"/>
                  </a:lnTo>
                  <a:lnTo>
                    <a:pt x="128" y="26"/>
                  </a:lnTo>
                  <a:lnTo>
                    <a:pt x="137" y="30"/>
                  </a:lnTo>
                  <a:lnTo>
                    <a:pt x="145" y="37"/>
                  </a:lnTo>
                  <a:lnTo>
                    <a:pt x="149" y="47"/>
                  </a:lnTo>
                  <a:lnTo>
                    <a:pt x="170" y="49"/>
                  </a:lnTo>
                  <a:lnTo>
                    <a:pt x="174" y="52"/>
                  </a:lnTo>
                  <a:lnTo>
                    <a:pt x="179" y="57"/>
                  </a:lnTo>
                  <a:lnTo>
                    <a:pt x="173" y="78"/>
                  </a:lnTo>
                  <a:lnTo>
                    <a:pt x="170" y="92"/>
                  </a:lnTo>
                  <a:lnTo>
                    <a:pt x="215" y="92"/>
                  </a:lnTo>
                  <a:lnTo>
                    <a:pt x="216" y="85"/>
                  </a:lnTo>
                  <a:lnTo>
                    <a:pt x="225" y="79"/>
                  </a:lnTo>
                  <a:lnTo>
                    <a:pt x="232" y="67"/>
                  </a:lnTo>
                  <a:lnTo>
                    <a:pt x="234" y="82"/>
                  </a:lnTo>
                  <a:lnTo>
                    <a:pt x="241" y="82"/>
                  </a:lnTo>
                  <a:lnTo>
                    <a:pt x="242" y="94"/>
                  </a:lnTo>
                  <a:lnTo>
                    <a:pt x="231" y="96"/>
                  </a:lnTo>
                  <a:lnTo>
                    <a:pt x="223" y="106"/>
                  </a:lnTo>
                  <a:lnTo>
                    <a:pt x="217" y="108"/>
                  </a:lnTo>
                  <a:lnTo>
                    <a:pt x="209" y="119"/>
                  </a:lnTo>
                  <a:lnTo>
                    <a:pt x="201" y="128"/>
                  </a:lnTo>
                  <a:lnTo>
                    <a:pt x="195" y="139"/>
                  </a:lnTo>
                  <a:lnTo>
                    <a:pt x="188" y="149"/>
                  </a:lnTo>
                  <a:lnTo>
                    <a:pt x="179" y="163"/>
                  </a:lnTo>
                  <a:lnTo>
                    <a:pt x="177" y="179"/>
                  </a:lnTo>
                  <a:lnTo>
                    <a:pt x="179" y="202"/>
                  </a:lnTo>
                  <a:lnTo>
                    <a:pt x="183" y="219"/>
                  </a:lnTo>
                  <a:lnTo>
                    <a:pt x="189" y="216"/>
                  </a:lnTo>
                  <a:lnTo>
                    <a:pt x="189" y="224"/>
                  </a:lnTo>
                  <a:lnTo>
                    <a:pt x="195" y="227"/>
                  </a:lnTo>
                  <a:lnTo>
                    <a:pt x="204" y="228"/>
                  </a:lnTo>
                  <a:lnTo>
                    <a:pt x="204" y="249"/>
                  </a:lnTo>
                  <a:lnTo>
                    <a:pt x="212" y="252"/>
                  </a:lnTo>
                  <a:lnTo>
                    <a:pt x="210" y="271"/>
                  </a:lnTo>
                  <a:lnTo>
                    <a:pt x="201" y="277"/>
                  </a:lnTo>
                  <a:lnTo>
                    <a:pt x="189" y="279"/>
                  </a:lnTo>
                  <a:lnTo>
                    <a:pt x="185" y="289"/>
                  </a:lnTo>
                  <a:lnTo>
                    <a:pt x="178" y="290"/>
                  </a:lnTo>
                  <a:lnTo>
                    <a:pt x="151" y="295"/>
                  </a:lnTo>
                  <a:lnTo>
                    <a:pt x="141" y="296"/>
                  </a:lnTo>
                  <a:lnTo>
                    <a:pt x="138" y="301"/>
                  </a:lnTo>
                  <a:lnTo>
                    <a:pt x="141" y="316"/>
                  </a:lnTo>
                  <a:lnTo>
                    <a:pt x="141" y="336"/>
                  </a:lnTo>
                  <a:lnTo>
                    <a:pt x="127" y="341"/>
                  </a:lnTo>
                  <a:lnTo>
                    <a:pt x="104" y="329"/>
                  </a:lnTo>
                  <a:lnTo>
                    <a:pt x="101" y="344"/>
                  </a:lnTo>
                  <a:lnTo>
                    <a:pt x="112" y="352"/>
                  </a:lnTo>
                  <a:lnTo>
                    <a:pt x="116" y="362"/>
                  </a:lnTo>
                  <a:lnTo>
                    <a:pt x="119" y="374"/>
                  </a:lnTo>
                  <a:lnTo>
                    <a:pt x="113" y="380"/>
                  </a:lnTo>
                  <a:lnTo>
                    <a:pt x="107" y="388"/>
                  </a:lnTo>
                  <a:lnTo>
                    <a:pt x="101" y="407"/>
                  </a:lnTo>
                  <a:lnTo>
                    <a:pt x="93" y="410"/>
                  </a:lnTo>
                  <a:lnTo>
                    <a:pt x="91" y="418"/>
                  </a:lnTo>
                  <a:lnTo>
                    <a:pt x="81" y="421"/>
                  </a:lnTo>
                  <a:lnTo>
                    <a:pt x="79" y="441"/>
                  </a:lnTo>
                  <a:lnTo>
                    <a:pt x="101" y="450"/>
                  </a:lnTo>
                  <a:lnTo>
                    <a:pt x="101" y="460"/>
                  </a:lnTo>
                  <a:lnTo>
                    <a:pt x="101" y="469"/>
                  </a:lnTo>
                  <a:lnTo>
                    <a:pt x="93" y="475"/>
                  </a:lnTo>
                  <a:lnTo>
                    <a:pt x="87" y="483"/>
                  </a:lnTo>
                  <a:lnTo>
                    <a:pt x="88" y="507"/>
                  </a:lnTo>
                  <a:lnTo>
                    <a:pt x="77" y="510"/>
                  </a:lnTo>
                  <a:lnTo>
                    <a:pt x="69" y="516"/>
                  </a:lnTo>
                  <a:lnTo>
                    <a:pt x="70" y="529"/>
                  </a:lnTo>
                  <a:lnTo>
                    <a:pt x="69" y="547"/>
                  </a:lnTo>
                  <a:lnTo>
                    <a:pt x="25" y="549"/>
                  </a:lnTo>
                  <a:lnTo>
                    <a:pt x="22" y="529"/>
                  </a:lnTo>
                  <a:lnTo>
                    <a:pt x="9" y="522"/>
                  </a:lnTo>
                  <a:lnTo>
                    <a:pt x="7" y="477"/>
                  </a:lnTo>
                  <a:lnTo>
                    <a:pt x="15" y="475"/>
                  </a:lnTo>
                  <a:lnTo>
                    <a:pt x="18" y="463"/>
                  </a:lnTo>
                  <a:lnTo>
                    <a:pt x="19" y="402"/>
                  </a:lnTo>
                  <a:lnTo>
                    <a:pt x="13" y="386"/>
                  </a:lnTo>
                  <a:lnTo>
                    <a:pt x="12" y="363"/>
                  </a:lnTo>
                  <a:lnTo>
                    <a:pt x="8" y="336"/>
                  </a:lnTo>
                  <a:lnTo>
                    <a:pt x="2" y="322"/>
                  </a:lnTo>
                  <a:lnTo>
                    <a:pt x="3" y="310"/>
                  </a:lnTo>
                  <a:lnTo>
                    <a:pt x="14" y="297"/>
                  </a:lnTo>
                  <a:lnTo>
                    <a:pt x="0" y="268"/>
                  </a:lnTo>
                  <a:lnTo>
                    <a:pt x="10" y="251"/>
                  </a:lnTo>
                  <a:lnTo>
                    <a:pt x="17" y="241"/>
                  </a:lnTo>
                  <a:lnTo>
                    <a:pt x="10" y="234"/>
                  </a:lnTo>
                  <a:lnTo>
                    <a:pt x="10" y="212"/>
                  </a:lnTo>
                  <a:lnTo>
                    <a:pt x="19" y="209"/>
                  </a:lnTo>
                  <a:lnTo>
                    <a:pt x="17" y="192"/>
                  </a:lnTo>
                  <a:lnTo>
                    <a:pt x="10" y="190"/>
                  </a:lnTo>
                  <a:lnTo>
                    <a:pt x="9" y="165"/>
                  </a:lnTo>
                  <a:lnTo>
                    <a:pt x="16" y="160"/>
                  </a:lnTo>
                  <a:lnTo>
                    <a:pt x="14" y="147"/>
                  </a:lnTo>
                  <a:lnTo>
                    <a:pt x="11" y="123"/>
                  </a:lnTo>
                  <a:lnTo>
                    <a:pt x="17" y="114"/>
                  </a:lnTo>
                  <a:lnTo>
                    <a:pt x="19" y="100"/>
                  </a:lnTo>
                  <a:lnTo>
                    <a:pt x="28" y="93"/>
                  </a:lnTo>
                  <a:lnTo>
                    <a:pt x="32" y="80"/>
                  </a:lnTo>
                  <a:lnTo>
                    <a:pt x="25" y="69"/>
                  </a:lnTo>
                  <a:lnTo>
                    <a:pt x="33" y="59"/>
                  </a:lnTo>
                  <a:lnTo>
                    <a:pt x="34" y="40"/>
                  </a:lnTo>
                  <a:lnTo>
                    <a:pt x="42" y="37"/>
                  </a:lnTo>
                  <a:lnTo>
                    <a:pt x="44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6" name="Freeform 51">
              <a:extLst>
                <a:ext uri="{FF2B5EF4-FFF2-40B4-BE49-F238E27FC236}">
                  <a16:creationId xmlns:a16="http://schemas.microsoft.com/office/drawing/2014/main" xmlns="" id="{FCD84030-BB5E-406B-B0BD-78E0268BC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7709" y="4525370"/>
              <a:ext cx="174758" cy="191458"/>
            </a:xfrm>
            <a:custGeom>
              <a:avLst/>
              <a:gdLst>
                <a:gd name="T0" fmla="*/ 23 w 132"/>
                <a:gd name="T1" fmla="*/ 68 h 142"/>
                <a:gd name="T2" fmla="*/ 27 w 132"/>
                <a:gd name="T3" fmla="*/ 75 h 142"/>
                <a:gd name="T4" fmla="*/ 36 w 132"/>
                <a:gd name="T5" fmla="*/ 79 h 142"/>
                <a:gd name="T6" fmla="*/ 44 w 132"/>
                <a:gd name="T7" fmla="*/ 86 h 142"/>
                <a:gd name="T8" fmla="*/ 48 w 132"/>
                <a:gd name="T9" fmla="*/ 95 h 142"/>
                <a:gd name="T10" fmla="*/ 69 w 132"/>
                <a:gd name="T11" fmla="*/ 98 h 142"/>
                <a:gd name="T12" fmla="*/ 74 w 132"/>
                <a:gd name="T13" fmla="*/ 100 h 142"/>
                <a:gd name="T14" fmla="*/ 78 w 132"/>
                <a:gd name="T15" fmla="*/ 106 h 142"/>
                <a:gd name="T16" fmla="*/ 73 w 132"/>
                <a:gd name="T17" fmla="*/ 127 h 142"/>
                <a:gd name="T18" fmla="*/ 69 w 132"/>
                <a:gd name="T19" fmla="*/ 140 h 142"/>
                <a:gd name="T20" fmla="*/ 114 w 132"/>
                <a:gd name="T21" fmla="*/ 141 h 142"/>
                <a:gd name="T22" fmla="*/ 115 w 132"/>
                <a:gd name="T23" fmla="*/ 133 h 142"/>
                <a:gd name="T24" fmla="*/ 124 w 132"/>
                <a:gd name="T25" fmla="*/ 127 h 142"/>
                <a:gd name="T26" fmla="*/ 131 w 132"/>
                <a:gd name="T27" fmla="*/ 116 h 142"/>
                <a:gd name="T28" fmla="*/ 128 w 132"/>
                <a:gd name="T29" fmla="*/ 112 h 142"/>
                <a:gd name="T30" fmla="*/ 126 w 132"/>
                <a:gd name="T31" fmla="*/ 75 h 142"/>
                <a:gd name="T32" fmla="*/ 114 w 132"/>
                <a:gd name="T33" fmla="*/ 74 h 142"/>
                <a:gd name="T34" fmla="*/ 112 w 132"/>
                <a:gd name="T35" fmla="*/ 57 h 142"/>
                <a:gd name="T36" fmla="*/ 99 w 132"/>
                <a:gd name="T37" fmla="*/ 57 h 142"/>
                <a:gd name="T38" fmla="*/ 91 w 132"/>
                <a:gd name="T39" fmla="*/ 53 h 142"/>
                <a:gd name="T40" fmla="*/ 88 w 132"/>
                <a:gd name="T41" fmla="*/ 46 h 142"/>
                <a:gd name="T42" fmla="*/ 74 w 132"/>
                <a:gd name="T43" fmla="*/ 43 h 142"/>
                <a:gd name="T44" fmla="*/ 74 w 132"/>
                <a:gd name="T45" fmla="*/ 31 h 142"/>
                <a:gd name="T46" fmla="*/ 63 w 132"/>
                <a:gd name="T47" fmla="*/ 28 h 142"/>
                <a:gd name="T48" fmla="*/ 62 w 132"/>
                <a:gd name="T49" fmla="*/ 17 h 142"/>
                <a:gd name="T50" fmla="*/ 55 w 132"/>
                <a:gd name="T51" fmla="*/ 6 h 142"/>
                <a:gd name="T52" fmla="*/ 38 w 132"/>
                <a:gd name="T53" fmla="*/ 0 h 142"/>
                <a:gd name="T54" fmla="*/ 27 w 132"/>
                <a:gd name="T55" fmla="*/ 8 h 142"/>
                <a:gd name="T56" fmla="*/ 11 w 132"/>
                <a:gd name="T57" fmla="*/ 15 h 142"/>
                <a:gd name="T58" fmla="*/ 6 w 132"/>
                <a:gd name="T59" fmla="*/ 28 h 142"/>
                <a:gd name="T60" fmla="*/ 0 w 132"/>
                <a:gd name="T61" fmla="*/ 52 h 142"/>
                <a:gd name="T62" fmla="*/ 9 w 132"/>
                <a:gd name="T63" fmla="*/ 62 h 142"/>
                <a:gd name="T64" fmla="*/ 23 w 132"/>
                <a:gd name="T65" fmla="*/ 6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2" h="142">
                  <a:moveTo>
                    <a:pt x="23" y="68"/>
                  </a:moveTo>
                  <a:lnTo>
                    <a:pt x="27" y="75"/>
                  </a:lnTo>
                  <a:lnTo>
                    <a:pt x="36" y="79"/>
                  </a:lnTo>
                  <a:lnTo>
                    <a:pt x="44" y="86"/>
                  </a:lnTo>
                  <a:lnTo>
                    <a:pt x="48" y="95"/>
                  </a:lnTo>
                  <a:lnTo>
                    <a:pt x="69" y="98"/>
                  </a:lnTo>
                  <a:lnTo>
                    <a:pt x="74" y="100"/>
                  </a:lnTo>
                  <a:lnTo>
                    <a:pt x="78" y="106"/>
                  </a:lnTo>
                  <a:lnTo>
                    <a:pt x="73" y="127"/>
                  </a:lnTo>
                  <a:lnTo>
                    <a:pt x="69" y="140"/>
                  </a:lnTo>
                  <a:lnTo>
                    <a:pt x="114" y="141"/>
                  </a:lnTo>
                  <a:lnTo>
                    <a:pt x="115" y="133"/>
                  </a:lnTo>
                  <a:lnTo>
                    <a:pt x="124" y="127"/>
                  </a:lnTo>
                  <a:lnTo>
                    <a:pt x="131" y="116"/>
                  </a:lnTo>
                  <a:lnTo>
                    <a:pt x="128" y="112"/>
                  </a:lnTo>
                  <a:lnTo>
                    <a:pt x="126" y="75"/>
                  </a:lnTo>
                  <a:lnTo>
                    <a:pt x="114" y="74"/>
                  </a:lnTo>
                  <a:lnTo>
                    <a:pt x="112" y="57"/>
                  </a:lnTo>
                  <a:lnTo>
                    <a:pt x="99" y="57"/>
                  </a:lnTo>
                  <a:lnTo>
                    <a:pt x="91" y="53"/>
                  </a:lnTo>
                  <a:lnTo>
                    <a:pt x="88" y="46"/>
                  </a:lnTo>
                  <a:lnTo>
                    <a:pt x="74" y="43"/>
                  </a:lnTo>
                  <a:lnTo>
                    <a:pt x="74" y="31"/>
                  </a:lnTo>
                  <a:lnTo>
                    <a:pt x="63" y="28"/>
                  </a:lnTo>
                  <a:lnTo>
                    <a:pt x="62" y="17"/>
                  </a:lnTo>
                  <a:lnTo>
                    <a:pt x="55" y="6"/>
                  </a:lnTo>
                  <a:lnTo>
                    <a:pt x="38" y="0"/>
                  </a:lnTo>
                  <a:lnTo>
                    <a:pt x="27" y="8"/>
                  </a:lnTo>
                  <a:lnTo>
                    <a:pt x="11" y="15"/>
                  </a:lnTo>
                  <a:lnTo>
                    <a:pt x="6" y="28"/>
                  </a:lnTo>
                  <a:lnTo>
                    <a:pt x="0" y="52"/>
                  </a:lnTo>
                  <a:lnTo>
                    <a:pt x="9" y="62"/>
                  </a:lnTo>
                  <a:lnTo>
                    <a:pt x="23" y="6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7" name="Freeform 52">
              <a:extLst>
                <a:ext uri="{FF2B5EF4-FFF2-40B4-BE49-F238E27FC236}">
                  <a16:creationId xmlns:a16="http://schemas.microsoft.com/office/drawing/2014/main" xmlns="" id="{7C985BEA-4297-45B2-8855-7B64C0F33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691" y="3688186"/>
              <a:ext cx="46364" cy="24973"/>
            </a:xfrm>
            <a:custGeom>
              <a:avLst/>
              <a:gdLst>
                <a:gd name="T0" fmla="*/ 8 w 34"/>
                <a:gd name="T1" fmla="*/ 0 h 18"/>
                <a:gd name="T2" fmla="*/ 19 w 34"/>
                <a:gd name="T3" fmla="*/ 0 h 18"/>
                <a:gd name="T4" fmla="*/ 33 w 34"/>
                <a:gd name="T5" fmla="*/ 6 h 18"/>
                <a:gd name="T6" fmla="*/ 29 w 34"/>
                <a:gd name="T7" fmla="*/ 16 h 18"/>
                <a:gd name="T8" fmla="*/ 11 w 34"/>
                <a:gd name="T9" fmla="*/ 17 h 18"/>
                <a:gd name="T10" fmla="*/ 0 w 34"/>
                <a:gd name="T11" fmla="*/ 9 h 18"/>
                <a:gd name="T12" fmla="*/ 8 w 34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8" y="0"/>
                  </a:moveTo>
                  <a:lnTo>
                    <a:pt x="19" y="0"/>
                  </a:lnTo>
                  <a:lnTo>
                    <a:pt x="33" y="6"/>
                  </a:lnTo>
                  <a:lnTo>
                    <a:pt x="29" y="16"/>
                  </a:lnTo>
                  <a:lnTo>
                    <a:pt x="11" y="17"/>
                  </a:lnTo>
                  <a:lnTo>
                    <a:pt x="0" y="9"/>
                  </a:lnTo>
                  <a:lnTo>
                    <a:pt x="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8" name="Freeform 53">
              <a:extLst>
                <a:ext uri="{FF2B5EF4-FFF2-40B4-BE49-F238E27FC236}">
                  <a16:creationId xmlns:a16="http://schemas.microsoft.com/office/drawing/2014/main" xmlns="" id="{67E19CB1-1121-412A-AD02-B49478A55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140" y="3656078"/>
              <a:ext cx="77274" cy="53513"/>
            </a:xfrm>
            <a:custGeom>
              <a:avLst/>
              <a:gdLst>
                <a:gd name="T0" fmla="*/ 0 w 57"/>
                <a:gd name="T1" fmla="*/ 40 h 41"/>
                <a:gd name="T2" fmla="*/ 5 w 57"/>
                <a:gd name="T3" fmla="*/ 29 h 41"/>
                <a:gd name="T4" fmla="*/ 5 w 57"/>
                <a:gd name="T5" fmla="*/ 8 h 41"/>
                <a:gd name="T6" fmla="*/ 5 w 57"/>
                <a:gd name="T7" fmla="*/ 0 h 41"/>
                <a:gd name="T8" fmla="*/ 18 w 57"/>
                <a:gd name="T9" fmla="*/ 2 h 41"/>
                <a:gd name="T10" fmla="*/ 23 w 57"/>
                <a:gd name="T11" fmla="*/ 9 h 41"/>
                <a:gd name="T12" fmla="*/ 29 w 57"/>
                <a:gd name="T13" fmla="*/ 11 h 41"/>
                <a:gd name="T14" fmla="*/ 36 w 57"/>
                <a:gd name="T15" fmla="*/ 11 h 41"/>
                <a:gd name="T16" fmla="*/ 39 w 57"/>
                <a:gd name="T17" fmla="*/ 20 h 41"/>
                <a:gd name="T18" fmla="*/ 47 w 57"/>
                <a:gd name="T19" fmla="*/ 24 h 41"/>
                <a:gd name="T20" fmla="*/ 56 w 57"/>
                <a:gd name="T21" fmla="*/ 31 h 41"/>
                <a:gd name="T22" fmla="*/ 53 w 57"/>
                <a:gd name="T23" fmla="*/ 37 h 41"/>
                <a:gd name="T24" fmla="*/ 40 w 57"/>
                <a:gd name="T25" fmla="*/ 38 h 41"/>
                <a:gd name="T26" fmla="*/ 18 w 57"/>
                <a:gd name="T27" fmla="*/ 37 h 41"/>
                <a:gd name="T28" fmla="*/ 0 w 57"/>
                <a:gd name="T29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1">
                  <a:moveTo>
                    <a:pt x="0" y="40"/>
                  </a:moveTo>
                  <a:lnTo>
                    <a:pt x="5" y="29"/>
                  </a:lnTo>
                  <a:lnTo>
                    <a:pt x="5" y="8"/>
                  </a:lnTo>
                  <a:lnTo>
                    <a:pt x="5" y="0"/>
                  </a:lnTo>
                  <a:lnTo>
                    <a:pt x="18" y="2"/>
                  </a:lnTo>
                  <a:lnTo>
                    <a:pt x="23" y="9"/>
                  </a:lnTo>
                  <a:lnTo>
                    <a:pt x="29" y="11"/>
                  </a:lnTo>
                  <a:lnTo>
                    <a:pt x="36" y="11"/>
                  </a:lnTo>
                  <a:lnTo>
                    <a:pt x="39" y="20"/>
                  </a:lnTo>
                  <a:lnTo>
                    <a:pt x="47" y="24"/>
                  </a:lnTo>
                  <a:lnTo>
                    <a:pt x="56" y="31"/>
                  </a:lnTo>
                  <a:lnTo>
                    <a:pt x="53" y="37"/>
                  </a:lnTo>
                  <a:lnTo>
                    <a:pt x="40" y="38"/>
                  </a:lnTo>
                  <a:lnTo>
                    <a:pt x="18" y="37"/>
                  </a:lnTo>
                  <a:lnTo>
                    <a:pt x="0" y="4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9" name="Freeform 54">
              <a:extLst>
                <a:ext uri="{FF2B5EF4-FFF2-40B4-BE49-F238E27FC236}">
                  <a16:creationId xmlns:a16="http://schemas.microsoft.com/office/drawing/2014/main" xmlns="" id="{9B5ADDFF-F877-4405-A4D3-ECEDD45EE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491" y="3691754"/>
              <a:ext cx="30909" cy="21405"/>
            </a:xfrm>
            <a:custGeom>
              <a:avLst/>
              <a:gdLst>
                <a:gd name="T0" fmla="*/ 8 w 23"/>
                <a:gd name="T1" fmla="*/ 2 h 16"/>
                <a:gd name="T2" fmla="*/ 0 w 23"/>
                <a:gd name="T3" fmla="*/ 7 h 16"/>
                <a:gd name="T4" fmla="*/ 6 w 23"/>
                <a:gd name="T5" fmla="*/ 11 h 16"/>
                <a:gd name="T6" fmla="*/ 14 w 23"/>
                <a:gd name="T7" fmla="*/ 15 h 16"/>
                <a:gd name="T8" fmla="*/ 22 w 23"/>
                <a:gd name="T9" fmla="*/ 11 h 16"/>
                <a:gd name="T10" fmla="*/ 22 w 23"/>
                <a:gd name="T11" fmla="*/ 0 h 16"/>
                <a:gd name="T12" fmla="*/ 8 w 23"/>
                <a:gd name="T1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8" y="2"/>
                  </a:moveTo>
                  <a:lnTo>
                    <a:pt x="0" y="7"/>
                  </a:lnTo>
                  <a:lnTo>
                    <a:pt x="6" y="11"/>
                  </a:lnTo>
                  <a:lnTo>
                    <a:pt x="14" y="15"/>
                  </a:lnTo>
                  <a:lnTo>
                    <a:pt x="22" y="11"/>
                  </a:lnTo>
                  <a:lnTo>
                    <a:pt x="22" y="0"/>
                  </a:lnTo>
                  <a:lnTo>
                    <a:pt x="8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0" name="Freeform 55">
              <a:extLst>
                <a:ext uri="{FF2B5EF4-FFF2-40B4-BE49-F238E27FC236}">
                  <a16:creationId xmlns:a16="http://schemas.microsoft.com/office/drawing/2014/main" xmlns="" id="{679EE471-5F1C-45F1-BDE6-8D93CD74F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016" y="3713159"/>
              <a:ext cx="66574" cy="84432"/>
            </a:xfrm>
            <a:custGeom>
              <a:avLst/>
              <a:gdLst>
                <a:gd name="T0" fmla="*/ 0 w 50"/>
                <a:gd name="T1" fmla="*/ 49 h 63"/>
                <a:gd name="T2" fmla="*/ 6 w 50"/>
                <a:gd name="T3" fmla="*/ 31 h 63"/>
                <a:gd name="T4" fmla="*/ 19 w 50"/>
                <a:gd name="T5" fmla="*/ 28 h 63"/>
                <a:gd name="T6" fmla="*/ 21 w 50"/>
                <a:gd name="T7" fmla="*/ 9 h 63"/>
                <a:gd name="T8" fmla="*/ 43 w 50"/>
                <a:gd name="T9" fmla="*/ 0 h 63"/>
                <a:gd name="T10" fmla="*/ 41 w 50"/>
                <a:gd name="T11" fmla="*/ 20 h 63"/>
                <a:gd name="T12" fmla="*/ 41 w 50"/>
                <a:gd name="T13" fmla="*/ 34 h 63"/>
                <a:gd name="T14" fmla="*/ 49 w 50"/>
                <a:gd name="T15" fmla="*/ 35 h 63"/>
                <a:gd name="T16" fmla="*/ 47 w 50"/>
                <a:gd name="T17" fmla="*/ 48 h 63"/>
                <a:gd name="T18" fmla="*/ 37 w 50"/>
                <a:gd name="T19" fmla="*/ 48 h 63"/>
                <a:gd name="T20" fmla="*/ 34 w 50"/>
                <a:gd name="T21" fmla="*/ 62 h 63"/>
                <a:gd name="T22" fmla="*/ 14 w 50"/>
                <a:gd name="T23" fmla="*/ 61 h 63"/>
                <a:gd name="T24" fmla="*/ 0 w 50"/>
                <a:gd name="T25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63">
                  <a:moveTo>
                    <a:pt x="0" y="49"/>
                  </a:moveTo>
                  <a:lnTo>
                    <a:pt x="6" y="31"/>
                  </a:lnTo>
                  <a:lnTo>
                    <a:pt x="19" y="28"/>
                  </a:lnTo>
                  <a:lnTo>
                    <a:pt x="21" y="9"/>
                  </a:lnTo>
                  <a:lnTo>
                    <a:pt x="43" y="0"/>
                  </a:lnTo>
                  <a:lnTo>
                    <a:pt x="41" y="20"/>
                  </a:lnTo>
                  <a:lnTo>
                    <a:pt x="41" y="34"/>
                  </a:lnTo>
                  <a:lnTo>
                    <a:pt x="49" y="35"/>
                  </a:lnTo>
                  <a:lnTo>
                    <a:pt x="47" y="48"/>
                  </a:lnTo>
                  <a:lnTo>
                    <a:pt x="37" y="48"/>
                  </a:lnTo>
                  <a:lnTo>
                    <a:pt x="34" y="62"/>
                  </a:lnTo>
                  <a:lnTo>
                    <a:pt x="14" y="61"/>
                  </a:lnTo>
                  <a:lnTo>
                    <a:pt x="0" y="4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1" name="Freeform 56">
              <a:extLst>
                <a:ext uri="{FF2B5EF4-FFF2-40B4-BE49-F238E27FC236}">
                  <a16:creationId xmlns:a16="http://schemas.microsoft.com/office/drawing/2014/main" xmlns="" id="{D4196802-7FB4-4475-80E5-A2052E5DC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7494" y="4142454"/>
              <a:ext cx="246087" cy="365079"/>
            </a:xfrm>
            <a:custGeom>
              <a:avLst/>
              <a:gdLst>
                <a:gd name="T0" fmla="*/ 149 w 185"/>
                <a:gd name="T1" fmla="*/ 12 h 274"/>
                <a:gd name="T2" fmla="*/ 136 w 185"/>
                <a:gd name="T3" fmla="*/ 3 h 274"/>
                <a:gd name="T4" fmla="*/ 111 w 185"/>
                <a:gd name="T5" fmla="*/ 0 h 274"/>
                <a:gd name="T6" fmla="*/ 103 w 185"/>
                <a:gd name="T7" fmla="*/ 10 h 274"/>
                <a:gd name="T8" fmla="*/ 62 w 185"/>
                <a:gd name="T9" fmla="*/ 29 h 274"/>
                <a:gd name="T10" fmla="*/ 42 w 185"/>
                <a:gd name="T11" fmla="*/ 43 h 274"/>
                <a:gd name="T12" fmla="*/ 28 w 185"/>
                <a:gd name="T13" fmla="*/ 54 h 274"/>
                <a:gd name="T14" fmla="*/ 17 w 185"/>
                <a:gd name="T15" fmla="*/ 43 h 274"/>
                <a:gd name="T16" fmla="*/ 14 w 185"/>
                <a:gd name="T17" fmla="*/ 31 h 274"/>
                <a:gd name="T18" fmla="*/ 6 w 185"/>
                <a:gd name="T19" fmla="*/ 31 h 274"/>
                <a:gd name="T20" fmla="*/ 0 w 185"/>
                <a:gd name="T21" fmla="*/ 37 h 274"/>
                <a:gd name="T22" fmla="*/ 0 w 185"/>
                <a:gd name="T23" fmla="*/ 71 h 274"/>
                <a:gd name="T24" fmla="*/ 15 w 185"/>
                <a:gd name="T25" fmla="*/ 71 h 274"/>
                <a:gd name="T26" fmla="*/ 21 w 185"/>
                <a:gd name="T27" fmla="*/ 94 h 274"/>
                <a:gd name="T28" fmla="*/ 29 w 185"/>
                <a:gd name="T29" fmla="*/ 100 h 274"/>
                <a:gd name="T30" fmla="*/ 31 w 185"/>
                <a:gd name="T31" fmla="*/ 114 h 274"/>
                <a:gd name="T32" fmla="*/ 36 w 185"/>
                <a:gd name="T33" fmla="*/ 127 h 274"/>
                <a:gd name="T34" fmla="*/ 45 w 185"/>
                <a:gd name="T35" fmla="*/ 132 h 274"/>
                <a:gd name="T36" fmla="*/ 47 w 185"/>
                <a:gd name="T37" fmla="*/ 147 h 274"/>
                <a:gd name="T38" fmla="*/ 51 w 185"/>
                <a:gd name="T39" fmla="*/ 151 h 274"/>
                <a:gd name="T40" fmla="*/ 57 w 185"/>
                <a:gd name="T41" fmla="*/ 159 h 274"/>
                <a:gd name="T42" fmla="*/ 61 w 185"/>
                <a:gd name="T43" fmla="*/ 173 h 274"/>
                <a:gd name="T44" fmla="*/ 68 w 185"/>
                <a:gd name="T45" fmla="*/ 187 h 274"/>
                <a:gd name="T46" fmla="*/ 75 w 185"/>
                <a:gd name="T47" fmla="*/ 193 h 274"/>
                <a:gd name="T48" fmla="*/ 71 w 185"/>
                <a:gd name="T49" fmla="*/ 199 h 274"/>
                <a:gd name="T50" fmla="*/ 76 w 185"/>
                <a:gd name="T51" fmla="*/ 212 h 274"/>
                <a:gd name="T52" fmla="*/ 91 w 185"/>
                <a:gd name="T53" fmla="*/ 221 h 274"/>
                <a:gd name="T54" fmla="*/ 105 w 185"/>
                <a:gd name="T55" fmla="*/ 239 h 274"/>
                <a:gd name="T56" fmla="*/ 127 w 185"/>
                <a:gd name="T57" fmla="*/ 247 h 274"/>
                <a:gd name="T58" fmla="*/ 147 w 185"/>
                <a:gd name="T59" fmla="*/ 263 h 274"/>
                <a:gd name="T60" fmla="*/ 159 w 185"/>
                <a:gd name="T61" fmla="*/ 273 h 274"/>
                <a:gd name="T62" fmla="*/ 170 w 185"/>
                <a:gd name="T63" fmla="*/ 263 h 274"/>
                <a:gd name="T64" fmla="*/ 174 w 185"/>
                <a:gd name="T65" fmla="*/ 251 h 274"/>
                <a:gd name="T66" fmla="*/ 179 w 185"/>
                <a:gd name="T67" fmla="*/ 249 h 274"/>
                <a:gd name="T68" fmla="*/ 174 w 185"/>
                <a:gd name="T69" fmla="*/ 241 h 274"/>
                <a:gd name="T70" fmla="*/ 176 w 185"/>
                <a:gd name="T71" fmla="*/ 215 h 274"/>
                <a:gd name="T72" fmla="*/ 176 w 185"/>
                <a:gd name="T73" fmla="*/ 196 h 274"/>
                <a:gd name="T74" fmla="*/ 182 w 185"/>
                <a:gd name="T75" fmla="*/ 190 h 274"/>
                <a:gd name="T76" fmla="*/ 184 w 185"/>
                <a:gd name="T77" fmla="*/ 175 h 274"/>
                <a:gd name="T78" fmla="*/ 173 w 185"/>
                <a:gd name="T79" fmla="*/ 158 h 274"/>
                <a:gd name="T80" fmla="*/ 160 w 185"/>
                <a:gd name="T81" fmla="*/ 151 h 274"/>
                <a:gd name="T82" fmla="*/ 155 w 185"/>
                <a:gd name="T83" fmla="*/ 134 h 274"/>
                <a:gd name="T84" fmla="*/ 143 w 185"/>
                <a:gd name="T85" fmla="*/ 140 h 274"/>
                <a:gd name="T86" fmla="*/ 131 w 185"/>
                <a:gd name="T87" fmla="*/ 138 h 274"/>
                <a:gd name="T88" fmla="*/ 129 w 185"/>
                <a:gd name="T89" fmla="*/ 129 h 274"/>
                <a:gd name="T90" fmla="*/ 119 w 185"/>
                <a:gd name="T91" fmla="*/ 128 h 274"/>
                <a:gd name="T92" fmla="*/ 115 w 185"/>
                <a:gd name="T93" fmla="*/ 118 h 274"/>
                <a:gd name="T94" fmla="*/ 105 w 185"/>
                <a:gd name="T95" fmla="*/ 110 h 274"/>
                <a:gd name="T96" fmla="*/ 102 w 185"/>
                <a:gd name="T97" fmla="*/ 100 h 274"/>
                <a:gd name="T98" fmla="*/ 104 w 185"/>
                <a:gd name="T99" fmla="*/ 87 h 274"/>
                <a:gd name="T100" fmla="*/ 113 w 185"/>
                <a:gd name="T101" fmla="*/ 82 h 274"/>
                <a:gd name="T102" fmla="*/ 120 w 185"/>
                <a:gd name="T103" fmla="*/ 77 h 274"/>
                <a:gd name="T104" fmla="*/ 116 w 185"/>
                <a:gd name="T105" fmla="*/ 67 h 274"/>
                <a:gd name="T106" fmla="*/ 120 w 185"/>
                <a:gd name="T107" fmla="*/ 54 h 274"/>
                <a:gd name="T108" fmla="*/ 131 w 185"/>
                <a:gd name="T109" fmla="*/ 47 h 274"/>
                <a:gd name="T110" fmla="*/ 143 w 185"/>
                <a:gd name="T111" fmla="*/ 50 h 274"/>
                <a:gd name="T112" fmla="*/ 155 w 185"/>
                <a:gd name="T113" fmla="*/ 44 h 274"/>
                <a:gd name="T114" fmla="*/ 159 w 185"/>
                <a:gd name="T115" fmla="*/ 31 h 274"/>
                <a:gd name="T116" fmla="*/ 149 w 185"/>
                <a:gd name="T117" fmla="*/ 1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4">
                  <a:moveTo>
                    <a:pt x="149" y="12"/>
                  </a:moveTo>
                  <a:lnTo>
                    <a:pt x="136" y="3"/>
                  </a:lnTo>
                  <a:lnTo>
                    <a:pt x="111" y="0"/>
                  </a:lnTo>
                  <a:lnTo>
                    <a:pt x="103" y="10"/>
                  </a:lnTo>
                  <a:lnTo>
                    <a:pt x="62" y="29"/>
                  </a:lnTo>
                  <a:lnTo>
                    <a:pt x="42" y="43"/>
                  </a:lnTo>
                  <a:lnTo>
                    <a:pt x="28" y="54"/>
                  </a:lnTo>
                  <a:lnTo>
                    <a:pt x="17" y="43"/>
                  </a:lnTo>
                  <a:lnTo>
                    <a:pt x="14" y="31"/>
                  </a:lnTo>
                  <a:lnTo>
                    <a:pt x="6" y="31"/>
                  </a:lnTo>
                  <a:lnTo>
                    <a:pt x="0" y="37"/>
                  </a:lnTo>
                  <a:lnTo>
                    <a:pt x="0" y="71"/>
                  </a:lnTo>
                  <a:lnTo>
                    <a:pt x="15" y="71"/>
                  </a:lnTo>
                  <a:lnTo>
                    <a:pt x="21" y="94"/>
                  </a:lnTo>
                  <a:lnTo>
                    <a:pt x="29" y="100"/>
                  </a:lnTo>
                  <a:lnTo>
                    <a:pt x="31" y="114"/>
                  </a:lnTo>
                  <a:lnTo>
                    <a:pt x="36" y="127"/>
                  </a:lnTo>
                  <a:lnTo>
                    <a:pt x="45" y="132"/>
                  </a:lnTo>
                  <a:lnTo>
                    <a:pt x="47" y="147"/>
                  </a:lnTo>
                  <a:lnTo>
                    <a:pt x="51" y="151"/>
                  </a:lnTo>
                  <a:lnTo>
                    <a:pt x="57" y="159"/>
                  </a:lnTo>
                  <a:lnTo>
                    <a:pt x="61" y="173"/>
                  </a:lnTo>
                  <a:lnTo>
                    <a:pt x="68" y="187"/>
                  </a:lnTo>
                  <a:lnTo>
                    <a:pt x="75" y="193"/>
                  </a:lnTo>
                  <a:lnTo>
                    <a:pt x="71" y="199"/>
                  </a:lnTo>
                  <a:lnTo>
                    <a:pt x="76" y="212"/>
                  </a:lnTo>
                  <a:lnTo>
                    <a:pt x="91" y="221"/>
                  </a:lnTo>
                  <a:lnTo>
                    <a:pt x="105" y="239"/>
                  </a:lnTo>
                  <a:lnTo>
                    <a:pt x="127" y="247"/>
                  </a:lnTo>
                  <a:lnTo>
                    <a:pt x="147" y="263"/>
                  </a:lnTo>
                  <a:lnTo>
                    <a:pt x="159" y="273"/>
                  </a:lnTo>
                  <a:lnTo>
                    <a:pt x="170" y="263"/>
                  </a:lnTo>
                  <a:lnTo>
                    <a:pt x="174" y="251"/>
                  </a:lnTo>
                  <a:lnTo>
                    <a:pt x="179" y="249"/>
                  </a:lnTo>
                  <a:lnTo>
                    <a:pt x="174" y="241"/>
                  </a:lnTo>
                  <a:lnTo>
                    <a:pt x="176" y="215"/>
                  </a:lnTo>
                  <a:lnTo>
                    <a:pt x="176" y="196"/>
                  </a:lnTo>
                  <a:lnTo>
                    <a:pt x="182" y="190"/>
                  </a:lnTo>
                  <a:lnTo>
                    <a:pt x="184" y="175"/>
                  </a:lnTo>
                  <a:lnTo>
                    <a:pt x="173" y="158"/>
                  </a:lnTo>
                  <a:lnTo>
                    <a:pt x="160" y="151"/>
                  </a:lnTo>
                  <a:lnTo>
                    <a:pt x="155" y="134"/>
                  </a:lnTo>
                  <a:lnTo>
                    <a:pt x="143" y="140"/>
                  </a:lnTo>
                  <a:lnTo>
                    <a:pt x="131" y="138"/>
                  </a:lnTo>
                  <a:lnTo>
                    <a:pt x="129" y="129"/>
                  </a:lnTo>
                  <a:lnTo>
                    <a:pt x="119" y="128"/>
                  </a:lnTo>
                  <a:lnTo>
                    <a:pt x="115" y="118"/>
                  </a:lnTo>
                  <a:lnTo>
                    <a:pt x="105" y="110"/>
                  </a:lnTo>
                  <a:lnTo>
                    <a:pt x="102" y="100"/>
                  </a:lnTo>
                  <a:lnTo>
                    <a:pt x="104" y="87"/>
                  </a:lnTo>
                  <a:lnTo>
                    <a:pt x="113" y="82"/>
                  </a:lnTo>
                  <a:lnTo>
                    <a:pt x="120" y="77"/>
                  </a:lnTo>
                  <a:lnTo>
                    <a:pt x="116" y="67"/>
                  </a:lnTo>
                  <a:lnTo>
                    <a:pt x="120" y="54"/>
                  </a:lnTo>
                  <a:lnTo>
                    <a:pt x="131" y="47"/>
                  </a:lnTo>
                  <a:lnTo>
                    <a:pt x="143" y="50"/>
                  </a:lnTo>
                  <a:lnTo>
                    <a:pt x="155" y="44"/>
                  </a:lnTo>
                  <a:lnTo>
                    <a:pt x="159" y="31"/>
                  </a:lnTo>
                  <a:lnTo>
                    <a:pt x="149" y="1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2" name="Freeform 57">
              <a:extLst>
                <a:ext uri="{FF2B5EF4-FFF2-40B4-BE49-F238E27FC236}">
                  <a16:creationId xmlns:a16="http://schemas.microsoft.com/office/drawing/2014/main" xmlns="" id="{9A3CA58A-46AE-4E53-9F27-692C8F35D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348" y="3830888"/>
              <a:ext cx="219933" cy="329403"/>
            </a:xfrm>
            <a:custGeom>
              <a:avLst/>
              <a:gdLst>
                <a:gd name="T0" fmla="*/ 23 w 166"/>
                <a:gd name="T1" fmla="*/ 95 h 248"/>
                <a:gd name="T2" fmla="*/ 26 w 166"/>
                <a:gd name="T3" fmla="*/ 63 h 248"/>
                <a:gd name="T4" fmla="*/ 40 w 166"/>
                <a:gd name="T5" fmla="*/ 76 h 248"/>
                <a:gd name="T6" fmla="*/ 41 w 166"/>
                <a:gd name="T7" fmla="*/ 53 h 248"/>
                <a:gd name="T8" fmla="*/ 57 w 166"/>
                <a:gd name="T9" fmla="*/ 48 h 248"/>
                <a:gd name="T10" fmla="*/ 58 w 166"/>
                <a:gd name="T11" fmla="*/ 31 h 248"/>
                <a:gd name="T12" fmla="*/ 74 w 166"/>
                <a:gd name="T13" fmla="*/ 20 h 248"/>
                <a:gd name="T14" fmla="*/ 91 w 166"/>
                <a:gd name="T15" fmla="*/ 18 h 248"/>
                <a:gd name="T16" fmla="*/ 96 w 166"/>
                <a:gd name="T17" fmla="*/ 6 h 248"/>
                <a:gd name="T18" fmla="*/ 106 w 166"/>
                <a:gd name="T19" fmla="*/ 0 h 248"/>
                <a:gd name="T20" fmla="*/ 113 w 166"/>
                <a:gd name="T21" fmla="*/ 6 h 248"/>
                <a:gd name="T22" fmla="*/ 102 w 166"/>
                <a:gd name="T23" fmla="*/ 20 h 248"/>
                <a:gd name="T24" fmla="*/ 96 w 166"/>
                <a:gd name="T25" fmla="*/ 42 h 248"/>
                <a:gd name="T26" fmla="*/ 85 w 166"/>
                <a:gd name="T27" fmla="*/ 49 h 248"/>
                <a:gd name="T28" fmla="*/ 98 w 166"/>
                <a:gd name="T29" fmla="*/ 67 h 248"/>
                <a:gd name="T30" fmla="*/ 95 w 166"/>
                <a:gd name="T31" fmla="*/ 84 h 248"/>
                <a:gd name="T32" fmla="*/ 121 w 166"/>
                <a:gd name="T33" fmla="*/ 86 h 248"/>
                <a:gd name="T34" fmla="*/ 121 w 166"/>
                <a:gd name="T35" fmla="*/ 95 h 248"/>
                <a:gd name="T36" fmla="*/ 143 w 166"/>
                <a:gd name="T37" fmla="*/ 105 h 248"/>
                <a:gd name="T38" fmla="*/ 165 w 166"/>
                <a:gd name="T39" fmla="*/ 113 h 248"/>
                <a:gd name="T40" fmla="*/ 165 w 166"/>
                <a:gd name="T41" fmla="*/ 141 h 248"/>
                <a:gd name="T42" fmla="*/ 161 w 166"/>
                <a:gd name="T43" fmla="*/ 160 h 248"/>
                <a:gd name="T44" fmla="*/ 162 w 166"/>
                <a:gd name="T45" fmla="*/ 173 h 248"/>
                <a:gd name="T46" fmla="*/ 138 w 166"/>
                <a:gd name="T47" fmla="*/ 182 h 248"/>
                <a:gd name="T48" fmla="*/ 132 w 166"/>
                <a:gd name="T49" fmla="*/ 192 h 248"/>
                <a:gd name="T50" fmla="*/ 140 w 166"/>
                <a:gd name="T51" fmla="*/ 199 h 248"/>
                <a:gd name="T52" fmla="*/ 132 w 166"/>
                <a:gd name="T53" fmla="*/ 204 h 248"/>
                <a:gd name="T54" fmla="*/ 135 w 166"/>
                <a:gd name="T55" fmla="*/ 233 h 248"/>
                <a:gd name="T56" fmla="*/ 135 w 166"/>
                <a:gd name="T57" fmla="*/ 245 h 248"/>
                <a:gd name="T58" fmla="*/ 121 w 166"/>
                <a:gd name="T59" fmla="*/ 247 h 248"/>
                <a:gd name="T60" fmla="*/ 107 w 166"/>
                <a:gd name="T61" fmla="*/ 238 h 248"/>
                <a:gd name="T62" fmla="*/ 83 w 166"/>
                <a:gd name="T63" fmla="*/ 235 h 248"/>
                <a:gd name="T64" fmla="*/ 70 w 166"/>
                <a:gd name="T65" fmla="*/ 219 h 248"/>
                <a:gd name="T66" fmla="*/ 55 w 166"/>
                <a:gd name="T67" fmla="*/ 209 h 248"/>
                <a:gd name="T68" fmla="*/ 44 w 166"/>
                <a:gd name="T69" fmla="*/ 199 h 248"/>
                <a:gd name="T70" fmla="*/ 21 w 166"/>
                <a:gd name="T71" fmla="*/ 200 h 248"/>
                <a:gd name="T72" fmla="*/ 0 w 166"/>
                <a:gd name="T73" fmla="*/ 188 h 248"/>
                <a:gd name="T74" fmla="*/ 11 w 166"/>
                <a:gd name="T75" fmla="*/ 171 h 248"/>
                <a:gd name="T76" fmla="*/ 14 w 166"/>
                <a:gd name="T77" fmla="*/ 163 h 248"/>
                <a:gd name="T78" fmla="*/ 27 w 166"/>
                <a:gd name="T79" fmla="*/ 161 h 248"/>
                <a:gd name="T80" fmla="*/ 23 w 166"/>
                <a:gd name="T81" fmla="*/ 95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6" h="248">
                  <a:moveTo>
                    <a:pt x="23" y="95"/>
                  </a:moveTo>
                  <a:lnTo>
                    <a:pt x="26" y="63"/>
                  </a:lnTo>
                  <a:lnTo>
                    <a:pt x="40" y="76"/>
                  </a:lnTo>
                  <a:lnTo>
                    <a:pt x="41" y="53"/>
                  </a:lnTo>
                  <a:lnTo>
                    <a:pt x="57" y="48"/>
                  </a:lnTo>
                  <a:lnTo>
                    <a:pt x="58" y="31"/>
                  </a:lnTo>
                  <a:lnTo>
                    <a:pt x="74" y="20"/>
                  </a:lnTo>
                  <a:lnTo>
                    <a:pt x="91" y="18"/>
                  </a:lnTo>
                  <a:lnTo>
                    <a:pt x="96" y="6"/>
                  </a:lnTo>
                  <a:lnTo>
                    <a:pt x="106" y="0"/>
                  </a:lnTo>
                  <a:lnTo>
                    <a:pt x="113" y="6"/>
                  </a:lnTo>
                  <a:lnTo>
                    <a:pt x="102" y="20"/>
                  </a:lnTo>
                  <a:lnTo>
                    <a:pt x="96" y="42"/>
                  </a:lnTo>
                  <a:lnTo>
                    <a:pt x="85" y="49"/>
                  </a:lnTo>
                  <a:lnTo>
                    <a:pt x="98" y="67"/>
                  </a:lnTo>
                  <a:lnTo>
                    <a:pt x="95" y="84"/>
                  </a:lnTo>
                  <a:lnTo>
                    <a:pt x="121" y="86"/>
                  </a:lnTo>
                  <a:lnTo>
                    <a:pt x="121" y="95"/>
                  </a:lnTo>
                  <a:lnTo>
                    <a:pt x="143" y="105"/>
                  </a:lnTo>
                  <a:lnTo>
                    <a:pt x="165" y="113"/>
                  </a:lnTo>
                  <a:lnTo>
                    <a:pt x="165" y="141"/>
                  </a:lnTo>
                  <a:lnTo>
                    <a:pt x="161" y="160"/>
                  </a:lnTo>
                  <a:lnTo>
                    <a:pt x="162" y="173"/>
                  </a:lnTo>
                  <a:lnTo>
                    <a:pt x="138" y="182"/>
                  </a:lnTo>
                  <a:lnTo>
                    <a:pt x="132" y="192"/>
                  </a:lnTo>
                  <a:lnTo>
                    <a:pt x="140" y="199"/>
                  </a:lnTo>
                  <a:lnTo>
                    <a:pt x="132" y="204"/>
                  </a:lnTo>
                  <a:lnTo>
                    <a:pt x="135" y="233"/>
                  </a:lnTo>
                  <a:lnTo>
                    <a:pt x="135" y="245"/>
                  </a:lnTo>
                  <a:lnTo>
                    <a:pt x="121" y="247"/>
                  </a:lnTo>
                  <a:lnTo>
                    <a:pt x="107" y="238"/>
                  </a:lnTo>
                  <a:lnTo>
                    <a:pt x="83" y="235"/>
                  </a:lnTo>
                  <a:lnTo>
                    <a:pt x="70" y="219"/>
                  </a:lnTo>
                  <a:lnTo>
                    <a:pt x="55" y="209"/>
                  </a:lnTo>
                  <a:lnTo>
                    <a:pt x="44" y="199"/>
                  </a:lnTo>
                  <a:lnTo>
                    <a:pt x="21" y="200"/>
                  </a:lnTo>
                  <a:lnTo>
                    <a:pt x="0" y="188"/>
                  </a:lnTo>
                  <a:lnTo>
                    <a:pt x="11" y="171"/>
                  </a:lnTo>
                  <a:lnTo>
                    <a:pt x="14" y="163"/>
                  </a:lnTo>
                  <a:lnTo>
                    <a:pt x="27" y="161"/>
                  </a:lnTo>
                  <a:lnTo>
                    <a:pt x="23" y="9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3" name="Freeform 60">
              <a:extLst>
                <a:ext uri="{FF2B5EF4-FFF2-40B4-BE49-F238E27FC236}">
                  <a16:creationId xmlns:a16="http://schemas.microsoft.com/office/drawing/2014/main" xmlns="" id="{0010B1FB-8D90-4DBC-A598-8DB682870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91" y="3698889"/>
              <a:ext cx="36854" cy="63027"/>
            </a:xfrm>
            <a:custGeom>
              <a:avLst/>
              <a:gdLst>
                <a:gd name="T0" fmla="*/ 2 w 29"/>
                <a:gd name="T1" fmla="*/ 13 h 48"/>
                <a:gd name="T2" fmla="*/ 10 w 29"/>
                <a:gd name="T3" fmla="*/ 10 h 48"/>
                <a:gd name="T4" fmla="*/ 28 w 29"/>
                <a:gd name="T5" fmla="*/ 0 h 48"/>
                <a:gd name="T6" fmla="*/ 25 w 29"/>
                <a:gd name="T7" fmla="*/ 19 h 48"/>
                <a:gd name="T8" fmla="*/ 28 w 29"/>
                <a:gd name="T9" fmla="*/ 39 h 48"/>
                <a:gd name="T10" fmla="*/ 18 w 29"/>
                <a:gd name="T11" fmla="*/ 46 h 48"/>
                <a:gd name="T12" fmla="*/ 8 w 29"/>
                <a:gd name="T13" fmla="*/ 47 h 48"/>
                <a:gd name="T14" fmla="*/ 0 w 29"/>
                <a:gd name="T15" fmla="*/ 45 h 48"/>
                <a:gd name="T16" fmla="*/ 0 w 29"/>
                <a:gd name="T17" fmla="*/ 32 h 48"/>
                <a:gd name="T18" fmla="*/ 2 w 29"/>
                <a:gd name="T19" fmla="*/ 1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8">
                  <a:moveTo>
                    <a:pt x="2" y="13"/>
                  </a:moveTo>
                  <a:lnTo>
                    <a:pt x="10" y="10"/>
                  </a:lnTo>
                  <a:lnTo>
                    <a:pt x="28" y="0"/>
                  </a:lnTo>
                  <a:lnTo>
                    <a:pt x="25" y="19"/>
                  </a:lnTo>
                  <a:lnTo>
                    <a:pt x="28" y="39"/>
                  </a:lnTo>
                  <a:lnTo>
                    <a:pt x="18" y="46"/>
                  </a:lnTo>
                  <a:lnTo>
                    <a:pt x="8" y="47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" y="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4" name="Freeform 61">
              <a:extLst>
                <a:ext uri="{FF2B5EF4-FFF2-40B4-BE49-F238E27FC236}">
                  <a16:creationId xmlns:a16="http://schemas.microsoft.com/office/drawing/2014/main" xmlns="" id="{9BF7B66D-258C-4BE9-A2D4-47BE530CD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7144" y="3865374"/>
              <a:ext cx="65385" cy="40432"/>
            </a:xfrm>
            <a:custGeom>
              <a:avLst/>
              <a:gdLst>
                <a:gd name="T0" fmla="*/ 33 w 49"/>
                <a:gd name="T1" fmla="*/ 2 h 31"/>
                <a:gd name="T2" fmla="*/ 1 w 49"/>
                <a:gd name="T3" fmla="*/ 0 h 31"/>
                <a:gd name="T4" fmla="*/ 0 w 49"/>
                <a:gd name="T5" fmla="*/ 12 h 31"/>
                <a:gd name="T6" fmla="*/ 7 w 49"/>
                <a:gd name="T7" fmla="*/ 23 h 31"/>
                <a:gd name="T8" fmla="*/ 35 w 49"/>
                <a:gd name="T9" fmla="*/ 30 h 31"/>
                <a:gd name="T10" fmla="*/ 48 w 49"/>
                <a:gd name="T11" fmla="*/ 23 h 31"/>
                <a:gd name="T12" fmla="*/ 47 w 49"/>
                <a:gd name="T13" fmla="*/ 10 h 31"/>
                <a:gd name="T14" fmla="*/ 33 w 49"/>
                <a:gd name="T15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31">
                  <a:moveTo>
                    <a:pt x="33" y="2"/>
                  </a:moveTo>
                  <a:lnTo>
                    <a:pt x="1" y="0"/>
                  </a:lnTo>
                  <a:lnTo>
                    <a:pt x="0" y="12"/>
                  </a:lnTo>
                  <a:lnTo>
                    <a:pt x="7" y="23"/>
                  </a:lnTo>
                  <a:lnTo>
                    <a:pt x="35" y="30"/>
                  </a:lnTo>
                  <a:lnTo>
                    <a:pt x="48" y="23"/>
                  </a:lnTo>
                  <a:lnTo>
                    <a:pt x="47" y="10"/>
                  </a:lnTo>
                  <a:lnTo>
                    <a:pt x="33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5" name="Freeform 62">
              <a:extLst>
                <a:ext uri="{FF2B5EF4-FFF2-40B4-BE49-F238E27FC236}">
                  <a16:creationId xmlns:a16="http://schemas.microsoft.com/office/drawing/2014/main" xmlns="" id="{497E2390-FF3B-4421-81E4-83EF61506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7287" y="3830888"/>
              <a:ext cx="254409" cy="255674"/>
            </a:xfrm>
            <a:custGeom>
              <a:avLst/>
              <a:gdLst>
                <a:gd name="T0" fmla="*/ 28 w 191"/>
                <a:gd name="T1" fmla="*/ 6 h 193"/>
                <a:gd name="T2" fmla="*/ 16 w 191"/>
                <a:gd name="T3" fmla="*/ 19 h 193"/>
                <a:gd name="T4" fmla="*/ 10 w 191"/>
                <a:gd name="T5" fmla="*/ 42 h 193"/>
                <a:gd name="T6" fmla="*/ 0 w 191"/>
                <a:gd name="T7" fmla="*/ 49 h 193"/>
                <a:gd name="T8" fmla="*/ 13 w 191"/>
                <a:gd name="T9" fmla="*/ 67 h 193"/>
                <a:gd name="T10" fmla="*/ 9 w 191"/>
                <a:gd name="T11" fmla="*/ 84 h 193"/>
                <a:gd name="T12" fmla="*/ 36 w 191"/>
                <a:gd name="T13" fmla="*/ 85 h 193"/>
                <a:gd name="T14" fmla="*/ 36 w 191"/>
                <a:gd name="T15" fmla="*/ 95 h 193"/>
                <a:gd name="T16" fmla="*/ 58 w 191"/>
                <a:gd name="T17" fmla="*/ 105 h 193"/>
                <a:gd name="T18" fmla="*/ 80 w 191"/>
                <a:gd name="T19" fmla="*/ 112 h 193"/>
                <a:gd name="T20" fmla="*/ 80 w 191"/>
                <a:gd name="T21" fmla="*/ 140 h 193"/>
                <a:gd name="T22" fmla="*/ 75 w 191"/>
                <a:gd name="T23" fmla="*/ 159 h 193"/>
                <a:gd name="T24" fmla="*/ 77 w 191"/>
                <a:gd name="T25" fmla="*/ 173 h 193"/>
                <a:gd name="T26" fmla="*/ 87 w 191"/>
                <a:gd name="T27" fmla="*/ 176 h 193"/>
                <a:gd name="T28" fmla="*/ 94 w 191"/>
                <a:gd name="T29" fmla="*/ 186 h 193"/>
                <a:gd name="T30" fmla="*/ 105 w 191"/>
                <a:gd name="T31" fmla="*/ 192 h 193"/>
                <a:gd name="T32" fmla="*/ 120 w 191"/>
                <a:gd name="T33" fmla="*/ 189 h 193"/>
                <a:gd name="T34" fmla="*/ 132 w 191"/>
                <a:gd name="T35" fmla="*/ 180 h 193"/>
                <a:gd name="T36" fmla="*/ 131 w 191"/>
                <a:gd name="T37" fmla="*/ 169 h 193"/>
                <a:gd name="T38" fmla="*/ 122 w 191"/>
                <a:gd name="T39" fmla="*/ 162 h 193"/>
                <a:gd name="T40" fmla="*/ 120 w 191"/>
                <a:gd name="T41" fmla="*/ 154 h 193"/>
                <a:gd name="T42" fmla="*/ 124 w 191"/>
                <a:gd name="T43" fmla="*/ 140 h 193"/>
                <a:gd name="T44" fmla="*/ 130 w 191"/>
                <a:gd name="T45" fmla="*/ 139 h 193"/>
                <a:gd name="T46" fmla="*/ 143 w 191"/>
                <a:gd name="T47" fmla="*/ 150 h 193"/>
                <a:gd name="T48" fmla="*/ 150 w 191"/>
                <a:gd name="T49" fmla="*/ 145 h 193"/>
                <a:gd name="T50" fmla="*/ 176 w 191"/>
                <a:gd name="T51" fmla="*/ 143 h 193"/>
                <a:gd name="T52" fmla="*/ 179 w 191"/>
                <a:gd name="T53" fmla="*/ 134 h 193"/>
                <a:gd name="T54" fmla="*/ 179 w 191"/>
                <a:gd name="T55" fmla="*/ 123 h 193"/>
                <a:gd name="T56" fmla="*/ 172 w 191"/>
                <a:gd name="T57" fmla="*/ 114 h 193"/>
                <a:gd name="T58" fmla="*/ 173 w 191"/>
                <a:gd name="T59" fmla="*/ 100 h 193"/>
                <a:gd name="T60" fmla="*/ 182 w 191"/>
                <a:gd name="T61" fmla="*/ 92 h 193"/>
                <a:gd name="T62" fmla="*/ 184 w 191"/>
                <a:gd name="T63" fmla="*/ 85 h 193"/>
                <a:gd name="T64" fmla="*/ 190 w 191"/>
                <a:gd name="T65" fmla="*/ 79 h 193"/>
                <a:gd name="T66" fmla="*/ 190 w 191"/>
                <a:gd name="T67" fmla="*/ 64 h 193"/>
                <a:gd name="T68" fmla="*/ 184 w 191"/>
                <a:gd name="T69" fmla="*/ 61 h 193"/>
                <a:gd name="T70" fmla="*/ 179 w 191"/>
                <a:gd name="T71" fmla="*/ 47 h 193"/>
                <a:gd name="T72" fmla="*/ 172 w 191"/>
                <a:gd name="T73" fmla="*/ 39 h 193"/>
                <a:gd name="T74" fmla="*/ 176 w 191"/>
                <a:gd name="T75" fmla="*/ 35 h 193"/>
                <a:gd name="T76" fmla="*/ 176 w 191"/>
                <a:gd name="T77" fmla="*/ 28 h 193"/>
                <a:gd name="T78" fmla="*/ 154 w 191"/>
                <a:gd name="T79" fmla="*/ 27 h 193"/>
                <a:gd name="T80" fmla="*/ 137 w 191"/>
                <a:gd name="T81" fmla="*/ 30 h 193"/>
                <a:gd name="T82" fmla="*/ 128 w 191"/>
                <a:gd name="T83" fmla="*/ 37 h 193"/>
                <a:gd name="T84" fmla="*/ 117 w 191"/>
                <a:gd name="T85" fmla="*/ 35 h 193"/>
                <a:gd name="T86" fmla="*/ 86 w 191"/>
                <a:gd name="T87" fmla="*/ 33 h 193"/>
                <a:gd name="T88" fmla="*/ 83 w 191"/>
                <a:gd name="T89" fmla="*/ 25 h 193"/>
                <a:gd name="T90" fmla="*/ 75 w 191"/>
                <a:gd name="T91" fmla="*/ 22 h 193"/>
                <a:gd name="T92" fmla="*/ 62 w 191"/>
                <a:gd name="T93" fmla="*/ 18 h 193"/>
                <a:gd name="T94" fmla="*/ 59 w 191"/>
                <a:gd name="T95" fmla="*/ 9 h 193"/>
                <a:gd name="T96" fmla="*/ 48 w 191"/>
                <a:gd name="T97" fmla="*/ 6 h 193"/>
                <a:gd name="T98" fmla="*/ 48 w 191"/>
                <a:gd name="T99" fmla="*/ 0 h 193"/>
                <a:gd name="T100" fmla="*/ 43 w 191"/>
                <a:gd name="T101" fmla="*/ 6 h 193"/>
                <a:gd name="T102" fmla="*/ 28 w 191"/>
                <a:gd name="T103" fmla="*/ 6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1" h="193">
                  <a:moveTo>
                    <a:pt x="28" y="6"/>
                  </a:moveTo>
                  <a:lnTo>
                    <a:pt x="16" y="19"/>
                  </a:lnTo>
                  <a:lnTo>
                    <a:pt x="10" y="42"/>
                  </a:lnTo>
                  <a:lnTo>
                    <a:pt x="0" y="49"/>
                  </a:lnTo>
                  <a:lnTo>
                    <a:pt x="13" y="67"/>
                  </a:lnTo>
                  <a:lnTo>
                    <a:pt x="9" y="84"/>
                  </a:lnTo>
                  <a:lnTo>
                    <a:pt x="36" y="85"/>
                  </a:lnTo>
                  <a:lnTo>
                    <a:pt x="36" y="95"/>
                  </a:lnTo>
                  <a:lnTo>
                    <a:pt x="58" y="105"/>
                  </a:lnTo>
                  <a:lnTo>
                    <a:pt x="80" y="112"/>
                  </a:lnTo>
                  <a:lnTo>
                    <a:pt x="80" y="140"/>
                  </a:lnTo>
                  <a:lnTo>
                    <a:pt x="75" y="159"/>
                  </a:lnTo>
                  <a:lnTo>
                    <a:pt x="77" y="173"/>
                  </a:lnTo>
                  <a:lnTo>
                    <a:pt x="87" y="176"/>
                  </a:lnTo>
                  <a:lnTo>
                    <a:pt x="94" y="186"/>
                  </a:lnTo>
                  <a:lnTo>
                    <a:pt x="105" y="192"/>
                  </a:lnTo>
                  <a:lnTo>
                    <a:pt x="120" y="189"/>
                  </a:lnTo>
                  <a:lnTo>
                    <a:pt x="132" y="180"/>
                  </a:lnTo>
                  <a:lnTo>
                    <a:pt x="131" y="169"/>
                  </a:lnTo>
                  <a:lnTo>
                    <a:pt x="122" y="162"/>
                  </a:lnTo>
                  <a:lnTo>
                    <a:pt x="120" y="154"/>
                  </a:lnTo>
                  <a:lnTo>
                    <a:pt x="124" y="140"/>
                  </a:lnTo>
                  <a:lnTo>
                    <a:pt x="130" y="139"/>
                  </a:lnTo>
                  <a:lnTo>
                    <a:pt x="143" y="150"/>
                  </a:lnTo>
                  <a:lnTo>
                    <a:pt x="150" y="145"/>
                  </a:lnTo>
                  <a:lnTo>
                    <a:pt x="176" y="143"/>
                  </a:lnTo>
                  <a:lnTo>
                    <a:pt x="179" y="134"/>
                  </a:lnTo>
                  <a:lnTo>
                    <a:pt x="179" y="123"/>
                  </a:lnTo>
                  <a:lnTo>
                    <a:pt x="172" y="114"/>
                  </a:lnTo>
                  <a:lnTo>
                    <a:pt x="173" y="100"/>
                  </a:lnTo>
                  <a:lnTo>
                    <a:pt x="182" y="92"/>
                  </a:lnTo>
                  <a:lnTo>
                    <a:pt x="184" y="85"/>
                  </a:lnTo>
                  <a:lnTo>
                    <a:pt x="190" y="79"/>
                  </a:lnTo>
                  <a:lnTo>
                    <a:pt x="190" y="64"/>
                  </a:lnTo>
                  <a:lnTo>
                    <a:pt x="184" y="61"/>
                  </a:lnTo>
                  <a:lnTo>
                    <a:pt x="179" y="47"/>
                  </a:lnTo>
                  <a:lnTo>
                    <a:pt x="172" y="39"/>
                  </a:lnTo>
                  <a:lnTo>
                    <a:pt x="176" y="35"/>
                  </a:lnTo>
                  <a:lnTo>
                    <a:pt x="176" y="28"/>
                  </a:lnTo>
                  <a:lnTo>
                    <a:pt x="154" y="27"/>
                  </a:lnTo>
                  <a:lnTo>
                    <a:pt x="137" y="30"/>
                  </a:lnTo>
                  <a:lnTo>
                    <a:pt x="128" y="37"/>
                  </a:lnTo>
                  <a:lnTo>
                    <a:pt x="117" y="35"/>
                  </a:lnTo>
                  <a:lnTo>
                    <a:pt x="86" y="33"/>
                  </a:lnTo>
                  <a:lnTo>
                    <a:pt x="83" y="25"/>
                  </a:lnTo>
                  <a:lnTo>
                    <a:pt x="75" y="22"/>
                  </a:lnTo>
                  <a:lnTo>
                    <a:pt x="62" y="18"/>
                  </a:lnTo>
                  <a:lnTo>
                    <a:pt x="59" y="9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43" y="6"/>
                  </a:lnTo>
                  <a:lnTo>
                    <a:pt x="28" y="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6" name="Freeform 63">
              <a:extLst>
                <a:ext uri="{FF2B5EF4-FFF2-40B4-BE49-F238E27FC236}">
                  <a16:creationId xmlns:a16="http://schemas.microsoft.com/office/drawing/2014/main" xmlns="" id="{B9EB00EF-EB67-4ECF-B800-7B06ACEDA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8759" y="4775099"/>
              <a:ext cx="105806" cy="118918"/>
            </a:xfrm>
            <a:custGeom>
              <a:avLst/>
              <a:gdLst>
                <a:gd name="T0" fmla="*/ 19 w 80"/>
                <a:gd name="T1" fmla="*/ 0 h 88"/>
                <a:gd name="T2" fmla="*/ 25 w 80"/>
                <a:gd name="T3" fmla="*/ 8 h 88"/>
                <a:gd name="T4" fmla="*/ 39 w 80"/>
                <a:gd name="T5" fmla="*/ 13 h 88"/>
                <a:gd name="T6" fmla="*/ 70 w 80"/>
                <a:gd name="T7" fmla="*/ 42 h 88"/>
                <a:gd name="T8" fmla="*/ 76 w 80"/>
                <a:gd name="T9" fmla="*/ 53 h 88"/>
                <a:gd name="T10" fmla="*/ 79 w 80"/>
                <a:gd name="T11" fmla="*/ 65 h 88"/>
                <a:gd name="T12" fmla="*/ 70 w 80"/>
                <a:gd name="T13" fmla="*/ 71 h 88"/>
                <a:gd name="T14" fmla="*/ 66 w 80"/>
                <a:gd name="T15" fmla="*/ 75 h 88"/>
                <a:gd name="T16" fmla="*/ 64 w 80"/>
                <a:gd name="T17" fmla="*/ 81 h 88"/>
                <a:gd name="T18" fmla="*/ 53 w 80"/>
                <a:gd name="T19" fmla="*/ 83 h 88"/>
                <a:gd name="T20" fmla="*/ 50 w 80"/>
                <a:gd name="T21" fmla="*/ 87 h 88"/>
                <a:gd name="T22" fmla="*/ 44 w 80"/>
                <a:gd name="T23" fmla="*/ 84 h 88"/>
                <a:gd name="T24" fmla="*/ 29 w 80"/>
                <a:gd name="T25" fmla="*/ 78 h 88"/>
                <a:gd name="T26" fmla="*/ 18 w 80"/>
                <a:gd name="T27" fmla="*/ 72 h 88"/>
                <a:gd name="T28" fmla="*/ 12 w 80"/>
                <a:gd name="T29" fmla="*/ 78 h 88"/>
                <a:gd name="T30" fmla="*/ 6 w 80"/>
                <a:gd name="T31" fmla="*/ 81 h 88"/>
                <a:gd name="T32" fmla="*/ 2 w 80"/>
                <a:gd name="T33" fmla="*/ 64 h 88"/>
                <a:gd name="T34" fmla="*/ 0 w 80"/>
                <a:gd name="T35" fmla="*/ 40 h 88"/>
                <a:gd name="T36" fmla="*/ 3 w 80"/>
                <a:gd name="T37" fmla="*/ 24 h 88"/>
                <a:gd name="T38" fmla="*/ 11 w 80"/>
                <a:gd name="T39" fmla="*/ 10 h 88"/>
                <a:gd name="T40" fmla="*/ 19 w 80"/>
                <a:gd name="T4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88">
                  <a:moveTo>
                    <a:pt x="19" y="0"/>
                  </a:moveTo>
                  <a:lnTo>
                    <a:pt x="25" y="8"/>
                  </a:lnTo>
                  <a:lnTo>
                    <a:pt x="39" y="13"/>
                  </a:lnTo>
                  <a:lnTo>
                    <a:pt x="70" y="42"/>
                  </a:lnTo>
                  <a:lnTo>
                    <a:pt x="76" y="53"/>
                  </a:lnTo>
                  <a:lnTo>
                    <a:pt x="79" y="65"/>
                  </a:lnTo>
                  <a:lnTo>
                    <a:pt x="70" y="71"/>
                  </a:lnTo>
                  <a:lnTo>
                    <a:pt x="66" y="75"/>
                  </a:lnTo>
                  <a:lnTo>
                    <a:pt x="64" y="81"/>
                  </a:lnTo>
                  <a:lnTo>
                    <a:pt x="53" y="83"/>
                  </a:lnTo>
                  <a:lnTo>
                    <a:pt x="50" y="87"/>
                  </a:lnTo>
                  <a:lnTo>
                    <a:pt x="44" y="84"/>
                  </a:lnTo>
                  <a:lnTo>
                    <a:pt x="29" y="78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6" y="81"/>
                  </a:lnTo>
                  <a:lnTo>
                    <a:pt x="2" y="64"/>
                  </a:lnTo>
                  <a:lnTo>
                    <a:pt x="0" y="40"/>
                  </a:lnTo>
                  <a:lnTo>
                    <a:pt x="3" y="24"/>
                  </a:lnTo>
                  <a:lnTo>
                    <a:pt x="11" y="10"/>
                  </a:lnTo>
                  <a:lnTo>
                    <a:pt x="19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7" name="Freeform 64">
              <a:extLst>
                <a:ext uri="{FF2B5EF4-FFF2-40B4-BE49-F238E27FC236}">
                  <a16:creationId xmlns:a16="http://schemas.microsoft.com/office/drawing/2014/main" xmlns="" id="{452A541A-27F0-47E0-A330-5493BB418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371" y="4322020"/>
              <a:ext cx="236577" cy="296106"/>
            </a:xfrm>
            <a:custGeom>
              <a:avLst/>
              <a:gdLst>
                <a:gd name="T0" fmla="*/ 162 w 177"/>
                <a:gd name="T1" fmla="*/ 170 h 222"/>
                <a:gd name="T2" fmla="*/ 169 w 177"/>
                <a:gd name="T3" fmla="*/ 169 h 222"/>
                <a:gd name="T4" fmla="*/ 174 w 177"/>
                <a:gd name="T5" fmla="*/ 159 h 222"/>
                <a:gd name="T6" fmla="*/ 176 w 177"/>
                <a:gd name="T7" fmla="*/ 141 h 222"/>
                <a:gd name="T8" fmla="*/ 171 w 177"/>
                <a:gd name="T9" fmla="*/ 137 h 222"/>
                <a:gd name="T10" fmla="*/ 169 w 177"/>
                <a:gd name="T11" fmla="*/ 126 h 222"/>
                <a:gd name="T12" fmla="*/ 161 w 177"/>
                <a:gd name="T13" fmla="*/ 124 h 222"/>
                <a:gd name="T14" fmla="*/ 160 w 177"/>
                <a:gd name="T15" fmla="*/ 113 h 222"/>
                <a:gd name="T16" fmla="*/ 141 w 177"/>
                <a:gd name="T17" fmla="*/ 114 h 222"/>
                <a:gd name="T18" fmla="*/ 136 w 177"/>
                <a:gd name="T19" fmla="*/ 108 h 222"/>
                <a:gd name="T20" fmla="*/ 131 w 177"/>
                <a:gd name="T21" fmla="*/ 108 h 222"/>
                <a:gd name="T22" fmla="*/ 131 w 177"/>
                <a:gd name="T23" fmla="*/ 87 h 222"/>
                <a:gd name="T24" fmla="*/ 138 w 177"/>
                <a:gd name="T25" fmla="*/ 81 h 222"/>
                <a:gd name="T26" fmla="*/ 131 w 177"/>
                <a:gd name="T27" fmla="*/ 80 h 222"/>
                <a:gd name="T28" fmla="*/ 129 w 177"/>
                <a:gd name="T29" fmla="*/ 66 h 222"/>
                <a:gd name="T30" fmla="*/ 121 w 177"/>
                <a:gd name="T31" fmla="*/ 64 h 222"/>
                <a:gd name="T32" fmla="*/ 107 w 177"/>
                <a:gd name="T33" fmla="*/ 62 h 222"/>
                <a:gd name="T34" fmla="*/ 104 w 177"/>
                <a:gd name="T35" fmla="*/ 53 h 222"/>
                <a:gd name="T36" fmla="*/ 94 w 177"/>
                <a:gd name="T37" fmla="*/ 51 h 222"/>
                <a:gd name="T38" fmla="*/ 93 w 177"/>
                <a:gd name="T39" fmla="*/ 47 h 222"/>
                <a:gd name="T40" fmla="*/ 70 w 177"/>
                <a:gd name="T41" fmla="*/ 47 h 222"/>
                <a:gd name="T42" fmla="*/ 67 w 177"/>
                <a:gd name="T43" fmla="*/ 42 h 222"/>
                <a:gd name="T44" fmla="*/ 61 w 177"/>
                <a:gd name="T45" fmla="*/ 32 h 222"/>
                <a:gd name="T46" fmla="*/ 60 w 177"/>
                <a:gd name="T47" fmla="*/ 3 h 222"/>
                <a:gd name="T48" fmla="*/ 40 w 177"/>
                <a:gd name="T49" fmla="*/ 0 h 222"/>
                <a:gd name="T50" fmla="*/ 39 w 177"/>
                <a:gd name="T51" fmla="*/ 11 h 222"/>
                <a:gd name="T52" fmla="*/ 31 w 177"/>
                <a:gd name="T53" fmla="*/ 10 h 222"/>
                <a:gd name="T54" fmla="*/ 28 w 177"/>
                <a:gd name="T55" fmla="*/ 17 h 222"/>
                <a:gd name="T56" fmla="*/ 23 w 177"/>
                <a:gd name="T57" fmla="*/ 21 h 222"/>
                <a:gd name="T58" fmla="*/ 13 w 177"/>
                <a:gd name="T59" fmla="*/ 25 h 222"/>
                <a:gd name="T60" fmla="*/ 3 w 177"/>
                <a:gd name="T61" fmla="*/ 24 h 222"/>
                <a:gd name="T62" fmla="*/ 14 w 177"/>
                <a:gd name="T63" fmla="*/ 41 h 222"/>
                <a:gd name="T64" fmla="*/ 13 w 177"/>
                <a:gd name="T65" fmla="*/ 55 h 222"/>
                <a:gd name="T66" fmla="*/ 6 w 177"/>
                <a:gd name="T67" fmla="*/ 61 h 222"/>
                <a:gd name="T68" fmla="*/ 6 w 177"/>
                <a:gd name="T69" fmla="*/ 80 h 222"/>
                <a:gd name="T70" fmla="*/ 4 w 177"/>
                <a:gd name="T71" fmla="*/ 106 h 222"/>
                <a:gd name="T72" fmla="*/ 9 w 177"/>
                <a:gd name="T73" fmla="*/ 114 h 222"/>
                <a:gd name="T74" fmla="*/ 4 w 177"/>
                <a:gd name="T75" fmla="*/ 116 h 222"/>
                <a:gd name="T76" fmla="*/ 0 w 177"/>
                <a:gd name="T77" fmla="*/ 128 h 222"/>
                <a:gd name="T78" fmla="*/ 8 w 177"/>
                <a:gd name="T79" fmla="*/ 135 h 222"/>
                <a:gd name="T80" fmla="*/ 9 w 177"/>
                <a:gd name="T81" fmla="*/ 151 h 222"/>
                <a:gd name="T82" fmla="*/ 23 w 177"/>
                <a:gd name="T83" fmla="*/ 163 h 222"/>
                <a:gd name="T84" fmla="*/ 23 w 177"/>
                <a:gd name="T85" fmla="*/ 195 h 222"/>
                <a:gd name="T86" fmla="*/ 34 w 177"/>
                <a:gd name="T87" fmla="*/ 214 h 222"/>
                <a:gd name="T88" fmla="*/ 44 w 177"/>
                <a:gd name="T89" fmla="*/ 221 h 222"/>
                <a:gd name="T90" fmla="*/ 53 w 177"/>
                <a:gd name="T91" fmla="*/ 202 h 222"/>
                <a:gd name="T92" fmla="*/ 67 w 177"/>
                <a:gd name="T93" fmla="*/ 213 h 222"/>
                <a:gd name="T94" fmla="*/ 83 w 177"/>
                <a:gd name="T95" fmla="*/ 219 h 222"/>
                <a:gd name="T96" fmla="*/ 100 w 177"/>
                <a:gd name="T97" fmla="*/ 206 h 222"/>
                <a:gd name="T98" fmla="*/ 106 w 177"/>
                <a:gd name="T99" fmla="*/ 181 h 222"/>
                <a:gd name="T100" fmla="*/ 111 w 177"/>
                <a:gd name="T101" fmla="*/ 169 h 222"/>
                <a:gd name="T102" fmla="*/ 127 w 177"/>
                <a:gd name="T103" fmla="*/ 162 h 222"/>
                <a:gd name="T104" fmla="*/ 138 w 177"/>
                <a:gd name="T105" fmla="*/ 153 h 222"/>
                <a:gd name="T106" fmla="*/ 155 w 177"/>
                <a:gd name="T107" fmla="*/ 159 h 222"/>
                <a:gd name="T108" fmla="*/ 162 w 177"/>
                <a:gd name="T109" fmla="*/ 17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7" h="222">
                  <a:moveTo>
                    <a:pt x="162" y="170"/>
                  </a:moveTo>
                  <a:lnTo>
                    <a:pt x="169" y="169"/>
                  </a:lnTo>
                  <a:lnTo>
                    <a:pt x="174" y="159"/>
                  </a:lnTo>
                  <a:lnTo>
                    <a:pt x="176" y="141"/>
                  </a:lnTo>
                  <a:lnTo>
                    <a:pt x="171" y="137"/>
                  </a:lnTo>
                  <a:lnTo>
                    <a:pt x="169" y="126"/>
                  </a:lnTo>
                  <a:lnTo>
                    <a:pt x="161" y="124"/>
                  </a:lnTo>
                  <a:lnTo>
                    <a:pt x="160" y="113"/>
                  </a:lnTo>
                  <a:lnTo>
                    <a:pt x="141" y="114"/>
                  </a:lnTo>
                  <a:lnTo>
                    <a:pt x="136" y="108"/>
                  </a:lnTo>
                  <a:lnTo>
                    <a:pt x="131" y="108"/>
                  </a:lnTo>
                  <a:lnTo>
                    <a:pt x="131" y="87"/>
                  </a:lnTo>
                  <a:lnTo>
                    <a:pt x="138" y="81"/>
                  </a:lnTo>
                  <a:lnTo>
                    <a:pt x="131" y="80"/>
                  </a:lnTo>
                  <a:lnTo>
                    <a:pt x="129" y="66"/>
                  </a:lnTo>
                  <a:lnTo>
                    <a:pt x="121" y="64"/>
                  </a:lnTo>
                  <a:lnTo>
                    <a:pt x="107" y="62"/>
                  </a:lnTo>
                  <a:lnTo>
                    <a:pt x="104" y="53"/>
                  </a:lnTo>
                  <a:lnTo>
                    <a:pt x="94" y="51"/>
                  </a:lnTo>
                  <a:lnTo>
                    <a:pt x="93" y="47"/>
                  </a:lnTo>
                  <a:lnTo>
                    <a:pt x="70" y="47"/>
                  </a:lnTo>
                  <a:lnTo>
                    <a:pt x="67" y="42"/>
                  </a:lnTo>
                  <a:lnTo>
                    <a:pt x="61" y="32"/>
                  </a:lnTo>
                  <a:lnTo>
                    <a:pt x="60" y="3"/>
                  </a:lnTo>
                  <a:lnTo>
                    <a:pt x="40" y="0"/>
                  </a:lnTo>
                  <a:lnTo>
                    <a:pt x="39" y="11"/>
                  </a:lnTo>
                  <a:lnTo>
                    <a:pt x="31" y="10"/>
                  </a:lnTo>
                  <a:lnTo>
                    <a:pt x="28" y="17"/>
                  </a:lnTo>
                  <a:lnTo>
                    <a:pt x="23" y="21"/>
                  </a:lnTo>
                  <a:lnTo>
                    <a:pt x="13" y="25"/>
                  </a:lnTo>
                  <a:lnTo>
                    <a:pt x="3" y="24"/>
                  </a:lnTo>
                  <a:lnTo>
                    <a:pt x="14" y="41"/>
                  </a:lnTo>
                  <a:lnTo>
                    <a:pt x="13" y="55"/>
                  </a:lnTo>
                  <a:lnTo>
                    <a:pt x="6" y="61"/>
                  </a:lnTo>
                  <a:lnTo>
                    <a:pt x="6" y="80"/>
                  </a:lnTo>
                  <a:lnTo>
                    <a:pt x="4" y="106"/>
                  </a:lnTo>
                  <a:lnTo>
                    <a:pt x="9" y="114"/>
                  </a:lnTo>
                  <a:lnTo>
                    <a:pt x="4" y="116"/>
                  </a:lnTo>
                  <a:lnTo>
                    <a:pt x="0" y="128"/>
                  </a:lnTo>
                  <a:lnTo>
                    <a:pt x="8" y="135"/>
                  </a:lnTo>
                  <a:lnTo>
                    <a:pt x="9" y="151"/>
                  </a:lnTo>
                  <a:lnTo>
                    <a:pt x="23" y="163"/>
                  </a:lnTo>
                  <a:lnTo>
                    <a:pt x="23" y="195"/>
                  </a:lnTo>
                  <a:lnTo>
                    <a:pt x="34" y="214"/>
                  </a:lnTo>
                  <a:lnTo>
                    <a:pt x="44" y="221"/>
                  </a:lnTo>
                  <a:lnTo>
                    <a:pt x="53" y="202"/>
                  </a:lnTo>
                  <a:lnTo>
                    <a:pt x="67" y="213"/>
                  </a:lnTo>
                  <a:lnTo>
                    <a:pt x="83" y="219"/>
                  </a:lnTo>
                  <a:lnTo>
                    <a:pt x="100" y="206"/>
                  </a:lnTo>
                  <a:lnTo>
                    <a:pt x="106" y="181"/>
                  </a:lnTo>
                  <a:lnTo>
                    <a:pt x="111" y="169"/>
                  </a:lnTo>
                  <a:lnTo>
                    <a:pt x="127" y="162"/>
                  </a:lnTo>
                  <a:lnTo>
                    <a:pt x="138" y="153"/>
                  </a:lnTo>
                  <a:lnTo>
                    <a:pt x="155" y="159"/>
                  </a:lnTo>
                  <a:lnTo>
                    <a:pt x="162" y="17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8" name="Freeform 65">
              <a:extLst>
                <a:ext uri="{FF2B5EF4-FFF2-40B4-BE49-F238E27FC236}">
                  <a16:creationId xmlns:a16="http://schemas.microsoft.com/office/drawing/2014/main" xmlns="" id="{19447CAC-BBE7-4EA6-87A3-F1B5A49EC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312" y="3977157"/>
              <a:ext cx="67763" cy="85621"/>
            </a:xfrm>
            <a:custGeom>
              <a:avLst/>
              <a:gdLst>
                <a:gd name="T0" fmla="*/ 9 w 51"/>
                <a:gd name="T1" fmla="*/ 2 h 64"/>
                <a:gd name="T2" fmla="*/ 4 w 51"/>
                <a:gd name="T3" fmla="*/ 10 h 64"/>
                <a:gd name="T4" fmla="*/ 4 w 51"/>
                <a:gd name="T5" fmla="*/ 51 h 64"/>
                <a:gd name="T6" fmla="*/ 0 w 51"/>
                <a:gd name="T7" fmla="*/ 55 h 64"/>
                <a:gd name="T8" fmla="*/ 6 w 51"/>
                <a:gd name="T9" fmla="*/ 61 h 64"/>
                <a:gd name="T10" fmla="*/ 22 w 51"/>
                <a:gd name="T11" fmla="*/ 63 h 64"/>
                <a:gd name="T12" fmla="*/ 25 w 51"/>
                <a:gd name="T13" fmla="*/ 54 h 64"/>
                <a:gd name="T14" fmla="*/ 30 w 51"/>
                <a:gd name="T15" fmla="*/ 46 h 64"/>
                <a:gd name="T16" fmla="*/ 38 w 51"/>
                <a:gd name="T17" fmla="*/ 38 h 64"/>
                <a:gd name="T18" fmla="*/ 50 w 51"/>
                <a:gd name="T19" fmla="*/ 38 h 64"/>
                <a:gd name="T20" fmla="*/ 47 w 51"/>
                <a:gd name="T21" fmla="*/ 28 h 64"/>
                <a:gd name="T22" fmla="*/ 37 w 51"/>
                <a:gd name="T23" fmla="*/ 22 h 64"/>
                <a:gd name="T24" fmla="*/ 35 w 51"/>
                <a:gd name="T25" fmla="*/ 13 h 64"/>
                <a:gd name="T26" fmla="*/ 28 w 51"/>
                <a:gd name="T27" fmla="*/ 10 h 64"/>
                <a:gd name="T28" fmla="*/ 18 w 51"/>
                <a:gd name="T29" fmla="*/ 8 h 64"/>
                <a:gd name="T30" fmla="*/ 16 w 51"/>
                <a:gd name="T31" fmla="*/ 0 h 64"/>
                <a:gd name="T32" fmla="*/ 9 w 51"/>
                <a:gd name="T33" fmla="*/ 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64">
                  <a:moveTo>
                    <a:pt x="9" y="2"/>
                  </a:moveTo>
                  <a:lnTo>
                    <a:pt x="4" y="10"/>
                  </a:lnTo>
                  <a:lnTo>
                    <a:pt x="4" y="51"/>
                  </a:lnTo>
                  <a:lnTo>
                    <a:pt x="0" y="55"/>
                  </a:lnTo>
                  <a:lnTo>
                    <a:pt x="6" y="61"/>
                  </a:lnTo>
                  <a:lnTo>
                    <a:pt x="22" y="63"/>
                  </a:lnTo>
                  <a:lnTo>
                    <a:pt x="25" y="54"/>
                  </a:lnTo>
                  <a:lnTo>
                    <a:pt x="30" y="46"/>
                  </a:lnTo>
                  <a:lnTo>
                    <a:pt x="38" y="38"/>
                  </a:lnTo>
                  <a:lnTo>
                    <a:pt x="50" y="38"/>
                  </a:lnTo>
                  <a:lnTo>
                    <a:pt x="47" y="28"/>
                  </a:lnTo>
                  <a:lnTo>
                    <a:pt x="37" y="22"/>
                  </a:lnTo>
                  <a:lnTo>
                    <a:pt x="35" y="13"/>
                  </a:lnTo>
                  <a:lnTo>
                    <a:pt x="28" y="10"/>
                  </a:lnTo>
                  <a:lnTo>
                    <a:pt x="18" y="8"/>
                  </a:lnTo>
                  <a:lnTo>
                    <a:pt x="16" y="0"/>
                  </a:lnTo>
                  <a:lnTo>
                    <a:pt x="9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9" name="Freeform 66">
              <a:extLst>
                <a:ext uri="{FF2B5EF4-FFF2-40B4-BE49-F238E27FC236}">
                  <a16:creationId xmlns:a16="http://schemas.microsoft.com/office/drawing/2014/main" xmlns="" id="{A9AD4DFA-FC44-4A64-AEBA-B71AA3163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570" y="5290015"/>
              <a:ext cx="72518" cy="49946"/>
            </a:xfrm>
            <a:custGeom>
              <a:avLst/>
              <a:gdLst>
                <a:gd name="T0" fmla="*/ 17 w 55"/>
                <a:gd name="T1" fmla="*/ 9 h 37"/>
                <a:gd name="T2" fmla="*/ 2 w 55"/>
                <a:gd name="T3" fmla="*/ 12 h 37"/>
                <a:gd name="T4" fmla="*/ 0 w 55"/>
                <a:gd name="T5" fmla="*/ 25 h 37"/>
                <a:gd name="T6" fmla="*/ 3 w 55"/>
                <a:gd name="T7" fmla="*/ 36 h 37"/>
                <a:gd name="T8" fmla="*/ 14 w 55"/>
                <a:gd name="T9" fmla="*/ 25 h 37"/>
                <a:gd name="T10" fmla="*/ 21 w 55"/>
                <a:gd name="T11" fmla="*/ 30 h 37"/>
                <a:gd name="T12" fmla="*/ 42 w 55"/>
                <a:gd name="T13" fmla="*/ 24 h 37"/>
                <a:gd name="T14" fmla="*/ 54 w 55"/>
                <a:gd name="T15" fmla="*/ 18 h 37"/>
                <a:gd name="T16" fmla="*/ 39 w 55"/>
                <a:gd name="T17" fmla="*/ 9 h 37"/>
                <a:gd name="T18" fmla="*/ 31 w 55"/>
                <a:gd name="T19" fmla="*/ 0 h 37"/>
                <a:gd name="T20" fmla="*/ 29 w 55"/>
                <a:gd name="T21" fmla="*/ 11 h 37"/>
                <a:gd name="T22" fmla="*/ 17 w 55"/>
                <a:gd name="T23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37">
                  <a:moveTo>
                    <a:pt x="17" y="9"/>
                  </a:moveTo>
                  <a:lnTo>
                    <a:pt x="2" y="12"/>
                  </a:lnTo>
                  <a:lnTo>
                    <a:pt x="0" y="25"/>
                  </a:lnTo>
                  <a:lnTo>
                    <a:pt x="3" y="36"/>
                  </a:lnTo>
                  <a:lnTo>
                    <a:pt x="14" y="25"/>
                  </a:lnTo>
                  <a:lnTo>
                    <a:pt x="21" y="30"/>
                  </a:lnTo>
                  <a:lnTo>
                    <a:pt x="42" y="24"/>
                  </a:lnTo>
                  <a:lnTo>
                    <a:pt x="54" y="18"/>
                  </a:lnTo>
                  <a:lnTo>
                    <a:pt x="39" y="9"/>
                  </a:lnTo>
                  <a:lnTo>
                    <a:pt x="31" y="0"/>
                  </a:lnTo>
                  <a:lnTo>
                    <a:pt x="29" y="11"/>
                  </a:lnTo>
                  <a:lnTo>
                    <a:pt x="17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0" name="Freeform 67">
              <a:extLst>
                <a:ext uri="{FF2B5EF4-FFF2-40B4-BE49-F238E27FC236}">
                  <a16:creationId xmlns:a16="http://schemas.microsoft.com/office/drawing/2014/main" xmlns="" id="{DD36E372-4B56-4F9E-ABE1-EE2B2014F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1628" y="2342032"/>
              <a:ext cx="48742" cy="23784"/>
            </a:xfrm>
            <a:custGeom>
              <a:avLst/>
              <a:gdLst>
                <a:gd name="T0" fmla="*/ 10 w 36"/>
                <a:gd name="T1" fmla="*/ 0 h 18"/>
                <a:gd name="T2" fmla="*/ 0 w 36"/>
                <a:gd name="T3" fmla="*/ 17 h 18"/>
                <a:gd name="T4" fmla="*/ 17 w 36"/>
                <a:gd name="T5" fmla="*/ 17 h 18"/>
                <a:gd name="T6" fmla="*/ 35 w 36"/>
                <a:gd name="T7" fmla="*/ 10 h 18"/>
                <a:gd name="T8" fmla="*/ 10 w 36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">
                  <a:moveTo>
                    <a:pt x="10" y="0"/>
                  </a:moveTo>
                  <a:lnTo>
                    <a:pt x="0" y="17"/>
                  </a:lnTo>
                  <a:lnTo>
                    <a:pt x="17" y="17"/>
                  </a:lnTo>
                  <a:lnTo>
                    <a:pt x="35" y="10"/>
                  </a:lnTo>
                  <a:lnTo>
                    <a:pt x="1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1" name="Freeform 68">
              <a:extLst>
                <a:ext uri="{FF2B5EF4-FFF2-40B4-BE49-F238E27FC236}">
                  <a16:creationId xmlns:a16="http://schemas.microsoft.com/office/drawing/2014/main" xmlns="" id="{0008B4FD-40B6-41C1-86AF-FF4C72386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889" y="2305167"/>
              <a:ext cx="634833" cy="522051"/>
            </a:xfrm>
            <a:custGeom>
              <a:avLst/>
              <a:gdLst>
                <a:gd name="T0" fmla="*/ 229 w 476"/>
                <a:gd name="T1" fmla="*/ 10 h 391"/>
                <a:gd name="T2" fmla="*/ 191 w 476"/>
                <a:gd name="T3" fmla="*/ 25 h 391"/>
                <a:gd name="T4" fmla="*/ 143 w 476"/>
                <a:gd name="T5" fmla="*/ 55 h 391"/>
                <a:gd name="T6" fmla="*/ 88 w 476"/>
                <a:gd name="T7" fmla="*/ 75 h 391"/>
                <a:gd name="T8" fmla="*/ 158 w 476"/>
                <a:gd name="T9" fmla="*/ 112 h 391"/>
                <a:gd name="T10" fmla="*/ 108 w 476"/>
                <a:gd name="T11" fmla="*/ 122 h 391"/>
                <a:gd name="T12" fmla="*/ 83 w 476"/>
                <a:gd name="T13" fmla="*/ 115 h 391"/>
                <a:gd name="T14" fmla="*/ 58 w 476"/>
                <a:gd name="T15" fmla="*/ 125 h 391"/>
                <a:gd name="T16" fmla="*/ 66 w 476"/>
                <a:gd name="T17" fmla="*/ 143 h 391"/>
                <a:gd name="T18" fmla="*/ 74 w 476"/>
                <a:gd name="T19" fmla="*/ 165 h 391"/>
                <a:gd name="T20" fmla="*/ 123 w 476"/>
                <a:gd name="T21" fmla="*/ 153 h 391"/>
                <a:gd name="T22" fmla="*/ 121 w 476"/>
                <a:gd name="T23" fmla="*/ 167 h 391"/>
                <a:gd name="T24" fmla="*/ 96 w 476"/>
                <a:gd name="T25" fmla="*/ 185 h 391"/>
                <a:gd name="T26" fmla="*/ 79 w 476"/>
                <a:gd name="T27" fmla="*/ 190 h 391"/>
                <a:gd name="T28" fmla="*/ 56 w 476"/>
                <a:gd name="T29" fmla="*/ 215 h 391"/>
                <a:gd name="T30" fmla="*/ 43 w 476"/>
                <a:gd name="T31" fmla="*/ 238 h 391"/>
                <a:gd name="T32" fmla="*/ 38 w 476"/>
                <a:gd name="T33" fmla="*/ 253 h 391"/>
                <a:gd name="T34" fmla="*/ 66 w 476"/>
                <a:gd name="T35" fmla="*/ 265 h 391"/>
                <a:gd name="T36" fmla="*/ 74 w 476"/>
                <a:gd name="T37" fmla="*/ 273 h 391"/>
                <a:gd name="T38" fmla="*/ 68 w 476"/>
                <a:gd name="T39" fmla="*/ 301 h 391"/>
                <a:gd name="T40" fmla="*/ 98 w 476"/>
                <a:gd name="T41" fmla="*/ 299 h 391"/>
                <a:gd name="T42" fmla="*/ 119 w 476"/>
                <a:gd name="T43" fmla="*/ 316 h 391"/>
                <a:gd name="T44" fmla="*/ 20 w 476"/>
                <a:gd name="T45" fmla="*/ 373 h 391"/>
                <a:gd name="T46" fmla="*/ 1 w 476"/>
                <a:gd name="T47" fmla="*/ 390 h 391"/>
                <a:gd name="T48" fmla="*/ 138 w 476"/>
                <a:gd name="T49" fmla="*/ 330 h 391"/>
                <a:gd name="T50" fmla="*/ 157 w 476"/>
                <a:gd name="T51" fmla="*/ 315 h 391"/>
                <a:gd name="T52" fmla="*/ 174 w 476"/>
                <a:gd name="T53" fmla="*/ 289 h 391"/>
                <a:gd name="T54" fmla="*/ 223 w 476"/>
                <a:gd name="T55" fmla="*/ 235 h 391"/>
                <a:gd name="T56" fmla="*/ 209 w 476"/>
                <a:gd name="T57" fmla="*/ 268 h 391"/>
                <a:gd name="T58" fmla="*/ 206 w 476"/>
                <a:gd name="T59" fmla="*/ 285 h 391"/>
                <a:gd name="T60" fmla="*/ 221 w 476"/>
                <a:gd name="T61" fmla="*/ 293 h 391"/>
                <a:gd name="T62" fmla="*/ 229 w 476"/>
                <a:gd name="T63" fmla="*/ 291 h 391"/>
                <a:gd name="T64" fmla="*/ 236 w 476"/>
                <a:gd name="T65" fmla="*/ 285 h 391"/>
                <a:gd name="T66" fmla="*/ 244 w 476"/>
                <a:gd name="T67" fmla="*/ 278 h 391"/>
                <a:gd name="T68" fmla="*/ 249 w 476"/>
                <a:gd name="T69" fmla="*/ 271 h 391"/>
                <a:gd name="T70" fmla="*/ 251 w 476"/>
                <a:gd name="T71" fmla="*/ 268 h 391"/>
                <a:gd name="T72" fmla="*/ 264 w 476"/>
                <a:gd name="T73" fmla="*/ 260 h 391"/>
                <a:gd name="T74" fmla="*/ 285 w 476"/>
                <a:gd name="T75" fmla="*/ 238 h 391"/>
                <a:gd name="T76" fmla="*/ 303 w 476"/>
                <a:gd name="T77" fmla="*/ 249 h 391"/>
                <a:gd name="T78" fmla="*/ 347 w 476"/>
                <a:gd name="T79" fmla="*/ 264 h 391"/>
                <a:gd name="T80" fmla="*/ 353 w 476"/>
                <a:gd name="T81" fmla="*/ 276 h 391"/>
                <a:gd name="T82" fmla="*/ 370 w 476"/>
                <a:gd name="T83" fmla="*/ 291 h 391"/>
                <a:gd name="T84" fmla="*/ 385 w 476"/>
                <a:gd name="T85" fmla="*/ 301 h 391"/>
                <a:gd name="T86" fmla="*/ 403 w 476"/>
                <a:gd name="T87" fmla="*/ 297 h 391"/>
                <a:gd name="T88" fmla="*/ 417 w 476"/>
                <a:gd name="T89" fmla="*/ 312 h 391"/>
                <a:gd name="T90" fmla="*/ 429 w 476"/>
                <a:gd name="T91" fmla="*/ 308 h 391"/>
                <a:gd name="T92" fmla="*/ 428 w 476"/>
                <a:gd name="T93" fmla="*/ 328 h 391"/>
                <a:gd name="T94" fmla="*/ 443 w 476"/>
                <a:gd name="T95" fmla="*/ 336 h 391"/>
                <a:gd name="T96" fmla="*/ 454 w 476"/>
                <a:gd name="T97" fmla="*/ 354 h 391"/>
                <a:gd name="T98" fmla="*/ 475 w 476"/>
                <a:gd name="T99" fmla="*/ 344 h 391"/>
                <a:gd name="T100" fmla="*/ 450 w 476"/>
                <a:gd name="T101" fmla="*/ 315 h 391"/>
                <a:gd name="T102" fmla="*/ 439 w 476"/>
                <a:gd name="T103" fmla="*/ 294 h 391"/>
                <a:gd name="T104" fmla="*/ 409 w 476"/>
                <a:gd name="T105" fmla="*/ 268 h 391"/>
                <a:gd name="T106" fmla="*/ 398 w 476"/>
                <a:gd name="T107" fmla="*/ 279 h 391"/>
                <a:gd name="T108" fmla="*/ 382 w 476"/>
                <a:gd name="T109" fmla="*/ 279 h 391"/>
                <a:gd name="T110" fmla="*/ 372 w 476"/>
                <a:gd name="T111" fmla="*/ 255 h 391"/>
                <a:gd name="T112" fmla="*/ 423 w 476"/>
                <a:gd name="T113" fmla="*/ 40 h 391"/>
                <a:gd name="T114" fmla="*/ 373 w 476"/>
                <a:gd name="T115" fmla="*/ 30 h 391"/>
                <a:gd name="T116" fmla="*/ 348 w 476"/>
                <a:gd name="T117" fmla="*/ 21 h 391"/>
                <a:gd name="T118" fmla="*/ 288 w 476"/>
                <a:gd name="T119" fmla="*/ 4 h 391"/>
                <a:gd name="T120" fmla="*/ 251 w 476"/>
                <a:gd name="T121" fmla="*/ 15 h 391"/>
                <a:gd name="T122" fmla="*/ 240 w 476"/>
                <a:gd name="T123" fmla="*/ 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6" h="391">
                  <a:moveTo>
                    <a:pt x="240" y="0"/>
                  </a:moveTo>
                  <a:lnTo>
                    <a:pt x="229" y="10"/>
                  </a:lnTo>
                  <a:lnTo>
                    <a:pt x="198" y="10"/>
                  </a:lnTo>
                  <a:lnTo>
                    <a:pt x="191" y="25"/>
                  </a:lnTo>
                  <a:lnTo>
                    <a:pt x="156" y="27"/>
                  </a:lnTo>
                  <a:lnTo>
                    <a:pt x="143" y="55"/>
                  </a:lnTo>
                  <a:lnTo>
                    <a:pt x="93" y="63"/>
                  </a:lnTo>
                  <a:lnTo>
                    <a:pt x="88" y="75"/>
                  </a:lnTo>
                  <a:lnTo>
                    <a:pt x="115" y="95"/>
                  </a:lnTo>
                  <a:lnTo>
                    <a:pt x="158" y="112"/>
                  </a:lnTo>
                  <a:lnTo>
                    <a:pt x="128" y="117"/>
                  </a:lnTo>
                  <a:lnTo>
                    <a:pt x="108" y="122"/>
                  </a:lnTo>
                  <a:lnTo>
                    <a:pt x="98" y="110"/>
                  </a:lnTo>
                  <a:lnTo>
                    <a:pt x="83" y="115"/>
                  </a:lnTo>
                  <a:lnTo>
                    <a:pt x="83" y="122"/>
                  </a:lnTo>
                  <a:lnTo>
                    <a:pt x="58" y="125"/>
                  </a:lnTo>
                  <a:lnTo>
                    <a:pt x="51" y="135"/>
                  </a:lnTo>
                  <a:lnTo>
                    <a:pt x="66" y="143"/>
                  </a:lnTo>
                  <a:lnTo>
                    <a:pt x="64" y="158"/>
                  </a:lnTo>
                  <a:lnTo>
                    <a:pt x="74" y="165"/>
                  </a:lnTo>
                  <a:lnTo>
                    <a:pt x="103" y="165"/>
                  </a:lnTo>
                  <a:lnTo>
                    <a:pt x="123" y="153"/>
                  </a:lnTo>
                  <a:lnTo>
                    <a:pt x="130" y="160"/>
                  </a:lnTo>
                  <a:lnTo>
                    <a:pt x="121" y="167"/>
                  </a:lnTo>
                  <a:lnTo>
                    <a:pt x="119" y="185"/>
                  </a:lnTo>
                  <a:lnTo>
                    <a:pt x="96" y="185"/>
                  </a:lnTo>
                  <a:lnTo>
                    <a:pt x="91" y="200"/>
                  </a:lnTo>
                  <a:lnTo>
                    <a:pt x="79" y="190"/>
                  </a:lnTo>
                  <a:lnTo>
                    <a:pt x="58" y="200"/>
                  </a:lnTo>
                  <a:lnTo>
                    <a:pt x="56" y="215"/>
                  </a:lnTo>
                  <a:lnTo>
                    <a:pt x="36" y="225"/>
                  </a:lnTo>
                  <a:lnTo>
                    <a:pt x="43" y="238"/>
                  </a:lnTo>
                  <a:lnTo>
                    <a:pt x="56" y="242"/>
                  </a:lnTo>
                  <a:lnTo>
                    <a:pt x="38" y="253"/>
                  </a:lnTo>
                  <a:lnTo>
                    <a:pt x="51" y="268"/>
                  </a:lnTo>
                  <a:lnTo>
                    <a:pt x="66" y="265"/>
                  </a:lnTo>
                  <a:lnTo>
                    <a:pt x="74" y="253"/>
                  </a:lnTo>
                  <a:lnTo>
                    <a:pt x="74" y="273"/>
                  </a:lnTo>
                  <a:lnTo>
                    <a:pt x="66" y="285"/>
                  </a:lnTo>
                  <a:lnTo>
                    <a:pt x="68" y="301"/>
                  </a:lnTo>
                  <a:lnTo>
                    <a:pt x="91" y="293"/>
                  </a:lnTo>
                  <a:lnTo>
                    <a:pt x="98" y="299"/>
                  </a:lnTo>
                  <a:lnTo>
                    <a:pt x="115" y="293"/>
                  </a:lnTo>
                  <a:lnTo>
                    <a:pt x="119" y="316"/>
                  </a:lnTo>
                  <a:lnTo>
                    <a:pt x="61" y="354"/>
                  </a:lnTo>
                  <a:lnTo>
                    <a:pt x="20" y="373"/>
                  </a:lnTo>
                  <a:lnTo>
                    <a:pt x="0" y="382"/>
                  </a:lnTo>
                  <a:lnTo>
                    <a:pt x="1" y="390"/>
                  </a:lnTo>
                  <a:lnTo>
                    <a:pt x="68" y="377"/>
                  </a:lnTo>
                  <a:lnTo>
                    <a:pt x="138" y="330"/>
                  </a:lnTo>
                  <a:lnTo>
                    <a:pt x="146" y="323"/>
                  </a:lnTo>
                  <a:lnTo>
                    <a:pt x="157" y="315"/>
                  </a:lnTo>
                  <a:lnTo>
                    <a:pt x="177" y="302"/>
                  </a:lnTo>
                  <a:lnTo>
                    <a:pt x="174" y="289"/>
                  </a:lnTo>
                  <a:lnTo>
                    <a:pt x="196" y="268"/>
                  </a:lnTo>
                  <a:lnTo>
                    <a:pt x="223" y="235"/>
                  </a:lnTo>
                  <a:lnTo>
                    <a:pt x="247" y="241"/>
                  </a:lnTo>
                  <a:lnTo>
                    <a:pt x="209" y="268"/>
                  </a:lnTo>
                  <a:lnTo>
                    <a:pt x="216" y="278"/>
                  </a:lnTo>
                  <a:lnTo>
                    <a:pt x="206" y="285"/>
                  </a:lnTo>
                  <a:lnTo>
                    <a:pt x="217" y="293"/>
                  </a:lnTo>
                  <a:lnTo>
                    <a:pt x="221" y="293"/>
                  </a:lnTo>
                  <a:lnTo>
                    <a:pt x="225" y="292"/>
                  </a:lnTo>
                  <a:lnTo>
                    <a:pt x="229" y="291"/>
                  </a:lnTo>
                  <a:lnTo>
                    <a:pt x="233" y="288"/>
                  </a:lnTo>
                  <a:lnTo>
                    <a:pt x="236" y="285"/>
                  </a:lnTo>
                  <a:lnTo>
                    <a:pt x="240" y="281"/>
                  </a:lnTo>
                  <a:lnTo>
                    <a:pt x="244" y="278"/>
                  </a:lnTo>
                  <a:lnTo>
                    <a:pt x="246" y="274"/>
                  </a:lnTo>
                  <a:lnTo>
                    <a:pt x="249" y="271"/>
                  </a:lnTo>
                  <a:lnTo>
                    <a:pt x="251" y="269"/>
                  </a:lnTo>
                  <a:lnTo>
                    <a:pt x="251" y="268"/>
                  </a:lnTo>
                  <a:lnTo>
                    <a:pt x="251" y="267"/>
                  </a:lnTo>
                  <a:lnTo>
                    <a:pt x="264" y="260"/>
                  </a:lnTo>
                  <a:lnTo>
                    <a:pt x="267" y="244"/>
                  </a:lnTo>
                  <a:lnTo>
                    <a:pt x="285" y="238"/>
                  </a:lnTo>
                  <a:lnTo>
                    <a:pt x="290" y="247"/>
                  </a:lnTo>
                  <a:lnTo>
                    <a:pt x="303" y="249"/>
                  </a:lnTo>
                  <a:lnTo>
                    <a:pt x="303" y="261"/>
                  </a:lnTo>
                  <a:lnTo>
                    <a:pt x="347" y="264"/>
                  </a:lnTo>
                  <a:lnTo>
                    <a:pt x="351" y="268"/>
                  </a:lnTo>
                  <a:lnTo>
                    <a:pt x="353" y="276"/>
                  </a:lnTo>
                  <a:lnTo>
                    <a:pt x="368" y="280"/>
                  </a:lnTo>
                  <a:lnTo>
                    <a:pt x="370" y="291"/>
                  </a:lnTo>
                  <a:lnTo>
                    <a:pt x="382" y="290"/>
                  </a:lnTo>
                  <a:lnTo>
                    <a:pt x="385" y="301"/>
                  </a:lnTo>
                  <a:lnTo>
                    <a:pt x="397" y="307"/>
                  </a:lnTo>
                  <a:lnTo>
                    <a:pt x="403" y="297"/>
                  </a:lnTo>
                  <a:lnTo>
                    <a:pt x="409" y="307"/>
                  </a:lnTo>
                  <a:lnTo>
                    <a:pt x="417" y="312"/>
                  </a:lnTo>
                  <a:lnTo>
                    <a:pt x="423" y="307"/>
                  </a:lnTo>
                  <a:lnTo>
                    <a:pt x="429" y="308"/>
                  </a:lnTo>
                  <a:lnTo>
                    <a:pt x="428" y="315"/>
                  </a:lnTo>
                  <a:lnTo>
                    <a:pt x="428" y="328"/>
                  </a:lnTo>
                  <a:lnTo>
                    <a:pt x="434" y="335"/>
                  </a:lnTo>
                  <a:lnTo>
                    <a:pt x="443" y="336"/>
                  </a:lnTo>
                  <a:lnTo>
                    <a:pt x="443" y="348"/>
                  </a:lnTo>
                  <a:lnTo>
                    <a:pt x="454" y="354"/>
                  </a:lnTo>
                  <a:lnTo>
                    <a:pt x="465" y="354"/>
                  </a:lnTo>
                  <a:lnTo>
                    <a:pt x="475" y="344"/>
                  </a:lnTo>
                  <a:lnTo>
                    <a:pt x="456" y="339"/>
                  </a:lnTo>
                  <a:lnTo>
                    <a:pt x="450" y="315"/>
                  </a:lnTo>
                  <a:lnTo>
                    <a:pt x="443" y="312"/>
                  </a:lnTo>
                  <a:lnTo>
                    <a:pt x="439" y="294"/>
                  </a:lnTo>
                  <a:lnTo>
                    <a:pt x="417" y="270"/>
                  </a:lnTo>
                  <a:lnTo>
                    <a:pt x="409" y="268"/>
                  </a:lnTo>
                  <a:lnTo>
                    <a:pt x="406" y="279"/>
                  </a:lnTo>
                  <a:lnTo>
                    <a:pt x="398" y="279"/>
                  </a:lnTo>
                  <a:lnTo>
                    <a:pt x="395" y="287"/>
                  </a:lnTo>
                  <a:lnTo>
                    <a:pt x="382" y="279"/>
                  </a:lnTo>
                  <a:lnTo>
                    <a:pt x="378" y="260"/>
                  </a:lnTo>
                  <a:lnTo>
                    <a:pt x="372" y="255"/>
                  </a:lnTo>
                  <a:lnTo>
                    <a:pt x="359" y="260"/>
                  </a:lnTo>
                  <a:lnTo>
                    <a:pt x="423" y="40"/>
                  </a:lnTo>
                  <a:lnTo>
                    <a:pt x="408" y="26"/>
                  </a:lnTo>
                  <a:lnTo>
                    <a:pt x="373" y="30"/>
                  </a:lnTo>
                  <a:lnTo>
                    <a:pt x="358" y="31"/>
                  </a:lnTo>
                  <a:lnTo>
                    <a:pt x="348" y="21"/>
                  </a:lnTo>
                  <a:lnTo>
                    <a:pt x="303" y="25"/>
                  </a:lnTo>
                  <a:lnTo>
                    <a:pt x="288" y="4"/>
                  </a:lnTo>
                  <a:lnTo>
                    <a:pt x="273" y="18"/>
                  </a:lnTo>
                  <a:lnTo>
                    <a:pt x="251" y="15"/>
                  </a:lnTo>
                  <a:lnTo>
                    <a:pt x="251" y="1"/>
                  </a:lnTo>
                  <a:lnTo>
                    <a:pt x="24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2" name="Freeform 69">
              <a:extLst>
                <a:ext uri="{FF2B5EF4-FFF2-40B4-BE49-F238E27FC236}">
                  <a16:creationId xmlns:a16="http://schemas.microsoft.com/office/drawing/2014/main" xmlns="" id="{F873B27F-5BD4-4D3F-AEDB-B55D8AC64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4478" y="2965163"/>
              <a:ext cx="1075888" cy="600537"/>
            </a:xfrm>
            <a:custGeom>
              <a:avLst/>
              <a:gdLst>
                <a:gd name="T0" fmla="*/ 488 w 905"/>
                <a:gd name="T1" fmla="*/ 10 h 505"/>
                <a:gd name="T2" fmla="*/ 531 w 905"/>
                <a:gd name="T3" fmla="*/ 37 h 505"/>
                <a:gd name="T4" fmla="*/ 583 w 905"/>
                <a:gd name="T5" fmla="*/ 26 h 505"/>
                <a:gd name="T6" fmla="*/ 622 w 905"/>
                <a:gd name="T7" fmla="*/ 53 h 505"/>
                <a:gd name="T8" fmla="*/ 576 w 905"/>
                <a:gd name="T9" fmla="*/ 89 h 505"/>
                <a:gd name="T10" fmla="*/ 579 w 905"/>
                <a:gd name="T11" fmla="*/ 143 h 505"/>
                <a:gd name="T12" fmla="*/ 603 w 905"/>
                <a:gd name="T13" fmla="*/ 106 h 505"/>
                <a:gd name="T14" fmla="*/ 622 w 905"/>
                <a:gd name="T15" fmla="*/ 56 h 505"/>
                <a:gd name="T16" fmla="*/ 657 w 905"/>
                <a:gd name="T17" fmla="*/ 107 h 505"/>
                <a:gd name="T18" fmla="*/ 643 w 905"/>
                <a:gd name="T19" fmla="*/ 150 h 505"/>
                <a:gd name="T20" fmla="*/ 716 w 905"/>
                <a:gd name="T21" fmla="*/ 117 h 505"/>
                <a:gd name="T22" fmla="*/ 772 w 905"/>
                <a:gd name="T23" fmla="*/ 83 h 505"/>
                <a:gd name="T24" fmla="*/ 858 w 905"/>
                <a:gd name="T25" fmla="*/ 55 h 505"/>
                <a:gd name="T26" fmla="*/ 894 w 905"/>
                <a:gd name="T27" fmla="*/ 77 h 505"/>
                <a:gd name="T28" fmla="*/ 881 w 905"/>
                <a:gd name="T29" fmla="*/ 95 h 505"/>
                <a:gd name="T30" fmla="*/ 860 w 905"/>
                <a:gd name="T31" fmla="*/ 113 h 505"/>
                <a:gd name="T32" fmla="*/ 839 w 905"/>
                <a:gd name="T33" fmla="*/ 139 h 505"/>
                <a:gd name="T34" fmla="*/ 807 w 905"/>
                <a:gd name="T35" fmla="*/ 162 h 505"/>
                <a:gd name="T36" fmla="*/ 778 w 905"/>
                <a:gd name="T37" fmla="*/ 185 h 505"/>
                <a:gd name="T38" fmla="*/ 754 w 905"/>
                <a:gd name="T39" fmla="*/ 229 h 505"/>
                <a:gd name="T40" fmla="*/ 749 w 905"/>
                <a:gd name="T41" fmla="*/ 252 h 505"/>
                <a:gd name="T42" fmla="*/ 733 w 905"/>
                <a:gd name="T43" fmla="*/ 304 h 505"/>
                <a:gd name="T44" fmla="*/ 689 w 905"/>
                <a:gd name="T45" fmla="*/ 320 h 505"/>
                <a:gd name="T46" fmla="*/ 658 w 905"/>
                <a:gd name="T47" fmla="*/ 350 h 505"/>
                <a:gd name="T48" fmla="*/ 652 w 905"/>
                <a:gd name="T49" fmla="*/ 412 h 505"/>
                <a:gd name="T50" fmla="*/ 665 w 905"/>
                <a:gd name="T51" fmla="*/ 450 h 505"/>
                <a:gd name="T52" fmla="*/ 656 w 905"/>
                <a:gd name="T53" fmla="*/ 495 h 505"/>
                <a:gd name="T54" fmla="*/ 624 w 905"/>
                <a:gd name="T55" fmla="*/ 439 h 505"/>
                <a:gd name="T56" fmla="*/ 598 w 905"/>
                <a:gd name="T57" fmla="*/ 388 h 505"/>
                <a:gd name="T58" fmla="*/ 528 w 905"/>
                <a:gd name="T59" fmla="*/ 386 h 505"/>
                <a:gd name="T60" fmla="*/ 506 w 905"/>
                <a:gd name="T61" fmla="*/ 414 h 505"/>
                <a:gd name="T62" fmla="*/ 473 w 905"/>
                <a:gd name="T63" fmla="*/ 390 h 505"/>
                <a:gd name="T64" fmla="*/ 449 w 905"/>
                <a:gd name="T65" fmla="*/ 390 h 505"/>
                <a:gd name="T66" fmla="*/ 418 w 905"/>
                <a:gd name="T67" fmla="*/ 423 h 505"/>
                <a:gd name="T68" fmla="*/ 384 w 905"/>
                <a:gd name="T69" fmla="*/ 469 h 505"/>
                <a:gd name="T70" fmla="*/ 342 w 905"/>
                <a:gd name="T71" fmla="*/ 440 h 505"/>
                <a:gd name="T72" fmla="*/ 311 w 905"/>
                <a:gd name="T73" fmla="*/ 390 h 505"/>
                <a:gd name="T74" fmla="*/ 281 w 905"/>
                <a:gd name="T75" fmla="*/ 386 h 505"/>
                <a:gd name="T76" fmla="*/ 256 w 905"/>
                <a:gd name="T77" fmla="*/ 366 h 505"/>
                <a:gd name="T78" fmla="*/ 226 w 905"/>
                <a:gd name="T79" fmla="*/ 359 h 505"/>
                <a:gd name="T80" fmla="*/ 181 w 905"/>
                <a:gd name="T81" fmla="*/ 376 h 505"/>
                <a:gd name="T82" fmla="*/ 125 w 905"/>
                <a:gd name="T83" fmla="*/ 348 h 505"/>
                <a:gd name="T84" fmla="*/ 86 w 905"/>
                <a:gd name="T85" fmla="*/ 323 h 505"/>
                <a:gd name="T86" fmla="*/ 37 w 905"/>
                <a:gd name="T87" fmla="*/ 297 h 505"/>
                <a:gd name="T88" fmla="*/ 21 w 905"/>
                <a:gd name="T89" fmla="*/ 258 h 505"/>
                <a:gd name="T90" fmla="*/ 3 w 905"/>
                <a:gd name="T91" fmla="*/ 217 h 505"/>
                <a:gd name="T92" fmla="*/ 3 w 905"/>
                <a:gd name="T93" fmla="*/ 153 h 505"/>
                <a:gd name="T94" fmla="*/ 8 w 905"/>
                <a:gd name="T95" fmla="*/ 119 h 505"/>
                <a:gd name="T96" fmla="*/ 25 w 905"/>
                <a:gd name="T97" fmla="*/ 77 h 505"/>
                <a:gd name="T98" fmla="*/ 28 w 905"/>
                <a:gd name="T99" fmla="*/ 28 h 505"/>
                <a:gd name="T100" fmla="*/ 53 w 905"/>
                <a:gd name="T101" fmla="*/ 2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05" h="505">
                  <a:moveTo>
                    <a:pt x="63" y="1"/>
                  </a:moveTo>
                  <a:lnTo>
                    <a:pt x="489" y="0"/>
                  </a:lnTo>
                  <a:lnTo>
                    <a:pt x="488" y="10"/>
                  </a:lnTo>
                  <a:lnTo>
                    <a:pt x="518" y="10"/>
                  </a:lnTo>
                  <a:lnTo>
                    <a:pt x="562" y="16"/>
                  </a:lnTo>
                  <a:lnTo>
                    <a:pt x="531" y="37"/>
                  </a:lnTo>
                  <a:lnTo>
                    <a:pt x="531" y="50"/>
                  </a:lnTo>
                  <a:lnTo>
                    <a:pt x="558" y="58"/>
                  </a:lnTo>
                  <a:lnTo>
                    <a:pt x="583" y="26"/>
                  </a:lnTo>
                  <a:lnTo>
                    <a:pt x="585" y="32"/>
                  </a:lnTo>
                  <a:lnTo>
                    <a:pt x="616" y="37"/>
                  </a:lnTo>
                  <a:lnTo>
                    <a:pt x="622" y="53"/>
                  </a:lnTo>
                  <a:lnTo>
                    <a:pt x="596" y="53"/>
                  </a:lnTo>
                  <a:lnTo>
                    <a:pt x="577" y="71"/>
                  </a:lnTo>
                  <a:lnTo>
                    <a:pt x="576" y="89"/>
                  </a:lnTo>
                  <a:lnTo>
                    <a:pt x="589" y="77"/>
                  </a:lnTo>
                  <a:lnTo>
                    <a:pt x="580" y="110"/>
                  </a:lnTo>
                  <a:lnTo>
                    <a:pt x="579" y="143"/>
                  </a:lnTo>
                  <a:lnTo>
                    <a:pt x="594" y="163"/>
                  </a:lnTo>
                  <a:lnTo>
                    <a:pt x="613" y="145"/>
                  </a:lnTo>
                  <a:lnTo>
                    <a:pt x="603" y="106"/>
                  </a:lnTo>
                  <a:lnTo>
                    <a:pt x="604" y="85"/>
                  </a:lnTo>
                  <a:lnTo>
                    <a:pt x="622" y="76"/>
                  </a:lnTo>
                  <a:lnTo>
                    <a:pt x="622" y="56"/>
                  </a:lnTo>
                  <a:lnTo>
                    <a:pt x="649" y="86"/>
                  </a:lnTo>
                  <a:lnTo>
                    <a:pt x="643" y="115"/>
                  </a:lnTo>
                  <a:lnTo>
                    <a:pt x="657" y="107"/>
                  </a:lnTo>
                  <a:lnTo>
                    <a:pt x="664" y="118"/>
                  </a:lnTo>
                  <a:lnTo>
                    <a:pt x="652" y="138"/>
                  </a:lnTo>
                  <a:lnTo>
                    <a:pt x="643" y="150"/>
                  </a:lnTo>
                  <a:lnTo>
                    <a:pt x="668" y="160"/>
                  </a:lnTo>
                  <a:lnTo>
                    <a:pt x="702" y="130"/>
                  </a:lnTo>
                  <a:lnTo>
                    <a:pt x="716" y="117"/>
                  </a:lnTo>
                  <a:lnTo>
                    <a:pt x="753" y="119"/>
                  </a:lnTo>
                  <a:lnTo>
                    <a:pt x="760" y="94"/>
                  </a:lnTo>
                  <a:lnTo>
                    <a:pt x="772" y="83"/>
                  </a:lnTo>
                  <a:lnTo>
                    <a:pt x="839" y="86"/>
                  </a:lnTo>
                  <a:lnTo>
                    <a:pt x="850" y="71"/>
                  </a:lnTo>
                  <a:lnTo>
                    <a:pt x="858" y="55"/>
                  </a:lnTo>
                  <a:lnTo>
                    <a:pt x="868" y="28"/>
                  </a:lnTo>
                  <a:lnTo>
                    <a:pt x="890" y="34"/>
                  </a:lnTo>
                  <a:lnTo>
                    <a:pt x="894" y="77"/>
                  </a:lnTo>
                  <a:lnTo>
                    <a:pt x="905" y="83"/>
                  </a:lnTo>
                  <a:lnTo>
                    <a:pt x="896" y="94"/>
                  </a:lnTo>
                  <a:lnTo>
                    <a:pt x="881" y="95"/>
                  </a:lnTo>
                  <a:lnTo>
                    <a:pt x="875" y="107"/>
                  </a:lnTo>
                  <a:lnTo>
                    <a:pt x="862" y="104"/>
                  </a:lnTo>
                  <a:lnTo>
                    <a:pt x="860" y="113"/>
                  </a:lnTo>
                  <a:lnTo>
                    <a:pt x="846" y="113"/>
                  </a:lnTo>
                  <a:lnTo>
                    <a:pt x="841" y="127"/>
                  </a:lnTo>
                  <a:lnTo>
                    <a:pt x="839" y="139"/>
                  </a:lnTo>
                  <a:lnTo>
                    <a:pt x="850" y="150"/>
                  </a:lnTo>
                  <a:lnTo>
                    <a:pt x="836" y="159"/>
                  </a:lnTo>
                  <a:lnTo>
                    <a:pt x="807" y="162"/>
                  </a:lnTo>
                  <a:lnTo>
                    <a:pt x="800" y="175"/>
                  </a:lnTo>
                  <a:lnTo>
                    <a:pt x="796" y="183"/>
                  </a:lnTo>
                  <a:lnTo>
                    <a:pt x="778" y="185"/>
                  </a:lnTo>
                  <a:lnTo>
                    <a:pt x="770" y="196"/>
                  </a:lnTo>
                  <a:lnTo>
                    <a:pt x="766" y="224"/>
                  </a:lnTo>
                  <a:lnTo>
                    <a:pt x="754" y="229"/>
                  </a:lnTo>
                  <a:lnTo>
                    <a:pt x="747" y="237"/>
                  </a:lnTo>
                  <a:lnTo>
                    <a:pt x="740" y="247"/>
                  </a:lnTo>
                  <a:lnTo>
                    <a:pt x="749" y="252"/>
                  </a:lnTo>
                  <a:lnTo>
                    <a:pt x="747" y="286"/>
                  </a:lnTo>
                  <a:lnTo>
                    <a:pt x="736" y="292"/>
                  </a:lnTo>
                  <a:lnTo>
                    <a:pt x="733" y="304"/>
                  </a:lnTo>
                  <a:lnTo>
                    <a:pt x="715" y="303"/>
                  </a:lnTo>
                  <a:lnTo>
                    <a:pt x="707" y="314"/>
                  </a:lnTo>
                  <a:lnTo>
                    <a:pt x="689" y="320"/>
                  </a:lnTo>
                  <a:lnTo>
                    <a:pt x="685" y="335"/>
                  </a:lnTo>
                  <a:lnTo>
                    <a:pt x="671" y="338"/>
                  </a:lnTo>
                  <a:lnTo>
                    <a:pt x="658" y="350"/>
                  </a:lnTo>
                  <a:lnTo>
                    <a:pt x="653" y="366"/>
                  </a:lnTo>
                  <a:lnTo>
                    <a:pt x="653" y="390"/>
                  </a:lnTo>
                  <a:lnTo>
                    <a:pt x="652" y="412"/>
                  </a:lnTo>
                  <a:lnTo>
                    <a:pt x="659" y="415"/>
                  </a:lnTo>
                  <a:lnTo>
                    <a:pt x="660" y="442"/>
                  </a:lnTo>
                  <a:lnTo>
                    <a:pt x="665" y="450"/>
                  </a:lnTo>
                  <a:lnTo>
                    <a:pt x="671" y="489"/>
                  </a:lnTo>
                  <a:lnTo>
                    <a:pt x="665" y="505"/>
                  </a:lnTo>
                  <a:lnTo>
                    <a:pt x="656" y="495"/>
                  </a:lnTo>
                  <a:lnTo>
                    <a:pt x="640" y="484"/>
                  </a:lnTo>
                  <a:lnTo>
                    <a:pt x="631" y="462"/>
                  </a:lnTo>
                  <a:lnTo>
                    <a:pt x="624" y="439"/>
                  </a:lnTo>
                  <a:lnTo>
                    <a:pt x="628" y="414"/>
                  </a:lnTo>
                  <a:lnTo>
                    <a:pt x="615" y="402"/>
                  </a:lnTo>
                  <a:lnTo>
                    <a:pt x="598" y="388"/>
                  </a:lnTo>
                  <a:lnTo>
                    <a:pt x="579" y="393"/>
                  </a:lnTo>
                  <a:lnTo>
                    <a:pt x="565" y="385"/>
                  </a:lnTo>
                  <a:lnTo>
                    <a:pt x="528" y="386"/>
                  </a:lnTo>
                  <a:lnTo>
                    <a:pt x="515" y="395"/>
                  </a:lnTo>
                  <a:lnTo>
                    <a:pt x="523" y="412"/>
                  </a:lnTo>
                  <a:lnTo>
                    <a:pt x="506" y="414"/>
                  </a:lnTo>
                  <a:lnTo>
                    <a:pt x="488" y="410"/>
                  </a:lnTo>
                  <a:lnTo>
                    <a:pt x="485" y="386"/>
                  </a:lnTo>
                  <a:lnTo>
                    <a:pt x="473" y="390"/>
                  </a:lnTo>
                  <a:lnTo>
                    <a:pt x="468" y="408"/>
                  </a:lnTo>
                  <a:lnTo>
                    <a:pt x="459" y="405"/>
                  </a:lnTo>
                  <a:lnTo>
                    <a:pt x="449" y="390"/>
                  </a:lnTo>
                  <a:lnTo>
                    <a:pt x="437" y="397"/>
                  </a:lnTo>
                  <a:lnTo>
                    <a:pt x="428" y="408"/>
                  </a:lnTo>
                  <a:lnTo>
                    <a:pt x="418" y="423"/>
                  </a:lnTo>
                  <a:lnTo>
                    <a:pt x="409" y="434"/>
                  </a:lnTo>
                  <a:lnTo>
                    <a:pt x="390" y="442"/>
                  </a:lnTo>
                  <a:lnTo>
                    <a:pt x="384" y="469"/>
                  </a:lnTo>
                  <a:lnTo>
                    <a:pt x="360" y="469"/>
                  </a:lnTo>
                  <a:lnTo>
                    <a:pt x="356" y="447"/>
                  </a:lnTo>
                  <a:lnTo>
                    <a:pt x="342" y="440"/>
                  </a:lnTo>
                  <a:lnTo>
                    <a:pt x="338" y="416"/>
                  </a:lnTo>
                  <a:lnTo>
                    <a:pt x="328" y="403"/>
                  </a:lnTo>
                  <a:lnTo>
                    <a:pt x="311" y="390"/>
                  </a:lnTo>
                  <a:lnTo>
                    <a:pt x="305" y="414"/>
                  </a:lnTo>
                  <a:lnTo>
                    <a:pt x="289" y="414"/>
                  </a:lnTo>
                  <a:lnTo>
                    <a:pt x="281" y="386"/>
                  </a:lnTo>
                  <a:lnTo>
                    <a:pt x="272" y="385"/>
                  </a:lnTo>
                  <a:lnTo>
                    <a:pt x="269" y="368"/>
                  </a:lnTo>
                  <a:lnTo>
                    <a:pt x="256" y="366"/>
                  </a:lnTo>
                  <a:lnTo>
                    <a:pt x="251" y="348"/>
                  </a:lnTo>
                  <a:lnTo>
                    <a:pt x="240" y="357"/>
                  </a:lnTo>
                  <a:lnTo>
                    <a:pt x="226" y="359"/>
                  </a:lnTo>
                  <a:lnTo>
                    <a:pt x="222" y="368"/>
                  </a:lnTo>
                  <a:lnTo>
                    <a:pt x="199" y="368"/>
                  </a:lnTo>
                  <a:lnTo>
                    <a:pt x="181" y="376"/>
                  </a:lnTo>
                  <a:lnTo>
                    <a:pt x="156" y="370"/>
                  </a:lnTo>
                  <a:lnTo>
                    <a:pt x="139" y="353"/>
                  </a:lnTo>
                  <a:lnTo>
                    <a:pt x="125" y="348"/>
                  </a:lnTo>
                  <a:lnTo>
                    <a:pt x="120" y="338"/>
                  </a:lnTo>
                  <a:lnTo>
                    <a:pt x="85" y="335"/>
                  </a:lnTo>
                  <a:lnTo>
                    <a:pt x="86" y="323"/>
                  </a:lnTo>
                  <a:lnTo>
                    <a:pt x="65" y="315"/>
                  </a:lnTo>
                  <a:lnTo>
                    <a:pt x="52" y="304"/>
                  </a:lnTo>
                  <a:lnTo>
                    <a:pt x="37" y="297"/>
                  </a:lnTo>
                  <a:lnTo>
                    <a:pt x="39" y="274"/>
                  </a:lnTo>
                  <a:lnTo>
                    <a:pt x="20" y="270"/>
                  </a:lnTo>
                  <a:lnTo>
                    <a:pt x="21" y="258"/>
                  </a:lnTo>
                  <a:lnTo>
                    <a:pt x="27" y="243"/>
                  </a:lnTo>
                  <a:lnTo>
                    <a:pt x="16" y="230"/>
                  </a:lnTo>
                  <a:lnTo>
                    <a:pt x="3" y="217"/>
                  </a:lnTo>
                  <a:lnTo>
                    <a:pt x="0" y="168"/>
                  </a:lnTo>
                  <a:lnTo>
                    <a:pt x="9" y="160"/>
                  </a:lnTo>
                  <a:lnTo>
                    <a:pt x="3" y="153"/>
                  </a:lnTo>
                  <a:lnTo>
                    <a:pt x="1" y="145"/>
                  </a:lnTo>
                  <a:lnTo>
                    <a:pt x="6" y="137"/>
                  </a:lnTo>
                  <a:lnTo>
                    <a:pt x="8" y="119"/>
                  </a:lnTo>
                  <a:lnTo>
                    <a:pt x="16" y="113"/>
                  </a:lnTo>
                  <a:lnTo>
                    <a:pt x="16" y="85"/>
                  </a:lnTo>
                  <a:lnTo>
                    <a:pt x="25" y="77"/>
                  </a:lnTo>
                  <a:lnTo>
                    <a:pt x="33" y="46"/>
                  </a:lnTo>
                  <a:lnTo>
                    <a:pt x="40" y="43"/>
                  </a:lnTo>
                  <a:lnTo>
                    <a:pt x="28" y="28"/>
                  </a:lnTo>
                  <a:lnTo>
                    <a:pt x="28" y="16"/>
                  </a:lnTo>
                  <a:lnTo>
                    <a:pt x="44" y="12"/>
                  </a:lnTo>
                  <a:lnTo>
                    <a:pt x="53" y="24"/>
                  </a:lnTo>
                  <a:lnTo>
                    <a:pt x="60" y="34"/>
                  </a:lnTo>
                  <a:lnTo>
                    <a:pt x="63" y="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3" name="Freeform 70">
              <a:extLst>
                <a:ext uri="{FF2B5EF4-FFF2-40B4-BE49-F238E27FC236}">
                  <a16:creationId xmlns:a16="http://schemas.microsoft.com/office/drawing/2014/main" xmlns="" id="{89332B12-DF4A-4979-BF4D-D061FF34B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175" y="2292086"/>
              <a:ext cx="1457501" cy="863346"/>
            </a:xfrm>
            <a:custGeom>
              <a:avLst/>
              <a:gdLst>
                <a:gd name="T0" fmla="*/ 1145 w 1226"/>
                <a:gd name="T1" fmla="*/ 335 h 726"/>
                <a:gd name="T2" fmla="*/ 1148 w 1226"/>
                <a:gd name="T3" fmla="*/ 380 h 726"/>
                <a:gd name="T4" fmla="*/ 1188 w 1226"/>
                <a:gd name="T5" fmla="*/ 418 h 726"/>
                <a:gd name="T6" fmla="*/ 1186 w 1226"/>
                <a:gd name="T7" fmla="*/ 453 h 726"/>
                <a:gd name="T8" fmla="*/ 1207 w 1226"/>
                <a:gd name="T9" fmla="*/ 450 h 726"/>
                <a:gd name="T10" fmla="*/ 1226 w 1226"/>
                <a:gd name="T11" fmla="*/ 496 h 726"/>
                <a:gd name="T12" fmla="*/ 1166 w 1226"/>
                <a:gd name="T13" fmla="*/ 528 h 726"/>
                <a:gd name="T14" fmla="*/ 1054 w 1226"/>
                <a:gd name="T15" fmla="*/ 543 h 726"/>
                <a:gd name="T16" fmla="*/ 1067 w 1226"/>
                <a:gd name="T17" fmla="*/ 553 h 726"/>
                <a:gd name="T18" fmla="*/ 1137 w 1226"/>
                <a:gd name="T19" fmla="*/ 627 h 726"/>
                <a:gd name="T20" fmla="*/ 1097 w 1226"/>
                <a:gd name="T21" fmla="*/ 620 h 726"/>
                <a:gd name="T22" fmla="*/ 1028 w 1226"/>
                <a:gd name="T23" fmla="*/ 643 h 726"/>
                <a:gd name="T24" fmla="*/ 985 w 1226"/>
                <a:gd name="T25" fmla="*/ 636 h 726"/>
                <a:gd name="T26" fmla="*/ 888 w 1226"/>
                <a:gd name="T27" fmla="*/ 684 h 726"/>
                <a:gd name="T28" fmla="*/ 778 w 1226"/>
                <a:gd name="T29" fmla="*/ 717 h 726"/>
                <a:gd name="T30" fmla="*/ 815 w 1226"/>
                <a:gd name="T31" fmla="*/ 654 h 726"/>
                <a:gd name="T32" fmla="*/ 752 w 1226"/>
                <a:gd name="T33" fmla="*/ 564 h 726"/>
                <a:gd name="T34" fmla="*/ 622 w 1226"/>
                <a:gd name="T35" fmla="*/ 576 h 726"/>
                <a:gd name="T36" fmla="*/ 156 w 1226"/>
                <a:gd name="T37" fmla="*/ 525 h 726"/>
                <a:gd name="T38" fmla="*/ 121 w 1226"/>
                <a:gd name="T39" fmla="*/ 463 h 726"/>
                <a:gd name="T40" fmla="*/ 119 w 1226"/>
                <a:gd name="T41" fmla="*/ 408 h 726"/>
                <a:gd name="T42" fmla="*/ 94 w 1226"/>
                <a:gd name="T43" fmla="*/ 361 h 726"/>
                <a:gd name="T44" fmla="*/ 53 w 1226"/>
                <a:gd name="T45" fmla="*/ 324 h 726"/>
                <a:gd name="T46" fmla="*/ 21 w 1226"/>
                <a:gd name="T47" fmla="*/ 303 h 726"/>
                <a:gd name="T48" fmla="*/ 118 w 1226"/>
                <a:gd name="T49" fmla="*/ 65 h 726"/>
                <a:gd name="T50" fmla="*/ 194 w 1226"/>
                <a:gd name="T51" fmla="*/ 58 h 726"/>
                <a:gd name="T52" fmla="*/ 247 w 1226"/>
                <a:gd name="T53" fmla="*/ 57 h 726"/>
                <a:gd name="T54" fmla="*/ 287 w 1226"/>
                <a:gd name="T55" fmla="*/ 53 h 726"/>
                <a:gd name="T56" fmla="*/ 340 w 1226"/>
                <a:gd name="T57" fmla="*/ 52 h 726"/>
                <a:gd name="T58" fmla="*/ 460 w 1226"/>
                <a:gd name="T59" fmla="*/ 107 h 726"/>
                <a:gd name="T60" fmla="*/ 542 w 1226"/>
                <a:gd name="T61" fmla="*/ 107 h 726"/>
                <a:gd name="T62" fmla="*/ 672 w 1226"/>
                <a:gd name="T63" fmla="*/ 90 h 726"/>
                <a:gd name="T64" fmla="*/ 737 w 1226"/>
                <a:gd name="T65" fmla="*/ 84 h 726"/>
                <a:gd name="T66" fmla="*/ 732 w 1226"/>
                <a:gd name="T67" fmla="*/ 13 h 726"/>
                <a:gd name="T68" fmla="*/ 773 w 1226"/>
                <a:gd name="T69" fmla="*/ 53 h 726"/>
                <a:gd name="T70" fmla="*/ 822 w 1226"/>
                <a:gd name="T71" fmla="*/ 85 h 726"/>
                <a:gd name="T72" fmla="*/ 860 w 1226"/>
                <a:gd name="T73" fmla="*/ 79 h 726"/>
                <a:gd name="T74" fmla="*/ 898 w 1226"/>
                <a:gd name="T75" fmla="*/ 90 h 726"/>
                <a:gd name="T76" fmla="*/ 830 w 1226"/>
                <a:gd name="T77" fmla="*/ 137 h 726"/>
                <a:gd name="T78" fmla="*/ 778 w 1226"/>
                <a:gd name="T79" fmla="*/ 149 h 726"/>
                <a:gd name="T80" fmla="*/ 785 w 1226"/>
                <a:gd name="T81" fmla="*/ 205 h 726"/>
                <a:gd name="T82" fmla="*/ 694 w 1226"/>
                <a:gd name="T83" fmla="*/ 274 h 726"/>
                <a:gd name="T84" fmla="*/ 701 w 1226"/>
                <a:gd name="T85" fmla="*/ 374 h 726"/>
                <a:gd name="T86" fmla="*/ 806 w 1226"/>
                <a:gd name="T87" fmla="*/ 426 h 726"/>
                <a:gd name="T88" fmla="*/ 841 w 1226"/>
                <a:gd name="T89" fmla="*/ 512 h 726"/>
                <a:gd name="T90" fmla="*/ 882 w 1226"/>
                <a:gd name="T91" fmla="*/ 499 h 726"/>
                <a:gd name="T92" fmla="*/ 914 w 1226"/>
                <a:gd name="T93" fmla="*/ 414 h 726"/>
                <a:gd name="T94" fmla="*/ 917 w 1226"/>
                <a:gd name="T95" fmla="*/ 395 h 726"/>
                <a:gd name="T96" fmla="*/ 917 w 1226"/>
                <a:gd name="T97" fmla="*/ 358 h 726"/>
                <a:gd name="T98" fmla="*/ 906 w 1226"/>
                <a:gd name="T99" fmla="*/ 332 h 726"/>
                <a:gd name="T100" fmla="*/ 926 w 1226"/>
                <a:gd name="T101" fmla="*/ 257 h 726"/>
                <a:gd name="T102" fmla="*/ 1017 w 1226"/>
                <a:gd name="T103" fmla="*/ 259 h 726"/>
                <a:gd name="T104" fmla="*/ 1046 w 1226"/>
                <a:gd name="T105" fmla="*/ 340 h 726"/>
                <a:gd name="T106" fmla="*/ 1119 w 1226"/>
                <a:gd name="T107" fmla="*/ 301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26" h="726">
                  <a:moveTo>
                    <a:pt x="1119" y="301"/>
                  </a:moveTo>
                  <a:lnTo>
                    <a:pt x="1127" y="313"/>
                  </a:lnTo>
                  <a:lnTo>
                    <a:pt x="1132" y="335"/>
                  </a:lnTo>
                  <a:lnTo>
                    <a:pt x="1145" y="335"/>
                  </a:lnTo>
                  <a:lnTo>
                    <a:pt x="1148" y="364"/>
                  </a:lnTo>
                  <a:lnTo>
                    <a:pt x="1157" y="362"/>
                  </a:lnTo>
                  <a:lnTo>
                    <a:pt x="1157" y="375"/>
                  </a:lnTo>
                  <a:lnTo>
                    <a:pt x="1148" y="380"/>
                  </a:lnTo>
                  <a:lnTo>
                    <a:pt x="1150" y="392"/>
                  </a:lnTo>
                  <a:lnTo>
                    <a:pt x="1161" y="394"/>
                  </a:lnTo>
                  <a:lnTo>
                    <a:pt x="1166" y="421"/>
                  </a:lnTo>
                  <a:lnTo>
                    <a:pt x="1188" y="418"/>
                  </a:lnTo>
                  <a:lnTo>
                    <a:pt x="1186" y="430"/>
                  </a:lnTo>
                  <a:lnTo>
                    <a:pt x="1202" y="426"/>
                  </a:lnTo>
                  <a:lnTo>
                    <a:pt x="1191" y="442"/>
                  </a:lnTo>
                  <a:lnTo>
                    <a:pt x="1186" y="453"/>
                  </a:lnTo>
                  <a:lnTo>
                    <a:pt x="1164" y="459"/>
                  </a:lnTo>
                  <a:lnTo>
                    <a:pt x="1173" y="463"/>
                  </a:lnTo>
                  <a:lnTo>
                    <a:pt x="1191" y="459"/>
                  </a:lnTo>
                  <a:lnTo>
                    <a:pt x="1207" y="450"/>
                  </a:lnTo>
                  <a:lnTo>
                    <a:pt x="1221" y="451"/>
                  </a:lnTo>
                  <a:lnTo>
                    <a:pt x="1224" y="466"/>
                  </a:lnTo>
                  <a:lnTo>
                    <a:pt x="1224" y="485"/>
                  </a:lnTo>
                  <a:lnTo>
                    <a:pt x="1226" y="496"/>
                  </a:lnTo>
                  <a:lnTo>
                    <a:pt x="1224" y="505"/>
                  </a:lnTo>
                  <a:lnTo>
                    <a:pt x="1205" y="510"/>
                  </a:lnTo>
                  <a:lnTo>
                    <a:pt x="1188" y="508"/>
                  </a:lnTo>
                  <a:lnTo>
                    <a:pt x="1166" y="528"/>
                  </a:lnTo>
                  <a:lnTo>
                    <a:pt x="1128" y="533"/>
                  </a:lnTo>
                  <a:lnTo>
                    <a:pt x="1088" y="533"/>
                  </a:lnTo>
                  <a:lnTo>
                    <a:pt x="1069" y="530"/>
                  </a:lnTo>
                  <a:lnTo>
                    <a:pt x="1054" y="543"/>
                  </a:lnTo>
                  <a:lnTo>
                    <a:pt x="1034" y="553"/>
                  </a:lnTo>
                  <a:lnTo>
                    <a:pt x="1014" y="578"/>
                  </a:lnTo>
                  <a:lnTo>
                    <a:pt x="1048" y="563"/>
                  </a:lnTo>
                  <a:lnTo>
                    <a:pt x="1067" y="553"/>
                  </a:lnTo>
                  <a:lnTo>
                    <a:pt x="1087" y="565"/>
                  </a:lnTo>
                  <a:lnTo>
                    <a:pt x="1074" y="585"/>
                  </a:lnTo>
                  <a:lnTo>
                    <a:pt x="1092" y="605"/>
                  </a:lnTo>
                  <a:lnTo>
                    <a:pt x="1137" y="627"/>
                  </a:lnTo>
                  <a:lnTo>
                    <a:pt x="1097" y="648"/>
                  </a:lnTo>
                  <a:lnTo>
                    <a:pt x="1058" y="675"/>
                  </a:lnTo>
                  <a:lnTo>
                    <a:pt x="1049" y="665"/>
                  </a:lnTo>
                  <a:lnTo>
                    <a:pt x="1097" y="620"/>
                  </a:lnTo>
                  <a:lnTo>
                    <a:pt x="1094" y="614"/>
                  </a:lnTo>
                  <a:lnTo>
                    <a:pt x="1079" y="614"/>
                  </a:lnTo>
                  <a:lnTo>
                    <a:pt x="1040" y="648"/>
                  </a:lnTo>
                  <a:lnTo>
                    <a:pt x="1028" y="643"/>
                  </a:lnTo>
                  <a:lnTo>
                    <a:pt x="1025" y="599"/>
                  </a:lnTo>
                  <a:lnTo>
                    <a:pt x="1003" y="593"/>
                  </a:lnTo>
                  <a:lnTo>
                    <a:pt x="993" y="620"/>
                  </a:lnTo>
                  <a:lnTo>
                    <a:pt x="985" y="636"/>
                  </a:lnTo>
                  <a:lnTo>
                    <a:pt x="972" y="652"/>
                  </a:lnTo>
                  <a:lnTo>
                    <a:pt x="907" y="648"/>
                  </a:lnTo>
                  <a:lnTo>
                    <a:pt x="895" y="660"/>
                  </a:lnTo>
                  <a:lnTo>
                    <a:pt x="888" y="684"/>
                  </a:lnTo>
                  <a:lnTo>
                    <a:pt x="851" y="682"/>
                  </a:lnTo>
                  <a:lnTo>
                    <a:pt x="837" y="696"/>
                  </a:lnTo>
                  <a:lnTo>
                    <a:pt x="803" y="726"/>
                  </a:lnTo>
                  <a:lnTo>
                    <a:pt x="778" y="717"/>
                  </a:lnTo>
                  <a:lnTo>
                    <a:pt x="786" y="703"/>
                  </a:lnTo>
                  <a:lnTo>
                    <a:pt x="801" y="682"/>
                  </a:lnTo>
                  <a:lnTo>
                    <a:pt x="812" y="691"/>
                  </a:lnTo>
                  <a:lnTo>
                    <a:pt x="815" y="654"/>
                  </a:lnTo>
                  <a:lnTo>
                    <a:pt x="834" y="657"/>
                  </a:lnTo>
                  <a:lnTo>
                    <a:pt x="818" y="628"/>
                  </a:lnTo>
                  <a:lnTo>
                    <a:pt x="767" y="619"/>
                  </a:lnTo>
                  <a:lnTo>
                    <a:pt x="752" y="564"/>
                  </a:lnTo>
                  <a:lnTo>
                    <a:pt x="696" y="571"/>
                  </a:lnTo>
                  <a:lnTo>
                    <a:pt x="698" y="580"/>
                  </a:lnTo>
                  <a:lnTo>
                    <a:pt x="653" y="576"/>
                  </a:lnTo>
                  <a:lnTo>
                    <a:pt x="622" y="576"/>
                  </a:lnTo>
                  <a:lnTo>
                    <a:pt x="625" y="565"/>
                  </a:lnTo>
                  <a:lnTo>
                    <a:pt x="197" y="567"/>
                  </a:lnTo>
                  <a:lnTo>
                    <a:pt x="177" y="540"/>
                  </a:lnTo>
                  <a:lnTo>
                    <a:pt x="156" y="525"/>
                  </a:lnTo>
                  <a:lnTo>
                    <a:pt x="139" y="506"/>
                  </a:lnTo>
                  <a:lnTo>
                    <a:pt x="138" y="482"/>
                  </a:lnTo>
                  <a:lnTo>
                    <a:pt x="136" y="462"/>
                  </a:lnTo>
                  <a:lnTo>
                    <a:pt x="121" y="463"/>
                  </a:lnTo>
                  <a:lnTo>
                    <a:pt x="119" y="449"/>
                  </a:lnTo>
                  <a:lnTo>
                    <a:pt x="110" y="444"/>
                  </a:lnTo>
                  <a:lnTo>
                    <a:pt x="112" y="421"/>
                  </a:lnTo>
                  <a:lnTo>
                    <a:pt x="119" y="408"/>
                  </a:lnTo>
                  <a:lnTo>
                    <a:pt x="130" y="397"/>
                  </a:lnTo>
                  <a:lnTo>
                    <a:pt x="109" y="392"/>
                  </a:lnTo>
                  <a:lnTo>
                    <a:pt x="103" y="365"/>
                  </a:lnTo>
                  <a:lnTo>
                    <a:pt x="94" y="361"/>
                  </a:lnTo>
                  <a:lnTo>
                    <a:pt x="90" y="341"/>
                  </a:lnTo>
                  <a:lnTo>
                    <a:pt x="66" y="314"/>
                  </a:lnTo>
                  <a:lnTo>
                    <a:pt x="56" y="313"/>
                  </a:lnTo>
                  <a:lnTo>
                    <a:pt x="53" y="324"/>
                  </a:lnTo>
                  <a:lnTo>
                    <a:pt x="44" y="324"/>
                  </a:lnTo>
                  <a:lnTo>
                    <a:pt x="40" y="333"/>
                  </a:lnTo>
                  <a:lnTo>
                    <a:pt x="26" y="324"/>
                  </a:lnTo>
                  <a:lnTo>
                    <a:pt x="21" y="303"/>
                  </a:lnTo>
                  <a:lnTo>
                    <a:pt x="15" y="297"/>
                  </a:lnTo>
                  <a:lnTo>
                    <a:pt x="0" y="303"/>
                  </a:lnTo>
                  <a:lnTo>
                    <a:pt x="72" y="57"/>
                  </a:lnTo>
                  <a:lnTo>
                    <a:pt x="118" y="65"/>
                  </a:lnTo>
                  <a:lnTo>
                    <a:pt x="159" y="85"/>
                  </a:lnTo>
                  <a:lnTo>
                    <a:pt x="177" y="86"/>
                  </a:lnTo>
                  <a:lnTo>
                    <a:pt x="178" y="71"/>
                  </a:lnTo>
                  <a:lnTo>
                    <a:pt x="194" y="58"/>
                  </a:lnTo>
                  <a:lnTo>
                    <a:pt x="233" y="34"/>
                  </a:lnTo>
                  <a:lnTo>
                    <a:pt x="245" y="40"/>
                  </a:lnTo>
                  <a:lnTo>
                    <a:pt x="216" y="58"/>
                  </a:lnTo>
                  <a:lnTo>
                    <a:pt x="247" y="57"/>
                  </a:lnTo>
                  <a:lnTo>
                    <a:pt x="257" y="46"/>
                  </a:lnTo>
                  <a:lnTo>
                    <a:pt x="264" y="34"/>
                  </a:lnTo>
                  <a:lnTo>
                    <a:pt x="274" y="29"/>
                  </a:lnTo>
                  <a:lnTo>
                    <a:pt x="287" y="53"/>
                  </a:lnTo>
                  <a:lnTo>
                    <a:pt x="306" y="55"/>
                  </a:lnTo>
                  <a:lnTo>
                    <a:pt x="315" y="46"/>
                  </a:lnTo>
                  <a:lnTo>
                    <a:pt x="325" y="62"/>
                  </a:lnTo>
                  <a:lnTo>
                    <a:pt x="340" y="52"/>
                  </a:lnTo>
                  <a:lnTo>
                    <a:pt x="399" y="71"/>
                  </a:lnTo>
                  <a:lnTo>
                    <a:pt x="437" y="72"/>
                  </a:lnTo>
                  <a:lnTo>
                    <a:pt x="465" y="86"/>
                  </a:lnTo>
                  <a:lnTo>
                    <a:pt x="460" y="107"/>
                  </a:lnTo>
                  <a:lnTo>
                    <a:pt x="497" y="95"/>
                  </a:lnTo>
                  <a:lnTo>
                    <a:pt x="525" y="121"/>
                  </a:lnTo>
                  <a:lnTo>
                    <a:pt x="544" y="120"/>
                  </a:lnTo>
                  <a:lnTo>
                    <a:pt x="542" y="107"/>
                  </a:lnTo>
                  <a:lnTo>
                    <a:pt x="564" y="84"/>
                  </a:lnTo>
                  <a:lnTo>
                    <a:pt x="588" y="102"/>
                  </a:lnTo>
                  <a:lnTo>
                    <a:pt x="659" y="107"/>
                  </a:lnTo>
                  <a:lnTo>
                    <a:pt x="672" y="90"/>
                  </a:lnTo>
                  <a:lnTo>
                    <a:pt x="692" y="88"/>
                  </a:lnTo>
                  <a:lnTo>
                    <a:pt x="703" y="104"/>
                  </a:lnTo>
                  <a:lnTo>
                    <a:pt x="721" y="95"/>
                  </a:lnTo>
                  <a:lnTo>
                    <a:pt x="737" y="84"/>
                  </a:lnTo>
                  <a:lnTo>
                    <a:pt x="729" y="52"/>
                  </a:lnTo>
                  <a:lnTo>
                    <a:pt x="708" y="37"/>
                  </a:lnTo>
                  <a:lnTo>
                    <a:pt x="723" y="28"/>
                  </a:lnTo>
                  <a:lnTo>
                    <a:pt x="732" y="13"/>
                  </a:lnTo>
                  <a:lnTo>
                    <a:pt x="754" y="0"/>
                  </a:lnTo>
                  <a:lnTo>
                    <a:pt x="776" y="19"/>
                  </a:lnTo>
                  <a:lnTo>
                    <a:pt x="769" y="37"/>
                  </a:lnTo>
                  <a:lnTo>
                    <a:pt x="773" y="53"/>
                  </a:lnTo>
                  <a:lnTo>
                    <a:pt x="786" y="65"/>
                  </a:lnTo>
                  <a:lnTo>
                    <a:pt x="794" y="88"/>
                  </a:lnTo>
                  <a:lnTo>
                    <a:pt x="812" y="65"/>
                  </a:lnTo>
                  <a:lnTo>
                    <a:pt x="822" y="85"/>
                  </a:lnTo>
                  <a:lnTo>
                    <a:pt x="821" y="117"/>
                  </a:lnTo>
                  <a:lnTo>
                    <a:pt x="834" y="117"/>
                  </a:lnTo>
                  <a:lnTo>
                    <a:pt x="840" y="99"/>
                  </a:lnTo>
                  <a:lnTo>
                    <a:pt x="860" y="79"/>
                  </a:lnTo>
                  <a:lnTo>
                    <a:pt x="868" y="53"/>
                  </a:lnTo>
                  <a:lnTo>
                    <a:pt x="904" y="57"/>
                  </a:lnTo>
                  <a:lnTo>
                    <a:pt x="913" y="83"/>
                  </a:lnTo>
                  <a:lnTo>
                    <a:pt x="898" y="90"/>
                  </a:lnTo>
                  <a:lnTo>
                    <a:pt x="906" y="123"/>
                  </a:lnTo>
                  <a:lnTo>
                    <a:pt x="860" y="146"/>
                  </a:lnTo>
                  <a:lnTo>
                    <a:pt x="854" y="136"/>
                  </a:lnTo>
                  <a:lnTo>
                    <a:pt x="830" y="137"/>
                  </a:lnTo>
                  <a:lnTo>
                    <a:pt x="827" y="156"/>
                  </a:lnTo>
                  <a:lnTo>
                    <a:pt x="799" y="156"/>
                  </a:lnTo>
                  <a:lnTo>
                    <a:pt x="791" y="148"/>
                  </a:lnTo>
                  <a:lnTo>
                    <a:pt x="778" y="149"/>
                  </a:lnTo>
                  <a:lnTo>
                    <a:pt x="779" y="160"/>
                  </a:lnTo>
                  <a:lnTo>
                    <a:pt x="806" y="171"/>
                  </a:lnTo>
                  <a:lnTo>
                    <a:pt x="799" y="195"/>
                  </a:lnTo>
                  <a:lnTo>
                    <a:pt x="785" y="205"/>
                  </a:lnTo>
                  <a:lnTo>
                    <a:pt x="763" y="208"/>
                  </a:lnTo>
                  <a:lnTo>
                    <a:pt x="750" y="228"/>
                  </a:lnTo>
                  <a:lnTo>
                    <a:pt x="720" y="251"/>
                  </a:lnTo>
                  <a:lnTo>
                    <a:pt x="694" y="274"/>
                  </a:lnTo>
                  <a:lnTo>
                    <a:pt x="673" y="306"/>
                  </a:lnTo>
                  <a:lnTo>
                    <a:pt x="672" y="330"/>
                  </a:lnTo>
                  <a:lnTo>
                    <a:pt x="691" y="333"/>
                  </a:lnTo>
                  <a:lnTo>
                    <a:pt x="701" y="374"/>
                  </a:lnTo>
                  <a:lnTo>
                    <a:pt x="745" y="379"/>
                  </a:lnTo>
                  <a:lnTo>
                    <a:pt x="773" y="406"/>
                  </a:lnTo>
                  <a:lnTo>
                    <a:pt x="791" y="408"/>
                  </a:lnTo>
                  <a:lnTo>
                    <a:pt x="806" y="426"/>
                  </a:lnTo>
                  <a:lnTo>
                    <a:pt x="836" y="424"/>
                  </a:lnTo>
                  <a:lnTo>
                    <a:pt x="833" y="459"/>
                  </a:lnTo>
                  <a:lnTo>
                    <a:pt x="830" y="489"/>
                  </a:lnTo>
                  <a:lnTo>
                    <a:pt x="841" y="512"/>
                  </a:lnTo>
                  <a:lnTo>
                    <a:pt x="854" y="513"/>
                  </a:lnTo>
                  <a:lnTo>
                    <a:pt x="865" y="501"/>
                  </a:lnTo>
                  <a:lnTo>
                    <a:pt x="877" y="512"/>
                  </a:lnTo>
                  <a:lnTo>
                    <a:pt x="882" y="499"/>
                  </a:lnTo>
                  <a:lnTo>
                    <a:pt x="889" y="463"/>
                  </a:lnTo>
                  <a:lnTo>
                    <a:pt x="888" y="450"/>
                  </a:lnTo>
                  <a:lnTo>
                    <a:pt x="891" y="426"/>
                  </a:lnTo>
                  <a:lnTo>
                    <a:pt x="914" y="414"/>
                  </a:lnTo>
                  <a:lnTo>
                    <a:pt x="915" y="413"/>
                  </a:lnTo>
                  <a:lnTo>
                    <a:pt x="916" y="409"/>
                  </a:lnTo>
                  <a:lnTo>
                    <a:pt x="916" y="403"/>
                  </a:lnTo>
                  <a:lnTo>
                    <a:pt x="917" y="395"/>
                  </a:lnTo>
                  <a:lnTo>
                    <a:pt x="919" y="387"/>
                  </a:lnTo>
                  <a:lnTo>
                    <a:pt x="919" y="377"/>
                  </a:lnTo>
                  <a:lnTo>
                    <a:pt x="919" y="368"/>
                  </a:lnTo>
                  <a:lnTo>
                    <a:pt x="917" y="358"/>
                  </a:lnTo>
                  <a:lnTo>
                    <a:pt x="916" y="350"/>
                  </a:lnTo>
                  <a:lnTo>
                    <a:pt x="914" y="342"/>
                  </a:lnTo>
                  <a:lnTo>
                    <a:pt x="910" y="337"/>
                  </a:lnTo>
                  <a:lnTo>
                    <a:pt x="906" y="332"/>
                  </a:lnTo>
                  <a:lnTo>
                    <a:pt x="922" y="325"/>
                  </a:lnTo>
                  <a:lnTo>
                    <a:pt x="926" y="294"/>
                  </a:lnTo>
                  <a:lnTo>
                    <a:pt x="923" y="283"/>
                  </a:lnTo>
                  <a:lnTo>
                    <a:pt x="926" y="257"/>
                  </a:lnTo>
                  <a:lnTo>
                    <a:pt x="943" y="232"/>
                  </a:lnTo>
                  <a:lnTo>
                    <a:pt x="969" y="246"/>
                  </a:lnTo>
                  <a:lnTo>
                    <a:pt x="1004" y="246"/>
                  </a:lnTo>
                  <a:lnTo>
                    <a:pt x="1017" y="259"/>
                  </a:lnTo>
                  <a:lnTo>
                    <a:pt x="1033" y="275"/>
                  </a:lnTo>
                  <a:lnTo>
                    <a:pt x="1054" y="283"/>
                  </a:lnTo>
                  <a:lnTo>
                    <a:pt x="1045" y="295"/>
                  </a:lnTo>
                  <a:lnTo>
                    <a:pt x="1046" y="340"/>
                  </a:lnTo>
                  <a:lnTo>
                    <a:pt x="1071" y="347"/>
                  </a:lnTo>
                  <a:lnTo>
                    <a:pt x="1096" y="338"/>
                  </a:lnTo>
                  <a:lnTo>
                    <a:pt x="1105" y="324"/>
                  </a:lnTo>
                  <a:lnTo>
                    <a:pt x="1119" y="30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4" name="Freeform 71">
              <a:extLst>
                <a:ext uri="{FF2B5EF4-FFF2-40B4-BE49-F238E27FC236}">
                  <a16:creationId xmlns:a16="http://schemas.microsoft.com/office/drawing/2014/main" xmlns="" id="{CE634DCD-D1C0-4BCE-9731-062E464AE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6592" y="2910461"/>
              <a:ext cx="108183" cy="112972"/>
            </a:xfrm>
            <a:custGeom>
              <a:avLst/>
              <a:gdLst>
                <a:gd name="T0" fmla="*/ 44 w 81"/>
                <a:gd name="T1" fmla="*/ 0 h 84"/>
                <a:gd name="T2" fmla="*/ 34 w 81"/>
                <a:gd name="T3" fmla="*/ 3 h 84"/>
                <a:gd name="T4" fmla="*/ 27 w 81"/>
                <a:gd name="T5" fmla="*/ 13 h 84"/>
                <a:gd name="T6" fmla="*/ 19 w 81"/>
                <a:gd name="T7" fmla="*/ 24 h 84"/>
                <a:gd name="T8" fmla="*/ 6 w 81"/>
                <a:gd name="T9" fmla="*/ 30 h 84"/>
                <a:gd name="T10" fmla="*/ 0 w 81"/>
                <a:gd name="T11" fmla="*/ 44 h 84"/>
                <a:gd name="T12" fmla="*/ 0 w 81"/>
                <a:gd name="T13" fmla="*/ 64 h 84"/>
                <a:gd name="T14" fmla="*/ 16 w 81"/>
                <a:gd name="T15" fmla="*/ 66 h 84"/>
                <a:gd name="T16" fmla="*/ 31 w 81"/>
                <a:gd name="T17" fmla="*/ 60 h 84"/>
                <a:gd name="T18" fmla="*/ 42 w 81"/>
                <a:gd name="T19" fmla="*/ 60 h 84"/>
                <a:gd name="T20" fmla="*/ 44 w 81"/>
                <a:gd name="T21" fmla="*/ 79 h 84"/>
                <a:gd name="T22" fmla="*/ 54 w 81"/>
                <a:gd name="T23" fmla="*/ 83 h 84"/>
                <a:gd name="T24" fmla="*/ 54 w 81"/>
                <a:gd name="T25" fmla="*/ 70 h 84"/>
                <a:gd name="T26" fmla="*/ 63 w 81"/>
                <a:gd name="T27" fmla="*/ 71 h 84"/>
                <a:gd name="T28" fmla="*/ 66 w 81"/>
                <a:gd name="T29" fmla="*/ 83 h 84"/>
                <a:gd name="T30" fmla="*/ 74 w 81"/>
                <a:gd name="T31" fmla="*/ 65 h 84"/>
                <a:gd name="T32" fmla="*/ 80 w 81"/>
                <a:gd name="T33" fmla="*/ 50 h 84"/>
                <a:gd name="T34" fmla="*/ 77 w 81"/>
                <a:gd name="T35" fmla="*/ 30 h 84"/>
                <a:gd name="T36" fmla="*/ 66 w 81"/>
                <a:gd name="T37" fmla="*/ 26 h 84"/>
                <a:gd name="T38" fmla="*/ 54 w 81"/>
                <a:gd name="T39" fmla="*/ 26 h 84"/>
                <a:gd name="T40" fmla="*/ 49 w 81"/>
                <a:gd name="T41" fmla="*/ 13 h 84"/>
                <a:gd name="T42" fmla="*/ 50 w 81"/>
                <a:gd name="T43" fmla="*/ 5 h 84"/>
                <a:gd name="T44" fmla="*/ 40 w 81"/>
                <a:gd name="T4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1" h="84">
                  <a:moveTo>
                    <a:pt x="44" y="0"/>
                  </a:moveTo>
                  <a:lnTo>
                    <a:pt x="34" y="3"/>
                  </a:lnTo>
                  <a:lnTo>
                    <a:pt x="27" y="13"/>
                  </a:lnTo>
                  <a:lnTo>
                    <a:pt x="19" y="24"/>
                  </a:lnTo>
                  <a:lnTo>
                    <a:pt x="6" y="30"/>
                  </a:lnTo>
                  <a:lnTo>
                    <a:pt x="0" y="44"/>
                  </a:lnTo>
                  <a:lnTo>
                    <a:pt x="0" y="64"/>
                  </a:lnTo>
                  <a:lnTo>
                    <a:pt x="16" y="66"/>
                  </a:lnTo>
                  <a:lnTo>
                    <a:pt x="31" y="60"/>
                  </a:lnTo>
                  <a:lnTo>
                    <a:pt x="42" y="60"/>
                  </a:lnTo>
                  <a:lnTo>
                    <a:pt x="44" y="79"/>
                  </a:lnTo>
                  <a:lnTo>
                    <a:pt x="54" y="83"/>
                  </a:lnTo>
                  <a:lnTo>
                    <a:pt x="54" y="70"/>
                  </a:lnTo>
                  <a:lnTo>
                    <a:pt x="63" y="71"/>
                  </a:lnTo>
                  <a:lnTo>
                    <a:pt x="66" y="83"/>
                  </a:lnTo>
                  <a:lnTo>
                    <a:pt x="74" y="65"/>
                  </a:lnTo>
                  <a:lnTo>
                    <a:pt x="80" y="50"/>
                  </a:lnTo>
                  <a:lnTo>
                    <a:pt x="77" y="30"/>
                  </a:lnTo>
                  <a:lnTo>
                    <a:pt x="66" y="26"/>
                  </a:lnTo>
                  <a:lnTo>
                    <a:pt x="54" y="26"/>
                  </a:lnTo>
                  <a:lnTo>
                    <a:pt x="49" y="13"/>
                  </a:lnTo>
                  <a:lnTo>
                    <a:pt x="50" y="5"/>
                  </a:lnTo>
                  <a:lnTo>
                    <a:pt x="4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5" name="Freeform 72">
              <a:extLst>
                <a:ext uri="{FF2B5EF4-FFF2-40B4-BE49-F238E27FC236}">
                  <a16:creationId xmlns:a16="http://schemas.microsoft.com/office/drawing/2014/main" xmlns="" id="{117D3635-A4A0-45F9-AA6B-02F8C7141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4900" y="2175546"/>
              <a:ext cx="189023" cy="129621"/>
            </a:xfrm>
            <a:custGeom>
              <a:avLst/>
              <a:gdLst>
                <a:gd name="T0" fmla="*/ 45 w 142"/>
                <a:gd name="T1" fmla="*/ 4 h 98"/>
                <a:gd name="T2" fmla="*/ 28 w 142"/>
                <a:gd name="T3" fmla="*/ 32 h 98"/>
                <a:gd name="T4" fmla="*/ 18 w 142"/>
                <a:gd name="T5" fmla="*/ 50 h 98"/>
                <a:gd name="T6" fmla="*/ 0 w 142"/>
                <a:gd name="T7" fmla="*/ 70 h 98"/>
                <a:gd name="T8" fmla="*/ 13 w 142"/>
                <a:gd name="T9" fmla="*/ 84 h 98"/>
                <a:gd name="T10" fmla="*/ 32 w 142"/>
                <a:gd name="T11" fmla="*/ 97 h 98"/>
                <a:gd name="T12" fmla="*/ 71 w 142"/>
                <a:gd name="T13" fmla="*/ 77 h 98"/>
                <a:gd name="T14" fmla="*/ 91 w 142"/>
                <a:gd name="T15" fmla="*/ 64 h 98"/>
                <a:gd name="T16" fmla="*/ 121 w 142"/>
                <a:gd name="T17" fmla="*/ 57 h 98"/>
                <a:gd name="T18" fmla="*/ 141 w 142"/>
                <a:gd name="T19" fmla="*/ 42 h 98"/>
                <a:gd name="T20" fmla="*/ 116 w 142"/>
                <a:gd name="T21" fmla="*/ 19 h 98"/>
                <a:gd name="T22" fmla="*/ 84 w 142"/>
                <a:gd name="T23" fmla="*/ 12 h 98"/>
                <a:gd name="T24" fmla="*/ 71 w 142"/>
                <a:gd name="T25" fmla="*/ 0 h 98"/>
                <a:gd name="T26" fmla="*/ 56 w 142"/>
                <a:gd name="T27" fmla="*/ 15 h 98"/>
                <a:gd name="T28" fmla="*/ 45 w 142"/>
                <a:gd name="T29" fmla="*/ 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2" h="98">
                  <a:moveTo>
                    <a:pt x="45" y="4"/>
                  </a:moveTo>
                  <a:lnTo>
                    <a:pt x="28" y="32"/>
                  </a:lnTo>
                  <a:lnTo>
                    <a:pt x="18" y="50"/>
                  </a:lnTo>
                  <a:lnTo>
                    <a:pt x="0" y="70"/>
                  </a:lnTo>
                  <a:lnTo>
                    <a:pt x="13" y="84"/>
                  </a:lnTo>
                  <a:lnTo>
                    <a:pt x="32" y="97"/>
                  </a:lnTo>
                  <a:lnTo>
                    <a:pt x="71" y="77"/>
                  </a:lnTo>
                  <a:lnTo>
                    <a:pt x="91" y="64"/>
                  </a:lnTo>
                  <a:lnTo>
                    <a:pt x="121" y="57"/>
                  </a:lnTo>
                  <a:lnTo>
                    <a:pt x="141" y="42"/>
                  </a:lnTo>
                  <a:lnTo>
                    <a:pt x="116" y="19"/>
                  </a:lnTo>
                  <a:lnTo>
                    <a:pt x="84" y="12"/>
                  </a:lnTo>
                  <a:lnTo>
                    <a:pt x="71" y="0"/>
                  </a:lnTo>
                  <a:lnTo>
                    <a:pt x="56" y="15"/>
                  </a:lnTo>
                  <a:lnTo>
                    <a:pt x="45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6" name="Freeform 73">
              <a:extLst>
                <a:ext uri="{FF2B5EF4-FFF2-40B4-BE49-F238E27FC236}">
                  <a16:creationId xmlns:a16="http://schemas.microsoft.com/office/drawing/2014/main" xmlns="" id="{4C64B840-A521-470B-BA95-4CE63CBEF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7349" y="2232627"/>
              <a:ext cx="271052" cy="145080"/>
            </a:xfrm>
            <a:custGeom>
              <a:avLst/>
              <a:gdLst>
                <a:gd name="T0" fmla="*/ 62 w 203"/>
                <a:gd name="T1" fmla="*/ 9 h 109"/>
                <a:gd name="T2" fmla="*/ 34 w 203"/>
                <a:gd name="T3" fmla="*/ 25 h 109"/>
                <a:gd name="T4" fmla="*/ 34 w 203"/>
                <a:gd name="T5" fmla="*/ 37 h 109"/>
                <a:gd name="T6" fmla="*/ 2 w 203"/>
                <a:gd name="T7" fmla="*/ 40 h 109"/>
                <a:gd name="T8" fmla="*/ 0 w 203"/>
                <a:gd name="T9" fmla="*/ 53 h 109"/>
                <a:gd name="T10" fmla="*/ 52 w 203"/>
                <a:gd name="T11" fmla="*/ 62 h 109"/>
                <a:gd name="T12" fmla="*/ 12 w 203"/>
                <a:gd name="T13" fmla="*/ 72 h 109"/>
                <a:gd name="T14" fmla="*/ 4 w 203"/>
                <a:gd name="T15" fmla="*/ 80 h 109"/>
                <a:gd name="T16" fmla="*/ 32 w 203"/>
                <a:gd name="T17" fmla="*/ 95 h 109"/>
                <a:gd name="T18" fmla="*/ 57 w 203"/>
                <a:gd name="T19" fmla="*/ 108 h 109"/>
                <a:gd name="T20" fmla="*/ 92 w 203"/>
                <a:gd name="T21" fmla="*/ 108 h 109"/>
                <a:gd name="T22" fmla="*/ 151 w 203"/>
                <a:gd name="T23" fmla="*/ 105 h 109"/>
                <a:gd name="T24" fmla="*/ 188 w 203"/>
                <a:gd name="T25" fmla="*/ 98 h 109"/>
                <a:gd name="T26" fmla="*/ 179 w 203"/>
                <a:gd name="T27" fmla="*/ 72 h 109"/>
                <a:gd name="T28" fmla="*/ 202 w 203"/>
                <a:gd name="T29" fmla="*/ 68 h 109"/>
                <a:gd name="T30" fmla="*/ 177 w 203"/>
                <a:gd name="T31" fmla="*/ 53 h 109"/>
                <a:gd name="T32" fmla="*/ 161 w 203"/>
                <a:gd name="T33" fmla="*/ 22 h 109"/>
                <a:gd name="T34" fmla="*/ 169 w 203"/>
                <a:gd name="T35" fmla="*/ 5 h 109"/>
                <a:gd name="T36" fmla="*/ 139 w 203"/>
                <a:gd name="T37" fmla="*/ 0 h 109"/>
                <a:gd name="T38" fmla="*/ 132 w 203"/>
                <a:gd name="T39" fmla="*/ 32 h 109"/>
                <a:gd name="T40" fmla="*/ 117 w 203"/>
                <a:gd name="T41" fmla="*/ 14 h 109"/>
                <a:gd name="T42" fmla="*/ 104 w 203"/>
                <a:gd name="T43" fmla="*/ 5 h 109"/>
                <a:gd name="T44" fmla="*/ 94 w 203"/>
                <a:gd name="T45" fmla="*/ 22 h 109"/>
                <a:gd name="T46" fmla="*/ 85 w 203"/>
                <a:gd name="T47" fmla="*/ 3 h 109"/>
                <a:gd name="T48" fmla="*/ 62 w 203"/>
                <a:gd name="T49" fmla="*/ 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3" h="109">
                  <a:moveTo>
                    <a:pt x="62" y="9"/>
                  </a:moveTo>
                  <a:lnTo>
                    <a:pt x="34" y="25"/>
                  </a:lnTo>
                  <a:lnTo>
                    <a:pt x="34" y="37"/>
                  </a:lnTo>
                  <a:lnTo>
                    <a:pt x="2" y="40"/>
                  </a:lnTo>
                  <a:lnTo>
                    <a:pt x="0" y="53"/>
                  </a:lnTo>
                  <a:lnTo>
                    <a:pt x="52" y="62"/>
                  </a:lnTo>
                  <a:lnTo>
                    <a:pt x="12" y="72"/>
                  </a:lnTo>
                  <a:lnTo>
                    <a:pt x="4" y="80"/>
                  </a:lnTo>
                  <a:lnTo>
                    <a:pt x="32" y="95"/>
                  </a:lnTo>
                  <a:lnTo>
                    <a:pt x="57" y="108"/>
                  </a:lnTo>
                  <a:lnTo>
                    <a:pt x="92" y="108"/>
                  </a:lnTo>
                  <a:lnTo>
                    <a:pt x="151" y="105"/>
                  </a:lnTo>
                  <a:lnTo>
                    <a:pt x="188" y="98"/>
                  </a:lnTo>
                  <a:lnTo>
                    <a:pt x="179" y="72"/>
                  </a:lnTo>
                  <a:lnTo>
                    <a:pt x="202" y="68"/>
                  </a:lnTo>
                  <a:lnTo>
                    <a:pt x="177" y="53"/>
                  </a:lnTo>
                  <a:lnTo>
                    <a:pt x="161" y="22"/>
                  </a:lnTo>
                  <a:lnTo>
                    <a:pt x="169" y="5"/>
                  </a:lnTo>
                  <a:lnTo>
                    <a:pt x="139" y="0"/>
                  </a:lnTo>
                  <a:lnTo>
                    <a:pt x="132" y="32"/>
                  </a:lnTo>
                  <a:lnTo>
                    <a:pt x="117" y="14"/>
                  </a:lnTo>
                  <a:lnTo>
                    <a:pt x="104" y="5"/>
                  </a:lnTo>
                  <a:lnTo>
                    <a:pt x="94" y="22"/>
                  </a:lnTo>
                  <a:lnTo>
                    <a:pt x="85" y="3"/>
                  </a:lnTo>
                  <a:lnTo>
                    <a:pt x="62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7" name="Freeform 74">
              <a:extLst>
                <a:ext uri="{FF2B5EF4-FFF2-40B4-BE49-F238E27FC236}">
                  <a16:creationId xmlns:a16="http://schemas.microsoft.com/office/drawing/2014/main" xmlns="" id="{436B7966-81A4-4C9D-88F3-2974CF477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960" y="2204087"/>
              <a:ext cx="41609" cy="21405"/>
            </a:xfrm>
            <a:custGeom>
              <a:avLst/>
              <a:gdLst>
                <a:gd name="T0" fmla="*/ 15 w 30"/>
                <a:gd name="T1" fmla="*/ 14 h 15"/>
                <a:gd name="T2" fmla="*/ 18 w 30"/>
                <a:gd name="T3" fmla="*/ 14 h 15"/>
                <a:gd name="T4" fmla="*/ 19 w 30"/>
                <a:gd name="T5" fmla="*/ 14 h 15"/>
                <a:gd name="T6" fmla="*/ 21 w 30"/>
                <a:gd name="T7" fmla="*/ 14 h 15"/>
                <a:gd name="T8" fmla="*/ 23 w 30"/>
                <a:gd name="T9" fmla="*/ 13 h 15"/>
                <a:gd name="T10" fmla="*/ 25 w 30"/>
                <a:gd name="T11" fmla="*/ 12 h 15"/>
                <a:gd name="T12" fmla="*/ 26 w 30"/>
                <a:gd name="T13" fmla="*/ 11 h 15"/>
                <a:gd name="T14" fmla="*/ 28 w 30"/>
                <a:gd name="T15" fmla="*/ 11 h 15"/>
                <a:gd name="T16" fmla="*/ 29 w 30"/>
                <a:gd name="T17" fmla="*/ 10 h 15"/>
                <a:gd name="T18" fmla="*/ 29 w 30"/>
                <a:gd name="T19" fmla="*/ 9 h 15"/>
                <a:gd name="T20" fmla="*/ 29 w 30"/>
                <a:gd name="T21" fmla="*/ 8 h 15"/>
                <a:gd name="T22" fmla="*/ 29 w 30"/>
                <a:gd name="T23" fmla="*/ 7 h 15"/>
                <a:gd name="T24" fmla="*/ 29 w 30"/>
                <a:gd name="T25" fmla="*/ 6 h 15"/>
                <a:gd name="T26" fmla="*/ 29 w 30"/>
                <a:gd name="T27" fmla="*/ 4 h 15"/>
                <a:gd name="T28" fmla="*/ 28 w 30"/>
                <a:gd name="T29" fmla="*/ 3 h 15"/>
                <a:gd name="T30" fmla="*/ 26 w 30"/>
                <a:gd name="T31" fmla="*/ 3 h 15"/>
                <a:gd name="T32" fmla="*/ 25 w 30"/>
                <a:gd name="T33" fmla="*/ 2 h 15"/>
                <a:gd name="T34" fmla="*/ 23 w 30"/>
                <a:gd name="T35" fmla="*/ 1 h 15"/>
                <a:gd name="T36" fmla="*/ 21 w 30"/>
                <a:gd name="T37" fmla="*/ 0 h 15"/>
                <a:gd name="T38" fmla="*/ 19 w 30"/>
                <a:gd name="T39" fmla="*/ 0 h 15"/>
                <a:gd name="T40" fmla="*/ 18 w 30"/>
                <a:gd name="T41" fmla="*/ 0 h 15"/>
                <a:gd name="T42" fmla="*/ 15 w 30"/>
                <a:gd name="T43" fmla="*/ 0 h 15"/>
                <a:gd name="T44" fmla="*/ 13 w 30"/>
                <a:gd name="T45" fmla="*/ 0 h 15"/>
                <a:gd name="T46" fmla="*/ 11 w 30"/>
                <a:gd name="T47" fmla="*/ 0 h 15"/>
                <a:gd name="T48" fmla="*/ 10 w 30"/>
                <a:gd name="T49" fmla="*/ 0 h 15"/>
                <a:gd name="T50" fmla="*/ 8 w 30"/>
                <a:gd name="T51" fmla="*/ 1 h 15"/>
                <a:gd name="T52" fmla="*/ 6 w 30"/>
                <a:gd name="T53" fmla="*/ 2 h 15"/>
                <a:gd name="T54" fmla="*/ 5 w 30"/>
                <a:gd name="T55" fmla="*/ 2 h 15"/>
                <a:gd name="T56" fmla="*/ 4 w 30"/>
                <a:gd name="T57" fmla="*/ 3 h 15"/>
                <a:gd name="T58" fmla="*/ 2 w 30"/>
                <a:gd name="T59" fmla="*/ 3 h 15"/>
                <a:gd name="T60" fmla="*/ 2 w 30"/>
                <a:gd name="T61" fmla="*/ 4 h 15"/>
                <a:gd name="T62" fmla="*/ 1 w 30"/>
                <a:gd name="T63" fmla="*/ 6 h 15"/>
                <a:gd name="T64" fmla="*/ 1 w 30"/>
                <a:gd name="T65" fmla="*/ 7 h 15"/>
                <a:gd name="T66" fmla="*/ 0 w 30"/>
                <a:gd name="T67" fmla="*/ 7 h 15"/>
                <a:gd name="T68" fmla="*/ 1 w 30"/>
                <a:gd name="T69" fmla="*/ 8 h 15"/>
                <a:gd name="T70" fmla="*/ 1 w 30"/>
                <a:gd name="T71" fmla="*/ 9 h 15"/>
                <a:gd name="T72" fmla="*/ 2 w 30"/>
                <a:gd name="T73" fmla="*/ 10 h 15"/>
                <a:gd name="T74" fmla="*/ 2 w 30"/>
                <a:gd name="T75" fmla="*/ 11 h 15"/>
                <a:gd name="T76" fmla="*/ 4 w 30"/>
                <a:gd name="T77" fmla="*/ 11 h 15"/>
                <a:gd name="T78" fmla="*/ 5 w 30"/>
                <a:gd name="T79" fmla="*/ 12 h 15"/>
                <a:gd name="T80" fmla="*/ 6 w 30"/>
                <a:gd name="T81" fmla="*/ 12 h 15"/>
                <a:gd name="T82" fmla="*/ 8 w 30"/>
                <a:gd name="T83" fmla="*/ 13 h 15"/>
                <a:gd name="T84" fmla="*/ 10 w 30"/>
                <a:gd name="T85" fmla="*/ 14 h 15"/>
                <a:gd name="T86" fmla="*/ 11 w 30"/>
                <a:gd name="T87" fmla="*/ 14 h 15"/>
                <a:gd name="T88" fmla="*/ 13 w 30"/>
                <a:gd name="T89" fmla="*/ 14 h 15"/>
                <a:gd name="T90" fmla="*/ 15 w 30"/>
                <a:gd name="T9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" h="15">
                  <a:moveTo>
                    <a:pt x="15" y="14"/>
                  </a:moveTo>
                  <a:lnTo>
                    <a:pt x="18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3" y="13"/>
                  </a:lnTo>
                  <a:lnTo>
                    <a:pt x="25" y="12"/>
                  </a:lnTo>
                  <a:lnTo>
                    <a:pt x="26" y="11"/>
                  </a:lnTo>
                  <a:lnTo>
                    <a:pt x="28" y="11"/>
                  </a:lnTo>
                  <a:lnTo>
                    <a:pt x="29" y="10"/>
                  </a:lnTo>
                  <a:lnTo>
                    <a:pt x="29" y="9"/>
                  </a:lnTo>
                  <a:lnTo>
                    <a:pt x="29" y="8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5" y="2"/>
                  </a:lnTo>
                  <a:lnTo>
                    <a:pt x="23" y="1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5" y="2"/>
                  </a:lnTo>
                  <a:lnTo>
                    <a:pt x="4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1" y="6"/>
                  </a:lnTo>
                  <a:lnTo>
                    <a:pt x="1" y="7"/>
                  </a:lnTo>
                  <a:lnTo>
                    <a:pt x="0" y="7"/>
                  </a:lnTo>
                  <a:lnTo>
                    <a:pt x="1" y="8"/>
                  </a:lnTo>
                  <a:lnTo>
                    <a:pt x="1" y="9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8" y="13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8" name="Freeform 75">
              <a:extLst>
                <a:ext uri="{FF2B5EF4-FFF2-40B4-BE49-F238E27FC236}">
                  <a16:creationId xmlns:a16="http://schemas.microsoft.com/office/drawing/2014/main" xmlns="" id="{79C567D4-30A3-4767-9D52-004324E02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5950" y="2072087"/>
              <a:ext cx="116505" cy="73729"/>
            </a:xfrm>
            <a:custGeom>
              <a:avLst/>
              <a:gdLst>
                <a:gd name="T0" fmla="*/ 85 w 86"/>
                <a:gd name="T1" fmla="*/ 0 h 55"/>
                <a:gd name="T2" fmla="*/ 63 w 86"/>
                <a:gd name="T3" fmla="*/ 8 h 55"/>
                <a:gd name="T4" fmla="*/ 30 w 86"/>
                <a:gd name="T5" fmla="*/ 24 h 55"/>
                <a:gd name="T6" fmla="*/ 2 w 86"/>
                <a:gd name="T7" fmla="*/ 31 h 55"/>
                <a:gd name="T8" fmla="*/ 0 w 86"/>
                <a:gd name="T9" fmla="*/ 49 h 55"/>
                <a:gd name="T10" fmla="*/ 37 w 86"/>
                <a:gd name="T11" fmla="*/ 54 h 55"/>
                <a:gd name="T12" fmla="*/ 63 w 86"/>
                <a:gd name="T13" fmla="*/ 29 h 55"/>
                <a:gd name="T14" fmla="*/ 85 w 86"/>
                <a:gd name="T15" fmla="*/ 29 h 55"/>
                <a:gd name="T16" fmla="*/ 85 w 86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55">
                  <a:moveTo>
                    <a:pt x="85" y="0"/>
                  </a:moveTo>
                  <a:lnTo>
                    <a:pt x="63" y="8"/>
                  </a:lnTo>
                  <a:lnTo>
                    <a:pt x="30" y="24"/>
                  </a:lnTo>
                  <a:lnTo>
                    <a:pt x="2" y="31"/>
                  </a:lnTo>
                  <a:lnTo>
                    <a:pt x="0" y="49"/>
                  </a:lnTo>
                  <a:lnTo>
                    <a:pt x="37" y="54"/>
                  </a:lnTo>
                  <a:lnTo>
                    <a:pt x="63" y="29"/>
                  </a:lnTo>
                  <a:lnTo>
                    <a:pt x="85" y="29"/>
                  </a:lnTo>
                  <a:lnTo>
                    <a:pt x="8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9" name="Freeform 76">
              <a:extLst>
                <a:ext uri="{FF2B5EF4-FFF2-40B4-BE49-F238E27FC236}">
                  <a16:creationId xmlns:a16="http://schemas.microsoft.com/office/drawing/2014/main" xmlns="" id="{E22ED8A6-406B-450E-8DB1-B87002794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091" y="2138682"/>
              <a:ext cx="21399" cy="36865"/>
            </a:xfrm>
            <a:custGeom>
              <a:avLst/>
              <a:gdLst>
                <a:gd name="T0" fmla="*/ 7 w 15"/>
                <a:gd name="T1" fmla="*/ 25 h 26"/>
                <a:gd name="T2" fmla="*/ 6 w 15"/>
                <a:gd name="T3" fmla="*/ 25 h 26"/>
                <a:gd name="T4" fmla="*/ 4 w 15"/>
                <a:gd name="T5" fmla="*/ 24 h 26"/>
                <a:gd name="T6" fmla="*/ 3 w 15"/>
                <a:gd name="T7" fmla="*/ 24 h 26"/>
                <a:gd name="T8" fmla="*/ 3 w 15"/>
                <a:gd name="T9" fmla="*/ 23 h 26"/>
                <a:gd name="T10" fmla="*/ 2 w 15"/>
                <a:gd name="T11" fmla="*/ 22 h 26"/>
                <a:gd name="T12" fmla="*/ 2 w 15"/>
                <a:gd name="T13" fmla="*/ 21 h 26"/>
                <a:gd name="T14" fmla="*/ 2 w 15"/>
                <a:gd name="T15" fmla="*/ 20 h 26"/>
                <a:gd name="T16" fmla="*/ 1 w 15"/>
                <a:gd name="T17" fmla="*/ 18 h 26"/>
                <a:gd name="T18" fmla="*/ 1 w 15"/>
                <a:gd name="T19" fmla="*/ 16 h 26"/>
                <a:gd name="T20" fmla="*/ 1 w 15"/>
                <a:gd name="T21" fmla="*/ 15 h 26"/>
                <a:gd name="T22" fmla="*/ 0 w 15"/>
                <a:gd name="T23" fmla="*/ 13 h 26"/>
                <a:gd name="T24" fmla="*/ 1 w 15"/>
                <a:gd name="T25" fmla="*/ 11 h 26"/>
                <a:gd name="T26" fmla="*/ 1 w 15"/>
                <a:gd name="T27" fmla="*/ 9 h 26"/>
                <a:gd name="T28" fmla="*/ 1 w 15"/>
                <a:gd name="T29" fmla="*/ 8 h 26"/>
                <a:gd name="T30" fmla="*/ 2 w 15"/>
                <a:gd name="T31" fmla="*/ 6 h 26"/>
                <a:gd name="T32" fmla="*/ 2 w 15"/>
                <a:gd name="T33" fmla="*/ 5 h 26"/>
                <a:gd name="T34" fmla="*/ 2 w 15"/>
                <a:gd name="T35" fmla="*/ 4 h 26"/>
                <a:gd name="T36" fmla="*/ 3 w 15"/>
                <a:gd name="T37" fmla="*/ 3 h 26"/>
                <a:gd name="T38" fmla="*/ 3 w 15"/>
                <a:gd name="T39" fmla="*/ 2 h 26"/>
                <a:gd name="T40" fmla="*/ 4 w 15"/>
                <a:gd name="T41" fmla="*/ 2 h 26"/>
                <a:gd name="T42" fmla="*/ 6 w 15"/>
                <a:gd name="T43" fmla="*/ 1 h 26"/>
                <a:gd name="T44" fmla="*/ 7 w 15"/>
                <a:gd name="T45" fmla="*/ 1 h 26"/>
                <a:gd name="T46" fmla="*/ 7 w 15"/>
                <a:gd name="T47" fmla="*/ 0 h 26"/>
                <a:gd name="T48" fmla="*/ 8 w 15"/>
                <a:gd name="T49" fmla="*/ 1 h 26"/>
                <a:gd name="T50" fmla="*/ 9 w 15"/>
                <a:gd name="T51" fmla="*/ 1 h 26"/>
                <a:gd name="T52" fmla="*/ 11 w 15"/>
                <a:gd name="T53" fmla="*/ 2 h 26"/>
                <a:gd name="T54" fmla="*/ 12 w 15"/>
                <a:gd name="T55" fmla="*/ 3 h 26"/>
                <a:gd name="T56" fmla="*/ 12 w 15"/>
                <a:gd name="T57" fmla="*/ 4 h 26"/>
                <a:gd name="T58" fmla="*/ 13 w 15"/>
                <a:gd name="T59" fmla="*/ 5 h 26"/>
                <a:gd name="T60" fmla="*/ 13 w 15"/>
                <a:gd name="T61" fmla="*/ 6 h 26"/>
                <a:gd name="T62" fmla="*/ 14 w 15"/>
                <a:gd name="T63" fmla="*/ 8 h 26"/>
                <a:gd name="T64" fmla="*/ 14 w 15"/>
                <a:gd name="T65" fmla="*/ 9 h 26"/>
                <a:gd name="T66" fmla="*/ 14 w 15"/>
                <a:gd name="T67" fmla="*/ 11 h 26"/>
                <a:gd name="T68" fmla="*/ 14 w 15"/>
                <a:gd name="T69" fmla="*/ 13 h 26"/>
                <a:gd name="T70" fmla="*/ 14 w 15"/>
                <a:gd name="T71" fmla="*/ 15 h 26"/>
                <a:gd name="T72" fmla="*/ 14 w 15"/>
                <a:gd name="T73" fmla="*/ 16 h 26"/>
                <a:gd name="T74" fmla="*/ 14 w 15"/>
                <a:gd name="T75" fmla="*/ 18 h 26"/>
                <a:gd name="T76" fmla="*/ 13 w 15"/>
                <a:gd name="T77" fmla="*/ 20 h 26"/>
                <a:gd name="T78" fmla="*/ 13 w 15"/>
                <a:gd name="T79" fmla="*/ 21 h 26"/>
                <a:gd name="T80" fmla="*/ 12 w 15"/>
                <a:gd name="T81" fmla="*/ 22 h 26"/>
                <a:gd name="T82" fmla="*/ 12 w 15"/>
                <a:gd name="T83" fmla="*/ 23 h 26"/>
                <a:gd name="T84" fmla="*/ 11 w 15"/>
                <a:gd name="T85" fmla="*/ 24 h 26"/>
                <a:gd name="T86" fmla="*/ 9 w 15"/>
                <a:gd name="T87" fmla="*/ 25 h 26"/>
                <a:gd name="T88" fmla="*/ 8 w 15"/>
                <a:gd name="T89" fmla="*/ 25 h 26"/>
                <a:gd name="T90" fmla="*/ 7 w 15"/>
                <a:gd name="T91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" h="26">
                  <a:moveTo>
                    <a:pt x="7" y="25"/>
                  </a:moveTo>
                  <a:lnTo>
                    <a:pt x="6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1" y="18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1" y="9"/>
                  </a:lnTo>
                  <a:lnTo>
                    <a:pt x="1" y="8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2"/>
                  </a:lnTo>
                  <a:lnTo>
                    <a:pt x="4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9" y="1"/>
                  </a:lnTo>
                  <a:lnTo>
                    <a:pt x="11" y="2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11"/>
                  </a:lnTo>
                  <a:lnTo>
                    <a:pt x="14" y="13"/>
                  </a:lnTo>
                  <a:lnTo>
                    <a:pt x="14" y="15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1" y="24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7" y="2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0" name="Freeform 77">
              <a:extLst>
                <a:ext uri="{FF2B5EF4-FFF2-40B4-BE49-F238E27FC236}">
                  <a16:creationId xmlns:a16="http://schemas.microsoft.com/office/drawing/2014/main" xmlns="" id="{D1290D76-FDCB-4E84-8F04-77FD408CD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5322" y="2106574"/>
              <a:ext cx="174758" cy="86810"/>
            </a:xfrm>
            <a:custGeom>
              <a:avLst/>
              <a:gdLst>
                <a:gd name="T0" fmla="*/ 45 w 131"/>
                <a:gd name="T1" fmla="*/ 20 h 64"/>
                <a:gd name="T2" fmla="*/ 33 w 131"/>
                <a:gd name="T3" fmla="*/ 33 h 64"/>
                <a:gd name="T4" fmla="*/ 5 w 131"/>
                <a:gd name="T5" fmla="*/ 33 h 64"/>
                <a:gd name="T6" fmla="*/ 0 w 131"/>
                <a:gd name="T7" fmla="*/ 55 h 64"/>
                <a:gd name="T8" fmla="*/ 30 w 131"/>
                <a:gd name="T9" fmla="*/ 63 h 64"/>
                <a:gd name="T10" fmla="*/ 55 w 131"/>
                <a:gd name="T11" fmla="*/ 59 h 64"/>
                <a:gd name="T12" fmla="*/ 77 w 131"/>
                <a:gd name="T13" fmla="*/ 51 h 64"/>
                <a:gd name="T14" fmla="*/ 105 w 131"/>
                <a:gd name="T15" fmla="*/ 46 h 64"/>
                <a:gd name="T16" fmla="*/ 130 w 131"/>
                <a:gd name="T17" fmla="*/ 54 h 64"/>
                <a:gd name="T18" fmla="*/ 117 w 131"/>
                <a:gd name="T19" fmla="*/ 26 h 64"/>
                <a:gd name="T20" fmla="*/ 90 w 131"/>
                <a:gd name="T21" fmla="*/ 18 h 64"/>
                <a:gd name="T22" fmla="*/ 85 w 131"/>
                <a:gd name="T23" fmla="*/ 0 h 64"/>
                <a:gd name="T24" fmla="*/ 62 w 131"/>
                <a:gd name="T25" fmla="*/ 3 h 64"/>
                <a:gd name="T26" fmla="*/ 60 w 131"/>
                <a:gd name="T27" fmla="*/ 18 h 64"/>
                <a:gd name="T28" fmla="*/ 45 w 131"/>
                <a:gd name="T29" fmla="*/ 2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1" h="64">
                  <a:moveTo>
                    <a:pt x="45" y="20"/>
                  </a:moveTo>
                  <a:lnTo>
                    <a:pt x="33" y="33"/>
                  </a:lnTo>
                  <a:lnTo>
                    <a:pt x="5" y="33"/>
                  </a:lnTo>
                  <a:lnTo>
                    <a:pt x="0" y="55"/>
                  </a:lnTo>
                  <a:lnTo>
                    <a:pt x="30" y="63"/>
                  </a:lnTo>
                  <a:lnTo>
                    <a:pt x="55" y="59"/>
                  </a:lnTo>
                  <a:lnTo>
                    <a:pt x="77" y="51"/>
                  </a:lnTo>
                  <a:lnTo>
                    <a:pt x="105" y="46"/>
                  </a:lnTo>
                  <a:lnTo>
                    <a:pt x="130" y="54"/>
                  </a:lnTo>
                  <a:lnTo>
                    <a:pt x="117" y="26"/>
                  </a:lnTo>
                  <a:lnTo>
                    <a:pt x="90" y="18"/>
                  </a:lnTo>
                  <a:lnTo>
                    <a:pt x="85" y="0"/>
                  </a:lnTo>
                  <a:lnTo>
                    <a:pt x="62" y="3"/>
                  </a:lnTo>
                  <a:lnTo>
                    <a:pt x="60" y="18"/>
                  </a:lnTo>
                  <a:lnTo>
                    <a:pt x="45" y="2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1" name="Freeform 78">
              <a:extLst>
                <a:ext uri="{FF2B5EF4-FFF2-40B4-BE49-F238E27FC236}">
                  <a16:creationId xmlns:a16="http://schemas.microsoft.com/office/drawing/2014/main" xmlns="" id="{68989D29-AB7A-42A5-B224-43001A726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386" y="2061385"/>
              <a:ext cx="55875" cy="40432"/>
            </a:xfrm>
            <a:custGeom>
              <a:avLst/>
              <a:gdLst>
                <a:gd name="T0" fmla="*/ 26 w 41"/>
                <a:gd name="T1" fmla="*/ 2 h 31"/>
                <a:gd name="T2" fmla="*/ 8 w 41"/>
                <a:gd name="T3" fmla="*/ 2 h 31"/>
                <a:gd name="T4" fmla="*/ 0 w 41"/>
                <a:gd name="T5" fmla="*/ 17 h 31"/>
                <a:gd name="T6" fmla="*/ 0 w 41"/>
                <a:gd name="T7" fmla="*/ 30 h 31"/>
                <a:gd name="T8" fmla="*/ 18 w 41"/>
                <a:gd name="T9" fmla="*/ 20 h 31"/>
                <a:gd name="T10" fmla="*/ 38 w 41"/>
                <a:gd name="T11" fmla="*/ 15 h 31"/>
                <a:gd name="T12" fmla="*/ 40 w 41"/>
                <a:gd name="T13" fmla="*/ 0 h 31"/>
                <a:gd name="T14" fmla="*/ 26 w 41"/>
                <a:gd name="T15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1">
                  <a:moveTo>
                    <a:pt x="26" y="2"/>
                  </a:moveTo>
                  <a:lnTo>
                    <a:pt x="8" y="2"/>
                  </a:lnTo>
                  <a:lnTo>
                    <a:pt x="0" y="17"/>
                  </a:lnTo>
                  <a:lnTo>
                    <a:pt x="0" y="30"/>
                  </a:lnTo>
                  <a:lnTo>
                    <a:pt x="18" y="20"/>
                  </a:lnTo>
                  <a:lnTo>
                    <a:pt x="38" y="15"/>
                  </a:lnTo>
                  <a:lnTo>
                    <a:pt x="40" y="0"/>
                  </a:lnTo>
                  <a:lnTo>
                    <a:pt x="26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2" name="Freeform 79">
              <a:extLst>
                <a:ext uri="{FF2B5EF4-FFF2-40B4-BE49-F238E27FC236}">
                  <a16:creationId xmlns:a16="http://schemas.microsoft.com/office/drawing/2014/main" xmlns="" id="{B10AE1F7-E048-4C2F-9541-A89D00646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197" y="2013818"/>
              <a:ext cx="66574" cy="35675"/>
            </a:xfrm>
            <a:custGeom>
              <a:avLst/>
              <a:gdLst>
                <a:gd name="T0" fmla="*/ 13 w 51"/>
                <a:gd name="T1" fmla="*/ 7 h 27"/>
                <a:gd name="T2" fmla="*/ 25 w 51"/>
                <a:gd name="T3" fmla="*/ 0 h 27"/>
                <a:gd name="T4" fmla="*/ 42 w 51"/>
                <a:gd name="T5" fmla="*/ 2 h 27"/>
                <a:gd name="T6" fmla="*/ 50 w 51"/>
                <a:gd name="T7" fmla="*/ 15 h 27"/>
                <a:gd name="T8" fmla="*/ 28 w 51"/>
                <a:gd name="T9" fmla="*/ 23 h 27"/>
                <a:gd name="T10" fmla="*/ 0 w 51"/>
                <a:gd name="T11" fmla="*/ 26 h 27"/>
                <a:gd name="T12" fmla="*/ 13 w 5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27">
                  <a:moveTo>
                    <a:pt x="13" y="7"/>
                  </a:moveTo>
                  <a:lnTo>
                    <a:pt x="25" y="0"/>
                  </a:lnTo>
                  <a:lnTo>
                    <a:pt x="42" y="2"/>
                  </a:lnTo>
                  <a:lnTo>
                    <a:pt x="50" y="15"/>
                  </a:lnTo>
                  <a:lnTo>
                    <a:pt x="28" y="23"/>
                  </a:lnTo>
                  <a:lnTo>
                    <a:pt x="0" y="26"/>
                  </a:lnTo>
                  <a:lnTo>
                    <a:pt x="13" y="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3" name="Freeform 80">
              <a:extLst>
                <a:ext uri="{FF2B5EF4-FFF2-40B4-BE49-F238E27FC236}">
                  <a16:creationId xmlns:a16="http://schemas.microsoft.com/office/drawing/2014/main" xmlns="" id="{B61A32B1-539B-439A-94C4-35317B4E2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8402" y="2013818"/>
              <a:ext cx="92728" cy="60648"/>
            </a:xfrm>
            <a:custGeom>
              <a:avLst/>
              <a:gdLst>
                <a:gd name="T0" fmla="*/ 13 w 70"/>
                <a:gd name="T1" fmla="*/ 0 h 45"/>
                <a:gd name="T2" fmla="*/ 31 w 70"/>
                <a:gd name="T3" fmla="*/ 2 h 45"/>
                <a:gd name="T4" fmla="*/ 48 w 70"/>
                <a:gd name="T5" fmla="*/ 7 h 45"/>
                <a:gd name="T6" fmla="*/ 64 w 70"/>
                <a:gd name="T7" fmla="*/ 25 h 45"/>
                <a:gd name="T8" fmla="*/ 69 w 70"/>
                <a:gd name="T9" fmla="*/ 40 h 45"/>
                <a:gd name="T10" fmla="*/ 39 w 70"/>
                <a:gd name="T11" fmla="*/ 44 h 45"/>
                <a:gd name="T12" fmla="*/ 31 w 70"/>
                <a:gd name="T13" fmla="*/ 29 h 45"/>
                <a:gd name="T14" fmla="*/ 13 w 70"/>
                <a:gd name="T15" fmla="*/ 27 h 45"/>
                <a:gd name="T16" fmla="*/ 0 w 70"/>
                <a:gd name="T17" fmla="*/ 9 h 45"/>
                <a:gd name="T18" fmla="*/ 13 w 70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45">
                  <a:moveTo>
                    <a:pt x="13" y="0"/>
                  </a:moveTo>
                  <a:lnTo>
                    <a:pt x="31" y="2"/>
                  </a:lnTo>
                  <a:lnTo>
                    <a:pt x="48" y="7"/>
                  </a:lnTo>
                  <a:lnTo>
                    <a:pt x="64" y="25"/>
                  </a:lnTo>
                  <a:lnTo>
                    <a:pt x="69" y="40"/>
                  </a:lnTo>
                  <a:lnTo>
                    <a:pt x="39" y="44"/>
                  </a:lnTo>
                  <a:lnTo>
                    <a:pt x="31" y="29"/>
                  </a:lnTo>
                  <a:lnTo>
                    <a:pt x="13" y="27"/>
                  </a:lnTo>
                  <a:lnTo>
                    <a:pt x="0" y="9"/>
                  </a:lnTo>
                  <a:lnTo>
                    <a:pt x="13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4" name="Freeform 81">
              <a:extLst>
                <a:ext uri="{FF2B5EF4-FFF2-40B4-BE49-F238E27FC236}">
                  <a16:creationId xmlns:a16="http://schemas.microsoft.com/office/drawing/2014/main" xmlns="" id="{3FB191CA-36A5-45D1-9C24-0AC72C6C9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8402" y="2199330"/>
              <a:ext cx="89162" cy="92756"/>
            </a:xfrm>
            <a:custGeom>
              <a:avLst/>
              <a:gdLst>
                <a:gd name="T0" fmla="*/ 23 w 67"/>
                <a:gd name="T1" fmla="*/ 5 h 70"/>
                <a:gd name="T2" fmla="*/ 28 w 67"/>
                <a:gd name="T3" fmla="*/ 21 h 70"/>
                <a:gd name="T4" fmla="*/ 25 w 67"/>
                <a:gd name="T5" fmla="*/ 38 h 70"/>
                <a:gd name="T6" fmla="*/ 3 w 67"/>
                <a:gd name="T7" fmla="*/ 26 h 70"/>
                <a:gd name="T8" fmla="*/ 0 w 67"/>
                <a:gd name="T9" fmla="*/ 41 h 70"/>
                <a:gd name="T10" fmla="*/ 21 w 67"/>
                <a:gd name="T11" fmla="*/ 53 h 70"/>
                <a:gd name="T12" fmla="*/ 31 w 67"/>
                <a:gd name="T13" fmla="*/ 66 h 70"/>
                <a:gd name="T14" fmla="*/ 53 w 67"/>
                <a:gd name="T15" fmla="*/ 69 h 70"/>
                <a:gd name="T16" fmla="*/ 66 w 67"/>
                <a:gd name="T17" fmla="*/ 46 h 70"/>
                <a:gd name="T18" fmla="*/ 58 w 67"/>
                <a:gd name="T19" fmla="*/ 28 h 70"/>
                <a:gd name="T20" fmla="*/ 61 w 67"/>
                <a:gd name="T21" fmla="*/ 0 h 70"/>
                <a:gd name="T22" fmla="*/ 23 w 67"/>
                <a:gd name="T23" fmla="*/ 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70">
                  <a:moveTo>
                    <a:pt x="23" y="5"/>
                  </a:moveTo>
                  <a:lnTo>
                    <a:pt x="28" y="21"/>
                  </a:lnTo>
                  <a:lnTo>
                    <a:pt x="25" y="38"/>
                  </a:lnTo>
                  <a:lnTo>
                    <a:pt x="3" y="26"/>
                  </a:lnTo>
                  <a:lnTo>
                    <a:pt x="0" y="41"/>
                  </a:lnTo>
                  <a:lnTo>
                    <a:pt x="21" y="53"/>
                  </a:lnTo>
                  <a:lnTo>
                    <a:pt x="31" y="66"/>
                  </a:lnTo>
                  <a:lnTo>
                    <a:pt x="53" y="69"/>
                  </a:lnTo>
                  <a:lnTo>
                    <a:pt x="66" y="46"/>
                  </a:lnTo>
                  <a:lnTo>
                    <a:pt x="58" y="28"/>
                  </a:lnTo>
                  <a:lnTo>
                    <a:pt x="61" y="0"/>
                  </a:lnTo>
                  <a:lnTo>
                    <a:pt x="23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5" name="Freeform 82">
              <a:extLst>
                <a:ext uri="{FF2B5EF4-FFF2-40B4-BE49-F238E27FC236}">
                  <a16:creationId xmlns:a16="http://schemas.microsoft.com/office/drawing/2014/main" xmlns="" id="{BC2F65FC-EEB7-4B24-BE3E-94313CBE5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9801" y="2334897"/>
              <a:ext cx="54686" cy="42811"/>
            </a:xfrm>
            <a:custGeom>
              <a:avLst/>
              <a:gdLst>
                <a:gd name="T0" fmla="*/ 20 w 42"/>
                <a:gd name="T1" fmla="*/ 0 h 32"/>
                <a:gd name="T2" fmla="*/ 5 w 42"/>
                <a:gd name="T3" fmla="*/ 10 h 32"/>
                <a:gd name="T4" fmla="*/ 0 w 42"/>
                <a:gd name="T5" fmla="*/ 28 h 32"/>
                <a:gd name="T6" fmla="*/ 25 w 42"/>
                <a:gd name="T7" fmla="*/ 31 h 32"/>
                <a:gd name="T8" fmla="*/ 41 w 42"/>
                <a:gd name="T9" fmla="*/ 21 h 32"/>
                <a:gd name="T10" fmla="*/ 20 w 42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2">
                  <a:moveTo>
                    <a:pt x="20" y="0"/>
                  </a:moveTo>
                  <a:lnTo>
                    <a:pt x="5" y="10"/>
                  </a:lnTo>
                  <a:lnTo>
                    <a:pt x="0" y="28"/>
                  </a:lnTo>
                  <a:lnTo>
                    <a:pt x="25" y="31"/>
                  </a:lnTo>
                  <a:lnTo>
                    <a:pt x="41" y="21"/>
                  </a:lnTo>
                  <a:lnTo>
                    <a:pt x="2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6" name="Freeform 83">
              <a:extLst>
                <a:ext uri="{FF2B5EF4-FFF2-40B4-BE49-F238E27FC236}">
                  <a16:creationId xmlns:a16="http://schemas.microsoft.com/office/drawing/2014/main" xmlns="" id="{585C787E-16E7-49AF-B5DF-3611FD20F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3718" y="2195762"/>
              <a:ext cx="90351" cy="73729"/>
            </a:xfrm>
            <a:custGeom>
              <a:avLst/>
              <a:gdLst>
                <a:gd name="T0" fmla="*/ 0 w 67"/>
                <a:gd name="T1" fmla="*/ 54 h 55"/>
                <a:gd name="T2" fmla="*/ 2 w 67"/>
                <a:gd name="T3" fmla="*/ 31 h 55"/>
                <a:gd name="T4" fmla="*/ 9 w 67"/>
                <a:gd name="T5" fmla="*/ 10 h 55"/>
                <a:gd name="T6" fmla="*/ 32 w 67"/>
                <a:gd name="T7" fmla="*/ 0 h 55"/>
                <a:gd name="T8" fmla="*/ 52 w 67"/>
                <a:gd name="T9" fmla="*/ 3 h 55"/>
                <a:gd name="T10" fmla="*/ 66 w 67"/>
                <a:gd name="T11" fmla="*/ 8 h 55"/>
                <a:gd name="T12" fmla="*/ 53 w 67"/>
                <a:gd name="T13" fmla="*/ 23 h 55"/>
                <a:gd name="T14" fmla="*/ 33 w 67"/>
                <a:gd name="T15" fmla="*/ 39 h 55"/>
                <a:gd name="T16" fmla="*/ 19 w 67"/>
                <a:gd name="T17" fmla="*/ 39 h 55"/>
                <a:gd name="T18" fmla="*/ 14 w 67"/>
                <a:gd name="T19" fmla="*/ 54 h 55"/>
                <a:gd name="T20" fmla="*/ 0 w 67"/>
                <a:gd name="T21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5">
                  <a:moveTo>
                    <a:pt x="0" y="54"/>
                  </a:moveTo>
                  <a:lnTo>
                    <a:pt x="2" y="31"/>
                  </a:lnTo>
                  <a:lnTo>
                    <a:pt x="9" y="10"/>
                  </a:lnTo>
                  <a:lnTo>
                    <a:pt x="32" y="0"/>
                  </a:lnTo>
                  <a:lnTo>
                    <a:pt x="52" y="3"/>
                  </a:lnTo>
                  <a:lnTo>
                    <a:pt x="66" y="8"/>
                  </a:lnTo>
                  <a:lnTo>
                    <a:pt x="53" y="23"/>
                  </a:lnTo>
                  <a:lnTo>
                    <a:pt x="33" y="39"/>
                  </a:lnTo>
                  <a:lnTo>
                    <a:pt x="19" y="39"/>
                  </a:lnTo>
                  <a:lnTo>
                    <a:pt x="14" y="54"/>
                  </a:lnTo>
                  <a:lnTo>
                    <a:pt x="0" y="5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7" name="Freeform 84">
              <a:extLst>
                <a:ext uri="{FF2B5EF4-FFF2-40B4-BE49-F238E27FC236}">
                  <a16:creationId xmlns:a16="http://schemas.microsoft.com/office/drawing/2014/main" xmlns="" id="{61C01E9D-8900-4842-8E3D-933C81D70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0013" y="2204087"/>
              <a:ext cx="431544" cy="386484"/>
            </a:xfrm>
            <a:custGeom>
              <a:avLst/>
              <a:gdLst>
                <a:gd name="T0" fmla="*/ 47 w 323"/>
                <a:gd name="T1" fmla="*/ 0 h 289"/>
                <a:gd name="T2" fmla="*/ 17 w 323"/>
                <a:gd name="T3" fmla="*/ 9 h 289"/>
                <a:gd name="T4" fmla="*/ 0 w 323"/>
                <a:gd name="T5" fmla="*/ 40 h 289"/>
                <a:gd name="T6" fmla="*/ 3 w 323"/>
                <a:gd name="T7" fmla="*/ 67 h 289"/>
                <a:gd name="T8" fmla="*/ 25 w 323"/>
                <a:gd name="T9" fmla="*/ 76 h 289"/>
                <a:gd name="T10" fmla="*/ 15 w 323"/>
                <a:gd name="T11" fmla="*/ 87 h 289"/>
                <a:gd name="T12" fmla="*/ 20 w 323"/>
                <a:gd name="T13" fmla="*/ 96 h 289"/>
                <a:gd name="T14" fmla="*/ 68 w 323"/>
                <a:gd name="T15" fmla="*/ 89 h 289"/>
                <a:gd name="T16" fmla="*/ 97 w 323"/>
                <a:gd name="T17" fmla="*/ 104 h 289"/>
                <a:gd name="T18" fmla="*/ 120 w 323"/>
                <a:gd name="T19" fmla="*/ 89 h 289"/>
                <a:gd name="T20" fmla="*/ 147 w 323"/>
                <a:gd name="T21" fmla="*/ 114 h 289"/>
                <a:gd name="T22" fmla="*/ 145 w 323"/>
                <a:gd name="T23" fmla="*/ 131 h 289"/>
                <a:gd name="T24" fmla="*/ 170 w 323"/>
                <a:gd name="T25" fmla="*/ 131 h 289"/>
                <a:gd name="T26" fmla="*/ 185 w 323"/>
                <a:gd name="T27" fmla="*/ 144 h 289"/>
                <a:gd name="T28" fmla="*/ 187 w 323"/>
                <a:gd name="T29" fmla="*/ 171 h 289"/>
                <a:gd name="T30" fmla="*/ 160 w 323"/>
                <a:gd name="T31" fmla="*/ 201 h 289"/>
                <a:gd name="T32" fmla="*/ 115 w 323"/>
                <a:gd name="T33" fmla="*/ 211 h 289"/>
                <a:gd name="T34" fmla="*/ 105 w 323"/>
                <a:gd name="T35" fmla="*/ 226 h 289"/>
                <a:gd name="T36" fmla="*/ 123 w 323"/>
                <a:gd name="T37" fmla="*/ 243 h 289"/>
                <a:gd name="T38" fmla="*/ 160 w 323"/>
                <a:gd name="T39" fmla="*/ 233 h 289"/>
                <a:gd name="T40" fmla="*/ 197 w 323"/>
                <a:gd name="T41" fmla="*/ 263 h 289"/>
                <a:gd name="T42" fmla="*/ 247 w 323"/>
                <a:gd name="T43" fmla="*/ 288 h 289"/>
                <a:gd name="T44" fmla="*/ 230 w 323"/>
                <a:gd name="T45" fmla="*/ 248 h 289"/>
                <a:gd name="T46" fmla="*/ 264 w 323"/>
                <a:gd name="T47" fmla="*/ 270 h 289"/>
                <a:gd name="T48" fmla="*/ 275 w 323"/>
                <a:gd name="T49" fmla="*/ 246 h 289"/>
                <a:gd name="T50" fmla="*/ 267 w 323"/>
                <a:gd name="T51" fmla="*/ 215 h 289"/>
                <a:gd name="T52" fmla="*/ 242 w 323"/>
                <a:gd name="T53" fmla="*/ 211 h 289"/>
                <a:gd name="T54" fmla="*/ 245 w 323"/>
                <a:gd name="T55" fmla="*/ 182 h 289"/>
                <a:gd name="T56" fmla="*/ 258 w 323"/>
                <a:gd name="T57" fmla="*/ 178 h 289"/>
                <a:gd name="T58" fmla="*/ 297 w 323"/>
                <a:gd name="T59" fmla="*/ 218 h 289"/>
                <a:gd name="T60" fmla="*/ 312 w 323"/>
                <a:gd name="T61" fmla="*/ 193 h 289"/>
                <a:gd name="T62" fmla="*/ 322 w 323"/>
                <a:gd name="T63" fmla="*/ 176 h 289"/>
                <a:gd name="T64" fmla="*/ 297 w 323"/>
                <a:gd name="T65" fmla="*/ 159 h 289"/>
                <a:gd name="T66" fmla="*/ 270 w 323"/>
                <a:gd name="T67" fmla="*/ 151 h 289"/>
                <a:gd name="T68" fmla="*/ 250 w 323"/>
                <a:gd name="T69" fmla="*/ 123 h 289"/>
                <a:gd name="T70" fmla="*/ 264 w 323"/>
                <a:gd name="T71" fmla="*/ 106 h 289"/>
                <a:gd name="T72" fmla="*/ 253 w 323"/>
                <a:gd name="T73" fmla="*/ 84 h 289"/>
                <a:gd name="T74" fmla="*/ 212 w 323"/>
                <a:gd name="T75" fmla="*/ 67 h 289"/>
                <a:gd name="T76" fmla="*/ 187 w 323"/>
                <a:gd name="T77" fmla="*/ 54 h 289"/>
                <a:gd name="T78" fmla="*/ 168 w 323"/>
                <a:gd name="T79" fmla="*/ 22 h 289"/>
                <a:gd name="T80" fmla="*/ 117 w 323"/>
                <a:gd name="T81" fmla="*/ 27 h 289"/>
                <a:gd name="T82" fmla="*/ 103 w 323"/>
                <a:gd name="T83" fmla="*/ 47 h 289"/>
                <a:gd name="T84" fmla="*/ 109 w 323"/>
                <a:gd name="T85" fmla="*/ 2 h 289"/>
                <a:gd name="T86" fmla="*/ 75 w 323"/>
                <a:gd name="T87" fmla="*/ 0 h 289"/>
                <a:gd name="T88" fmla="*/ 58 w 323"/>
                <a:gd name="T89" fmla="*/ 22 h 289"/>
                <a:gd name="T90" fmla="*/ 55 w 323"/>
                <a:gd name="T91" fmla="*/ 40 h 289"/>
                <a:gd name="T92" fmla="*/ 37 w 323"/>
                <a:gd name="T93" fmla="*/ 36 h 289"/>
                <a:gd name="T94" fmla="*/ 47 w 323"/>
                <a:gd name="T95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3" h="289">
                  <a:moveTo>
                    <a:pt x="47" y="0"/>
                  </a:moveTo>
                  <a:lnTo>
                    <a:pt x="17" y="9"/>
                  </a:lnTo>
                  <a:lnTo>
                    <a:pt x="0" y="40"/>
                  </a:lnTo>
                  <a:lnTo>
                    <a:pt x="3" y="67"/>
                  </a:lnTo>
                  <a:lnTo>
                    <a:pt x="25" y="76"/>
                  </a:lnTo>
                  <a:lnTo>
                    <a:pt x="15" y="87"/>
                  </a:lnTo>
                  <a:lnTo>
                    <a:pt x="20" y="96"/>
                  </a:lnTo>
                  <a:lnTo>
                    <a:pt x="68" y="89"/>
                  </a:lnTo>
                  <a:lnTo>
                    <a:pt x="97" y="104"/>
                  </a:lnTo>
                  <a:lnTo>
                    <a:pt x="120" y="89"/>
                  </a:lnTo>
                  <a:lnTo>
                    <a:pt x="147" y="114"/>
                  </a:lnTo>
                  <a:lnTo>
                    <a:pt x="145" y="131"/>
                  </a:lnTo>
                  <a:lnTo>
                    <a:pt x="170" y="131"/>
                  </a:lnTo>
                  <a:lnTo>
                    <a:pt x="185" y="144"/>
                  </a:lnTo>
                  <a:lnTo>
                    <a:pt x="187" y="171"/>
                  </a:lnTo>
                  <a:lnTo>
                    <a:pt x="160" y="201"/>
                  </a:lnTo>
                  <a:lnTo>
                    <a:pt x="115" y="211"/>
                  </a:lnTo>
                  <a:lnTo>
                    <a:pt x="105" y="226"/>
                  </a:lnTo>
                  <a:lnTo>
                    <a:pt x="123" y="243"/>
                  </a:lnTo>
                  <a:lnTo>
                    <a:pt x="160" y="233"/>
                  </a:lnTo>
                  <a:lnTo>
                    <a:pt x="197" y="263"/>
                  </a:lnTo>
                  <a:lnTo>
                    <a:pt x="247" y="288"/>
                  </a:lnTo>
                  <a:lnTo>
                    <a:pt x="230" y="248"/>
                  </a:lnTo>
                  <a:lnTo>
                    <a:pt x="264" y="270"/>
                  </a:lnTo>
                  <a:lnTo>
                    <a:pt x="275" y="246"/>
                  </a:lnTo>
                  <a:lnTo>
                    <a:pt x="267" y="215"/>
                  </a:lnTo>
                  <a:lnTo>
                    <a:pt x="242" y="211"/>
                  </a:lnTo>
                  <a:lnTo>
                    <a:pt x="245" y="182"/>
                  </a:lnTo>
                  <a:lnTo>
                    <a:pt x="258" y="178"/>
                  </a:lnTo>
                  <a:lnTo>
                    <a:pt x="297" y="218"/>
                  </a:lnTo>
                  <a:lnTo>
                    <a:pt x="312" y="193"/>
                  </a:lnTo>
                  <a:lnTo>
                    <a:pt x="322" y="176"/>
                  </a:lnTo>
                  <a:lnTo>
                    <a:pt x="297" y="159"/>
                  </a:lnTo>
                  <a:lnTo>
                    <a:pt x="270" y="151"/>
                  </a:lnTo>
                  <a:lnTo>
                    <a:pt x="250" y="123"/>
                  </a:lnTo>
                  <a:lnTo>
                    <a:pt x="264" y="106"/>
                  </a:lnTo>
                  <a:lnTo>
                    <a:pt x="253" y="84"/>
                  </a:lnTo>
                  <a:lnTo>
                    <a:pt x="212" y="67"/>
                  </a:lnTo>
                  <a:lnTo>
                    <a:pt x="187" y="54"/>
                  </a:lnTo>
                  <a:lnTo>
                    <a:pt x="168" y="22"/>
                  </a:lnTo>
                  <a:lnTo>
                    <a:pt x="117" y="27"/>
                  </a:lnTo>
                  <a:lnTo>
                    <a:pt x="103" y="47"/>
                  </a:lnTo>
                  <a:lnTo>
                    <a:pt x="109" y="2"/>
                  </a:lnTo>
                  <a:lnTo>
                    <a:pt x="75" y="0"/>
                  </a:lnTo>
                  <a:lnTo>
                    <a:pt x="58" y="22"/>
                  </a:lnTo>
                  <a:lnTo>
                    <a:pt x="55" y="40"/>
                  </a:lnTo>
                  <a:lnTo>
                    <a:pt x="37" y="36"/>
                  </a:lnTo>
                  <a:lnTo>
                    <a:pt x="47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8" name="Freeform 85">
              <a:extLst>
                <a:ext uri="{FF2B5EF4-FFF2-40B4-BE49-F238E27FC236}">
                  <a16:creationId xmlns:a16="http://schemas.microsoft.com/office/drawing/2014/main" xmlns="" id="{AB1EE92B-4BB8-4B77-8C6C-52986AADA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0504" y="2405058"/>
              <a:ext cx="35665" cy="40432"/>
            </a:xfrm>
            <a:custGeom>
              <a:avLst/>
              <a:gdLst>
                <a:gd name="T0" fmla="*/ 3 w 27"/>
                <a:gd name="T1" fmla="*/ 29 h 30"/>
                <a:gd name="T2" fmla="*/ 2 w 27"/>
                <a:gd name="T3" fmla="*/ 29 h 30"/>
                <a:gd name="T4" fmla="*/ 1 w 27"/>
                <a:gd name="T5" fmla="*/ 28 h 30"/>
                <a:gd name="T6" fmla="*/ 0 w 27"/>
                <a:gd name="T7" fmla="*/ 28 h 30"/>
                <a:gd name="T8" fmla="*/ 0 w 27"/>
                <a:gd name="T9" fmla="*/ 27 h 30"/>
                <a:gd name="T10" fmla="*/ 1 w 27"/>
                <a:gd name="T11" fmla="*/ 25 h 30"/>
                <a:gd name="T12" fmla="*/ 2 w 27"/>
                <a:gd name="T13" fmla="*/ 24 h 30"/>
                <a:gd name="T14" fmla="*/ 2 w 27"/>
                <a:gd name="T15" fmla="*/ 22 h 30"/>
                <a:gd name="T16" fmla="*/ 3 w 27"/>
                <a:gd name="T17" fmla="*/ 20 h 30"/>
                <a:gd name="T18" fmla="*/ 3 w 27"/>
                <a:gd name="T19" fmla="*/ 18 h 30"/>
                <a:gd name="T20" fmla="*/ 3 w 27"/>
                <a:gd name="T21" fmla="*/ 17 h 30"/>
                <a:gd name="T22" fmla="*/ 3 w 27"/>
                <a:gd name="T23" fmla="*/ 14 h 30"/>
                <a:gd name="T24" fmla="*/ 3 w 27"/>
                <a:gd name="T25" fmla="*/ 12 h 30"/>
                <a:gd name="T26" fmla="*/ 4 w 27"/>
                <a:gd name="T27" fmla="*/ 11 h 30"/>
                <a:gd name="T28" fmla="*/ 4 w 27"/>
                <a:gd name="T29" fmla="*/ 10 h 30"/>
                <a:gd name="T30" fmla="*/ 5 w 27"/>
                <a:gd name="T31" fmla="*/ 7 h 30"/>
                <a:gd name="T32" fmla="*/ 6 w 27"/>
                <a:gd name="T33" fmla="*/ 7 h 30"/>
                <a:gd name="T34" fmla="*/ 7 w 27"/>
                <a:gd name="T35" fmla="*/ 5 h 30"/>
                <a:gd name="T36" fmla="*/ 7 w 27"/>
                <a:gd name="T37" fmla="*/ 4 h 30"/>
                <a:gd name="T38" fmla="*/ 9 w 27"/>
                <a:gd name="T39" fmla="*/ 3 h 30"/>
                <a:gd name="T40" fmla="*/ 10 w 27"/>
                <a:gd name="T41" fmla="*/ 2 h 30"/>
                <a:gd name="T42" fmla="*/ 11 w 27"/>
                <a:gd name="T43" fmla="*/ 2 h 30"/>
                <a:gd name="T44" fmla="*/ 12 w 27"/>
                <a:gd name="T45" fmla="*/ 1 h 30"/>
                <a:gd name="T46" fmla="*/ 14 w 27"/>
                <a:gd name="T47" fmla="*/ 1 h 30"/>
                <a:gd name="T48" fmla="*/ 15 w 27"/>
                <a:gd name="T49" fmla="*/ 0 h 30"/>
                <a:gd name="T50" fmla="*/ 16 w 27"/>
                <a:gd name="T51" fmla="*/ 1 h 30"/>
                <a:gd name="T52" fmla="*/ 18 w 27"/>
                <a:gd name="T53" fmla="*/ 1 h 30"/>
                <a:gd name="T54" fmla="*/ 19 w 27"/>
                <a:gd name="T55" fmla="*/ 2 h 30"/>
                <a:gd name="T56" fmla="*/ 21 w 27"/>
                <a:gd name="T57" fmla="*/ 2 h 30"/>
                <a:gd name="T58" fmla="*/ 23 w 27"/>
                <a:gd name="T59" fmla="*/ 3 h 30"/>
                <a:gd name="T60" fmla="*/ 23 w 27"/>
                <a:gd name="T61" fmla="*/ 4 h 30"/>
                <a:gd name="T62" fmla="*/ 23 w 27"/>
                <a:gd name="T63" fmla="*/ 5 h 30"/>
                <a:gd name="T64" fmla="*/ 24 w 27"/>
                <a:gd name="T65" fmla="*/ 7 h 30"/>
                <a:gd name="T66" fmla="*/ 25 w 27"/>
                <a:gd name="T67" fmla="*/ 7 h 30"/>
                <a:gd name="T68" fmla="*/ 26 w 27"/>
                <a:gd name="T69" fmla="*/ 10 h 30"/>
                <a:gd name="T70" fmla="*/ 26 w 27"/>
                <a:gd name="T71" fmla="*/ 11 h 30"/>
                <a:gd name="T72" fmla="*/ 26 w 27"/>
                <a:gd name="T73" fmla="*/ 12 h 30"/>
                <a:gd name="T74" fmla="*/ 26 w 27"/>
                <a:gd name="T75" fmla="*/ 14 h 30"/>
                <a:gd name="T76" fmla="*/ 25 w 27"/>
                <a:gd name="T77" fmla="*/ 17 h 30"/>
                <a:gd name="T78" fmla="*/ 23 w 27"/>
                <a:gd name="T79" fmla="*/ 18 h 30"/>
                <a:gd name="T80" fmla="*/ 22 w 27"/>
                <a:gd name="T81" fmla="*/ 20 h 30"/>
                <a:gd name="T82" fmla="*/ 19 w 27"/>
                <a:gd name="T83" fmla="*/ 22 h 30"/>
                <a:gd name="T84" fmla="*/ 16 w 27"/>
                <a:gd name="T85" fmla="*/ 24 h 30"/>
                <a:gd name="T86" fmla="*/ 15 w 27"/>
                <a:gd name="T87" fmla="*/ 25 h 30"/>
                <a:gd name="T88" fmla="*/ 11 w 27"/>
                <a:gd name="T89" fmla="*/ 27 h 30"/>
                <a:gd name="T90" fmla="*/ 9 w 27"/>
                <a:gd name="T91" fmla="*/ 28 h 30"/>
                <a:gd name="T92" fmla="*/ 7 w 27"/>
                <a:gd name="T93" fmla="*/ 28 h 30"/>
                <a:gd name="T94" fmla="*/ 4 w 27"/>
                <a:gd name="T95" fmla="*/ 29 h 30"/>
                <a:gd name="T96" fmla="*/ 3 w 27"/>
                <a:gd name="T97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" h="30">
                  <a:moveTo>
                    <a:pt x="3" y="29"/>
                  </a:moveTo>
                  <a:lnTo>
                    <a:pt x="2" y="29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1" y="25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4"/>
                  </a:lnTo>
                  <a:lnTo>
                    <a:pt x="3" y="12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5"/>
                  </a:lnTo>
                  <a:lnTo>
                    <a:pt x="7" y="4"/>
                  </a:lnTo>
                  <a:lnTo>
                    <a:pt x="9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2" y="1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6" y="10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6" y="14"/>
                  </a:lnTo>
                  <a:lnTo>
                    <a:pt x="25" y="17"/>
                  </a:lnTo>
                  <a:lnTo>
                    <a:pt x="23" y="18"/>
                  </a:lnTo>
                  <a:lnTo>
                    <a:pt x="22" y="20"/>
                  </a:lnTo>
                  <a:lnTo>
                    <a:pt x="19" y="22"/>
                  </a:lnTo>
                  <a:lnTo>
                    <a:pt x="16" y="24"/>
                  </a:lnTo>
                  <a:lnTo>
                    <a:pt x="15" y="25"/>
                  </a:lnTo>
                  <a:lnTo>
                    <a:pt x="11" y="27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4" y="29"/>
                  </a:lnTo>
                  <a:lnTo>
                    <a:pt x="3" y="2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9" name="Freeform 86">
              <a:extLst>
                <a:ext uri="{FF2B5EF4-FFF2-40B4-BE49-F238E27FC236}">
                  <a16:creationId xmlns:a16="http://schemas.microsoft.com/office/drawing/2014/main" xmlns="" id="{0BAA9CC8-25D8-4AED-829F-F25F4A174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294" y="2351545"/>
              <a:ext cx="20210" cy="40432"/>
            </a:xfrm>
            <a:custGeom>
              <a:avLst/>
              <a:gdLst>
                <a:gd name="T0" fmla="*/ 7 w 15"/>
                <a:gd name="T1" fmla="*/ 30 h 31"/>
                <a:gd name="T2" fmla="*/ 6 w 15"/>
                <a:gd name="T3" fmla="*/ 30 h 31"/>
                <a:gd name="T4" fmla="*/ 4 w 15"/>
                <a:gd name="T5" fmla="*/ 29 h 31"/>
                <a:gd name="T6" fmla="*/ 4 w 15"/>
                <a:gd name="T7" fmla="*/ 27 h 31"/>
                <a:gd name="T8" fmla="*/ 3 w 15"/>
                <a:gd name="T9" fmla="*/ 26 h 31"/>
                <a:gd name="T10" fmla="*/ 2 w 15"/>
                <a:gd name="T11" fmla="*/ 26 h 31"/>
                <a:gd name="T12" fmla="*/ 2 w 15"/>
                <a:gd name="T13" fmla="*/ 24 h 31"/>
                <a:gd name="T14" fmla="*/ 2 w 15"/>
                <a:gd name="T15" fmla="*/ 22 h 31"/>
                <a:gd name="T16" fmla="*/ 1 w 15"/>
                <a:gd name="T17" fmla="*/ 20 h 31"/>
                <a:gd name="T18" fmla="*/ 1 w 15"/>
                <a:gd name="T19" fmla="*/ 19 h 31"/>
                <a:gd name="T20" fmla="*/ 1 w 15"/>
                <a:gd name="T21" fmla="*/ 17 h 31"/>
                <a:gd name="T22" fmla="*/ 0 w 15"/>
                <a:gd name="T23" fmla="*/ 14 h 31"/>
                <a:gd name="T24" fmla="*/ 1 w 15"/>
                <a:gd name="T25" fmla="*/ 13 h 31"/>
                <a:gd name="T26" fmla="*/ 1 w 15"/>
                <a:gd name="T27" fmla="*/ 11 h 31"/>
                <a:gd name="T28" fmla="*/ 1 w 15"/>
                <a:gd name="T29" fmla="*/ 10 h 31"/>
                <a:gd name="T30" fmla="*/ 2 w 15"/>
                <a:gd name="T31" fmla="*/ 7 h 31"/>
                <a:gd name="T32" fmla="*/ 2 w 15"/>
                <a:gd name="T33" fmla="*/ 6 h 31"/>
                <a:gd name="T34" fmla="*/ 2 w 15"/>
                <a:gd name="T35" fmla="*/ 4 h 31"/>
                <a:gd name="T36" fmla="*/ 3 w 15"/>
                <a:gd name="T37" fmla="*/ 4 h 31"/>
                <a:gd name="T38" fmla="*/ 4 w 15"/>
                <a:gd name="T39" fmla="*/ 3 h 31"/>
                <a:gd name="T40" fmla="*/ 4 w 15"/>
                <a:gd name="T41" fmla="*/ 2 h 31"/>
                <a:gd name="T42" fmla="*/ 6 w 15"/>
                <a:gd name="T43" fmla="*/ 1 h 31"/>
                <a:gd name="T44" fmla="*/ 7 w 15"/>
                <a:gd name="T45" fmla="*/ 1 h 31"/>
                <a:gd name="T46" fmla="*/ 7 w 15"/>
                <a:gd name="T47" fmla="*/ 0 h 31"/>
                <a:gd name="T48" fmla="*/ 8 w 15"/>
                <a:gd name="T49" fmla="*/ 1 h 31"/>
                <a:gd name="T50" fmla="*/ 9 w 15"/>
                <a:gd name="T51" fmla="*/ 1 h 31"/>
                <a:gd name="T52" fmla="*/ 11 w 15"/>
                <a:gd name="T53" fmla="*/ 2 h 31"/>
                <a:gd name="T54" fmla="*/ 11 w 15"/>
                <a:gd name="T55" fmla="*/ 3 h 31"/>
                <a:gd name="T56" fmla="*/ 12 w 15"/>
                <a:gd name="T57" fmla="*/ 4 h 31"/>
                <a:gd name="T58" fmla="*/ 13 w 15"/>
                <a:gd name="T59" fmla="*/ 6 h 31"/>
                <a:gd name="T60" fmla="*/ 13 w 15"/>
                <a:gd name="T61" fmla="*/ 7 h 31"/>
                <a:gd name="T62" fmla="*/ 14 w 15"/>
                <a:gd name="T63" fmla="*/ 10 h 31"/>
                <a:gd name="T64" fmla="*/ 14 w 15"/>
                <a:gd name="T65" fmla="*/ 11 h 31"/>
                <a:gd name="T66" fmla="*/ 14 w 15"/>
                <a:gd name="T67" fmla="*/ 13 h 31"/>
                <a:gd name="T68" fmla="*/ 14 w 15"/>
                <a:gd name="T69" fmla="*/ 14 h 31"/>
                <a:gd name="T70" fmla="*/ 14 w 15"/>
                <a:gd name="T71" fmla="*/ 17 h 31"/>
                <a:gd name="T72" fmla="*/ 14 w 15"/>
                <a:gd name="T73" fmla="*/ 19 h 31"/>
                <a:gd name="T74" fmla="*/ 14 w 15"/>
                <a:gd name="T75" fmla="*/ 20 h 31"/>
                <a:gd name="T76" fmla="*/ 13 w 15"/>
                <a:gd name="T77" fmla="*/ 22 h 31"/>
                <a:gd name="T78" fmla="*/ 13 w 15"/>
                <a:gd name="T79" fmla="*/ 24 h 31"/>
                <a:gd name="T80" fmla="*/ 12 w 15"/>
                <a:gd name="T81" fmla="*/ 26 h 31"/>
                <a:gd name="T82" fmla="*/ 11 w 15"/>
                <a:gd name="T83" fmla="*/ 27 h 31"/>
                <a:gd name="T84" fmla="*/ 11 w 15"/>
                <a:gd name="T85" fmla="*/ 29 h 31"/>
                <a:gd name="T86" fmla="*/ 9 w 15"/>
                <a:gd name="T87" fmla="*/ 30 h 31"/>
                <a:gd name="T88" fmla="*/ 8 w 15"/>
                <a:gd name="T89" fmla="*/ 30 h 31"/>
                <a:gd name="T90" fmla="*/ 7 w 15"/>
                <a:gd name="T9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" h="31">
                  <a:moveTo>
                    <a:pt x="7" y="30"/>
                  </a:moveTo>
                  <a:lnTo>
                    <a:pt x="6" y="30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7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9" y="1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2" y="4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7"/>
                  </a:lnTo>
                  <a:lnTo>
                    <a:pt x="14" y="19"/>
                  </a:lnTo>
                  <a:lnTo>
                    <a:pt x="14" y="20"/>
                  </a:lnTo>
                  <a:lnTo>
                    <a:pt x="13" y="22"/>
                  </a:lnTo>
                  <a:lnTo>
                    <a:pt x="13" y="24"/>
                  </a:lnTo>
                  <a:lnTo>
                    <a:pt x="12" y="26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7" y="3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0" name="Freeform 87">
              <a:extLst>
                <a:ext uri="{FF2B5EF4-FFF2-40B4-BE49-F238E27FC236}">
                  <a16:creationId xmlns:a16="http://schemas.microsoft.com/office/drawing/2014/main" xmlns="" id="{EA5DFE79-F226-4BF8-84F7-B2061DF59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691" y="2493058"/>
              <a:ext cx="78463" cy="68973"/>
            </a:xfrm>
            <a:custGeom>
              <a:avLst/>
              <a:gdLst>
                <a:gd name="T0" fmla="*/ 26 w 59"/>
                <a:gd name="T1" fmla="*/ 0 h 51"/>
                <a:gd name="T2" fmla="*/ 50 w 59"/>
                <a:gd name="T3" fmla="*/ 8 h 51"/>
                <a:gd name="T4" fmla="*/ 58 w 59"/>
                <a:gd name="T5" fmla="*/ 23 h 51"/>
                <a:gd name="T6" fmla="*/ 38 w 59"/>
                <a:gd name="T7" fmla="*/ 31 h 51"/>
                <a:gd name="T8" fmla="*/ 15 w 59"/>
                <a:gd name="T9" fmla="*/ 50 h 51"/>
                <a:gd name="T10" fmla="*/ 0 w 59"/>
                <a:gd name="T11" fmla="*/ 31 h 51"/>
                <a:gd name="T12" fmla="*/ 3 w 59"/>
                <a:gd name="T13" fmla="*/ 10 h 51"/>
                <a:gd name="T14" fmla="*/ 26 w 59"/>
                <a:gd name="T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51">
                  <a:moveTo>
                    <a:pt x="26" y="0"/>
                  </a:moveTo>
                  <a:lnTo>
                    <a:pt x="50" y="8"/>
                  </a:lnTo>
                  <a:lnTo>
                    <a:pt x="58" y="23"/>
                  </a:lnTo>
                  <a:lnTo>
                    <a:pt x="38" y="31"/>
                  </a:lnTo>
                  <a:lnTo>
                    <a:pt x="15" y="50"/>
                  </a:lnTo>
                  <a:lnTo>
                    <a:pt x="0" y="31"/>
                  </a:lnTo>
                  <a:lnTo>
                    <a:pt x="3" y="10"/>
                  </a:lnTo>
                  <a:lnTo>
                    <a:pt x="26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1" name="Freeform 88">
              <a:extLst>
                <a:ext uri="{FF2B5EF4-FFF2-40B4-BE49-F238E27FC236}">
                  <a16:creationId xmlns:a16="http://schemas.microsoft.com/office/drawing/2014/main" xmlns="" id="{58E421E9-3098-4554-B6A4-F52763FC7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968" y="2106574"/>
              <a:ext cx="93917" cy="61837"/>
            </a:xfrm>
            <a:custGeom>
              <a:avLst/>
              <a:gdLst>
                <a:gd name="T0" fmla="*/ 30 w 71"/>
                <a:gd name="T1" fmla="*/ 18 h 46"/>
                <a:gd name="T2" fmla="*/ 50 w 71"/>
                <a:gd name="T3" fmla="*/ 5 h 46"/>
                <a:gd name="T4" fmla="*/ 70 w 71"/>
                <a:gd name="T5" fmla="*/ 7 h 46"/>
                <a:gd name="T6" fmla="*/ 68 w 71"/>
                <a:gd name="T7" fmla="*/ 37 h 46"/>
                <a:gd name="T8" fmla="*/ 26 w 71"/>
                <a:gd name="T9" fmla="*/ 45 h 46"/>
                <a:gd name="T10" fmla="*/ 13 w 71"/>
                <a:gd name="T11" fmla="*/ 30 h 46"/>
                <a:gd name="T12" fmla="*/ 0 w 71"/>
                <a:gd name="T13" fmla="*/ 10 h 46"/>
                <a:gd name="T14" fmla="*/ 10 w 71"/>
                <a:gd name="T15" fmla="*/ 0 h 46"/>
                <a:gd name="T16" fmla="*/ 22 w 71"/>
                <a:gd name="T17" fmla="*/ 1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6">
                  <a:moveTo>
                    <a:pt x="30" y="18"/>
                  </a:moveTo>
                  <a:lnTo>
                    <a:pt x="50" y="5"/>
                  </a:lnTo>
                  <a:lnTo>
                    <a:pt x="70" y="7"/>
                  </a:lnTo>
                  <a:lnTo>
                    <a:pt x="68" y="37"/>
                  </a:lnTo>
                  <a:lnTo>
                    <a:pt x="26" y="45"/>
                  </a:lnTo>
                  <a:lnTo>
                    <a:pt x="13" y="30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22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2" name="Freeform 89">
              <a:extLst>
                <a:ext uri="{FF2B5EF4-FFF2-40B4-BE49-F238E27FC236}">
                  <a16:creationId xmlns:a16="http://schemas.microsoft.com/office/drawing/2014/main" xmlns="" id="{23068D4B-6045-4B09-B8F4-29EEC793D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040" y="2024520"/>
              <a:ext cx="47553" cy="49946"/>
            </a:xfrm>
            <a:custGeom>
              <a:avLst/>
              <a:gdLst>
                <a:gd name="T0" fmla="*/ 0 w 36"/>
                <a:gd name="T1" fmla="*/ 7 h 37"/>
                <a:gd name="T2" fmla="*/ 0 w 36"/>
                <a:gd name="T3" fmla="*/ 25 h 37"/>
                <a:gd name="T4" fmla="*/ 13 w 36"/>
                <a:gd name="T5" fmla="*/ 36 h 37"/>
                <a:gd name="T6" fmla="*/ 27 w 36"/>
                <a:gd name="T7" fmla="*/ 34 h 37"/>
                <a:gd name="T8" fmla="*/ 35 w 36"/>
                <a:gd name="T9" fmla="*/ 17 h 37"/>
                <a:gd name="T10" fmla="*/ 23 w 36"/>
                <a:gd name="T11" fmla="*/ 0 h 37"/>
                <a:gd name="T12" fmla="*/ 0 w 36"/>
                <a:gd name="T13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7">
                  <a:moveTo>
                    <a:pt x="0" y="7"/>
                  </a:moveTo>
                  <a:lnTo>
                    <a:pt x="0" y="25"/>
                  </a:lnTo>
                  <a:lnTo>
                    <a:pt x="13" y="36"/>
                  </a:lnTo>
                  <a:lnTo>
                    <a:pt x="27" y="34"/>
                  </a:lnTo>
                  <a:lnTo>
                    <a:pt x="35" y="17"/>
                  </a:lnTo>
                  <a:lnTo>
                    <a:pt x="23" y="0"/>
                  </a:lnTo>
                  <a:lnTo>
                    <a:pt x="0" y="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3" name="Freeform 90">
              <a:extLst>
                <a:ext uri="{FF2B5EF4-FFF2-40B4-BE49-F238E27FC236}">
                  <a16:creationId xmlns:a16="http://schemas.microsoft.com/office/drawing/2014/main" xmlns="" id="{32064742-5D47-4168-81B5-2CE0F829C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3718" y="1974575"/>
              <a:ext cx="33287" cy="27351"/>
            </a:xfrm>
            <a:custGeom>
              <a:avLst/>
              <a:gdLst>
                <a:gd name="T0" fmla="*/ 2 w 25"/>
                <a:gd name="T1" fmla="*/ 0 h 21"/>
                <a:gd name="T2" fmla="*/ 0 w 25"/>
                <a:gd name="T3" fmla="*/ 20 h 21"/>
                <a:gd name="T4" fmla="*/ 19 w 25"/>
                <a:gd name="T5" fmla="*/ 20 h 21"/>
                <a:gd name="T6" fmla="*/ 24 w 25"/>
                <a:gd name="T7" fmla="*/ 5 h 21"/>
                <a:gd name="T8" fmla="*/ 2 w 2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2" y="0"/>
                  </a:moveTo>
                  <a:lnTo>
                    <a:pt x="0" y="20"/>
                  </a:lnTo>
                  <a:lnTo>
                    <a:pt x="19" y="20"/>
                  </a:lnTo>
                  <a:lnTo>
                    <a:pt x="24" y="5"/>
                  </a:lnTo>
                  <a:lnTo>
                    <a:pt x="2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4" name="Freeform 91">
              <a:extLst>
                <a:ext uri="{FF2B5EF4-FFF2-40B4-BE49-F238E27FC236}">
                  <a16:creationId xmlns:a16="http://schemas.microsoft.com/office/drawing/2014/main" xmlns="" id="{CF3C0F00-5686-426D-99C3-5DCB8731A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2670" y="1931764"/>
              <a:ext cx="110561" cy="117729"/>
            </a:xfrm>
            <a:custGeom>
              <a:avLst/>
              <a:gdLst>
                <a:gd name="T0" fmla="*/ 27 w 83"/>
                <a:gd name="T1" fmla="*/ 0 h 89"/>
                <a:gd name="T2" fmla="*/ 15 w 83"/>
                <a:gd name="T3" fmla="*/ 18 h 89"/>
                <a:gd name="T4" fmla="*/ 0 w 83"/>
                <a:gd name="T5" fmla="*/ 35 h 89"/>
                <a:gd name="T6" fmla="*/ 2 w 83"/>
                <a:gd name="T7" fmla="*/ 56 h 89"/>
                <a:gd name="T8" fmla="*/ 20 w 83"/>
                <a:gd name="T9" fmla="*/ 56 h 89"/>
                <a:gd name="T10" fmla="*/ 17 w 83"/>
                <a:gd name="T11" fmla="*/ 67 h 89"/>
                <a:gd name="T12" fmla="*/ 22 w 83"/>
                <a:gd name="T13" fmla="*/ 83 h 89"/>
                <a:gd name="T14" fmla="*/ 67 w 83"/>
                <a:gd name="T15" fmla="*/ 88 h 89"/>
                <a:gd name="T16" fmla="*/ 80 w 83"/>
                <a:gd name="T17" fmla="*/ 70 h 89"/>
                <a:gd name="T18" fmla="*/ 82 w 83"/>
                <a:gd name="T19" fmla="*/ 43 h 89"/>
                <a:gd name="T20" fmla="*/ 65 w 83"/>
                <a:gd name="T21" fmla="*/ 20 h 89"/>
                <a:gd name="T22" fmla="*/ 27 w 83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89">
                  <a:moveTo>
                    <a:pt x="27" y="0"/>
                  </a:moveTo>
                  <a:lnTo>
                    <a:pt x="15" y="18"/>
                  </a:lnTo>
                  <a:lnTo>
                    <a:pt x="0" y="35"/>
                  </a:lnTo>
                  <a:lnTo>
                    <a:pt x="2" y="56"/>
                  </a:lnTo>
                  <a:lnTo>
                    <a:pt x="20" y="56"/>
                  </a:lnTo>
                  <a:lnTo>
                    <a:pt x="17" y="67"/>
                  </a:lnTo>
                  <a:lnTo>
                    <a:pt x="22" y="83"/>
                  </a:lnTo>
                  <a:lnTo>
                    <a:pt x="67" y="88"/>
                  </a:lnTo>
                  <a:lnTo>
                    <a:pt x="80" y="70"/>
                  </a:lnTo>
                  <a:lnTo>
                    <a:pt x="82" y="43"/>
                  </a:lnTo>
                  <a:lnTo>
                    <a:pt x="65" y="20"/>
                  </a:lnTo>
                  <a:lnTo>
                    <a:pt x="27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5" name="Freeform 92">
              <a:extLst>
                <a:ext uri="{FF2B5EF4-FFF2-40B4-BE49-F238E27FC236}">
                  <a16:creationId xmlns:a16="http://schemas.microsoft.com/office/drawing/2014/main" xmlns="" id="{C581E28A-C3A5-4941-9EF1-30494AEEE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6866" y="1863981"/>
              <a:ext cx="469587" cy="268755"/>
            </a:xfrm>
            <a:custGeom>
              <a:avLst/>
              <a:gdLst>
                <a:gd name="T0" fmla="*/ 27 w 353"/>
                <a:gd name="T1" fmla="*/ 37 h 201"/>
                <a:gd name="T2" fmla="*/ 34 w 353"/>
                <a:gd name="T3" fmla="*/ 53 h 201"/>
                <a:gd name="T4" fmla="*/ 47 w 353"/>
                <a:gd name="T5" fmla="*/ 68 h 201"/>
                <a:gd name="T6" fmla="*/ 59 w 353"/>
                <a:gd name="T7" fmla="*/ 72 h 201"/>
                <a:gd name="T8" fmla="*/ 85 w 353"/>
                <a:gd name="T9" fmla="*/ 80 h 201"/>
                <a:gd name="T10" fmla="*/ 107 w 353"/>
                <a:gd name="T11" fmla="*/ 69 h 201"/>
                <a:gd name="T12" fmla="*/ 137 w 353"/>
                <a:gd name="T13" fmla="*/ 62 h 201"/>
                <a:gd name="T14" fmla="*/ 148 w 353"/>
                <a:gd name="T15" fmla="*/ 58 h 201"/>
                <a:gd name="T16" fmla="*/ 148 w 353"/>
                <a:gd name="T17" fmla="*/ 75 h 201"/>
                <a:gd name="T18" fmla="*/ 115 w 353"/>
                <a:gd name="T19" fmla="*/ 82 h 201"/>
                <a:gd name="T20" fmla="*/ 95 w 353"/>
                <a:gd name="T21" fmla="*/ 92 h 201"/>
                <a:gd name="T22" fmla="*/ 112 w 353"/>
                <a:gd name="T23" fmla="*/ 100 h 201"/>
                <a:gd name="T24" fmla="*/ 80 w 353"/>
                <a:gd name="T25" fmla="*/ 100 h 201"/>
                <a:gd name="T26" fmla="*/ 64 w 353"/>
                <a:gd name="T27" fmla="*/ 90 h 201"/>
                <a:gd name="T28" fmla="*/ 62 w 353"/>
                <a:gd name="T29" fmla="*/ 109 h 201"/>
                <a:gd name="T30" fmla="*/ 75 w 353"/>
                <a:gd name="T31" fmla="*/ 127 h 201"/>
                <a:gd name="T32" fmla="*/ 59 w 353"/>
                <a:gd name="T33" fmla="*/ 140 h 201"/>
                <a:gd name="T34" fmla="*/ 47 w 353"/>
                <a:gd name="T35" fmla="*/ 149 h 201"/>
                <a:gd name="T36" fmla="*/ 32 w 353"/>
                <a:gd name="T37" fmla="*/ 160 h 201"/>
                <a:gd name="T38" fmla="*/ 25 w 353"/>
                <a:gd name="T39" fmla="*/ 172 h 201"/>
                <a:gd name="T40" fmla="*/ 0 w 353"/>
                <a:gd name="T41" fmla="*/ 167 h 201"/>
                <a:gd name="T42" fmla="*/ 12 w 353"/>
                <a:gd name="T43" fmla="*/ 189 h 201"/>
                <a:gd name="T44" fmla="*/ 81 w 353"/>
                <a:gd name="T45" fmla="*/ 200 h 201"/>
                <a:gd name="T46" fmla="*/ 121 w 353"/>
                <a:gd name="T47" fmla="*/ 192 h 201"/>
                <a:gd name="T48" fmla="*/ 140 w 353"/>
                <a:gd name="T49" fmla="*/ 172 h 201"/>
                <a:gd name="T50" fmla="*/ 125 w 353"/>
                <a:gd name="T51" fmla="*/ 153 h 201"/>
                <a:gd name="T52" fmla="*/ 140 w 353"/>
                <a:gd name="T53" fmla="*/ 147 h 201"/>
                <a:gd name="T54" fmla="*/ 157 w 353"/>
                <a:gd name="T55" fmla="*/ 142 h 201"/>
                <a:gd name="T56" fmla="*/ 182 w 353"/>
                <a:gd name="T57" fmla="*/ 117 h 201"/>
                <a:gd name="T58" fmla="*/ 189 w 353"/>
                <a:gd name="T59" fmla="*/ 105 h 201"/>
                <a:gd name="T60" fmla="*/ 210 w 353"/>
                <a:gd name="T61" fmla="*/ 92 h 201"/>
                <a:gd name="T62" fmla="*/ 237 w 353"/>
                <a:gd name="T63" fmla="*/ 100 h 201"/>
                <a:gd name="T64" fmla="*/ 287 w 353"/>
                <a:gd name="T65" fmla="*/ 58 h 201"/>
                <a:gd name="T66" fmla="*/ 277 w 353"/>
                <a:gd name="T67" fmla="*/ 40 h 201"/>
                <a:gd name="T68" fmla="*/ 322 w 353"/>
                <a:gd name="T69" fmla="*/ 32 h 201"/>
                <a:gd name="T70" fmla="*/ 352 w 353"/>
                <a:gd name="T71" fmla="*/ 20 h 201"/>
                <a:gd name="T72" fmla="*/ 335 w 353"/>
                <a:gd name="T73" fmla="*/ 3 h 201"/>
                <a:gd name="T74" fmla="*/ 305 w 353"/>
                <a:gd name="T75" fmla="*/ 3 h 201"/>
                <a:gd name="T76" fmla="*/ 230 w 353"/>
                <a:gd name="T77" fmla="*/ 0 h 201"/>
                <a:gd name="T78" fmla="*/ 204 w 353"/>
                <a:gd name="T79" fmla="*/ 20 h 201"/>
                <a:gd name="T80" fmla="*/ 182 w 353"/>
                <a:gd name="T81" fmla="*/ 0 h 201"/>
                <a:gd name="T82" fmla="*/ 180 w 353"/>
                <a:gd name="T83" fmla="*/ 10 h 201"/>
                <a:gd name="T84" fmla="*/ 137 w 353"/>
                <a:gd name="T85" fmla="*/ 7 h 201"/>
                <a:gd name="T86" fmla="*/ 117 w 353"/>
                <a:gd name="T87" fmla="*/ 30 h 201"/>
                <a:gd name="T88" fmla="*/ 97 w 353"/>
                <a:gd name="T89" fmla="*/ 30 h 201"/>
                <a:gd name="T90" fmla="*/ 87 w 353"/>
                <a:gd name="T91" fmla="*/ 18 h 201"/>
                <a:gd name="T92" fmla="*/ 64 w 353"/>
                <a:gd name="T93" fmla="*/ 22 h 201"/>
                <a:gd name="T94" fmla="*/ 59 w 353"/>
                <a:gd name="T95" fmla="*/ 32 h 201"/>
                <a:gd name="T96" fmla="*/ 27 w 353"/>
                <a:gd name="T97" fmla="*/ 37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3" h="201">
                  <a:moveTo>
                    <a:pt x="27" y="37"/>
                  </a:moveTo>
                  <a:lnTo>
                    <a:pt x="34" y="53"/>
                  </a:lnTo>
                  <a:lnTo>
                    <a:pt x="47" y="68"/>
                  </a:lnTo>
                  <a:lnTo>
                    <a:pt x="59" y="72"/>
                  </a:lnTo>
                  <a:lnTo>
                    <a:pt x="85" y="80"/>
                  </a:lnTo>
                  <a:lnTo>
                    <a:pt x="107" y="69"/>
                  </a:lnTo>
                  <a:lnTo>
                    <a:pt x="137" y="62"/>
                  </a:lnTo>
                  <a:lnTo>
                    <a:pt x="148" y="58"/>
                  </a:lnTo>
                  <a:lnTo>
                    <a:pt x="148" y="75"/>
                  </a:lnTo>
                  <a:lnTo>
                    <a:pt x="115" y="82"/>
                  </a:lnTo>
                  <a:lnTo>
                    <a:pt x="95" y="92"/>
                  </a:lnTo>
                  <a:lnTo>
                    <a:pt x="112" y="100"/>
                  </a:lnTo>
                  <a:lnTo>
                    <a:pt x="80" y="100"/>
                  </a:lnTo>
                  <a:lnTo>
                    <a:pt x="64" y="90"/>
                  </a:lnTo>
                  <a:lnTo>
                    <a:pt x="62" y="109"/>
                  </a:lnTo>
                  <a:lnTo>
                    <a:pt x="75" y="127"/>
                  </a:lnTo>
                  <a:lnTo>
                    <a:pt x="59" y="140"/>
                  </a:lnTo>
                  <a:lnTo>
                    <a:pt x="47" y="149"/>
                  </a:lnTo>
                  <a:lnTo>
                    <a:pt x="32" y="160"/>
                  </a:lnTo>
                  <a:lnTo>
                    <a:pt x="25" y="172"/>
                  </a:lnTo>
                  <a:lnTo>
                    <a:pt x="0" y="167"/>
                  </a:lnTo>
                  <a:lnTo>
                    <a:pt x="12" y="189"/>
                  </a:lnTo>
                  <a:lnTo>
                    <a:pt x="81" y="200"/>
                  </a:lnTo>
                  <a:lnTo>
                    <a:pt x="121" y="192"/>
                  </a:lnTo>
                  <a:lnTo>
                    <a:pt x="140" y="172"/>
                  </a:lnTo>
                  <a:lnTo>
                    <a:pt x="125" y="153"/>
                  </a:lnTo>
                  <a:lnTo>
                    <a:pt x="140" y="147"/>
                  </a:lnTo>
                  <a:lnTo>
                    <a:pt x="157" y="142"/>
                  </a:lnTo>
                  <a:lnTo>
                    <a:pt x="182" y="117"/>
                  </a:lnTo>
                  <a:lnTo>
                    <a:pt x="189" y="105"/>
                  </a:lnTo>
                  <a:lnTo>
                    <a:pt x="210" y="92"/>
                  </a:lnTo>
                  <a:lnTo>
                    <a:pt x="237" y="100"/>
                  </a:lnTo>
                  <a:lnTo>
                    <a:pt x="287" y="58"/>
                  </a:lnTo>
                  <a:lnTo>
                    <a:pt x="277" y="40"/>
                  </a:lnTo>
                  <a:lnTo>
                    <a:pt x="322" y="32"/>
                  </a:lnTo>
                  <a:lnTo>
                    <a:pt x="352" y="20"/>
                  </a:lnTo>
                  <a:lnTo>
                    <a:pt x="335" y="3"/>
                  </a:lnTo>
                  <a:lnTo>
                    <a:pt x="305" y="3"/>
                  </a:lnTo>
                  <a:lnTo>
                    <a:pt x="230" y="0"/>
                  </a:lnTo>
                  <a:lnTo>
                    <a:pt x="204" y="20"/>
                  </a:lnTo>
                  <a:lnTo>
                    <a:pt x="182" y="0"/>
                  </a:lnTo>
                  <a:lnTo>
                    <a:pt x="180" y="10"/>
                  </a:lnTo>
                  <a:lnTo>
                    <a:pt x="137" y="7"/>
                  </a:lnTo>
                  <a:lnTo>
                    <a:pt x="117" y="30"/>
                  </a:lnTo>
                  <a:lnTo>
                    <a:pt x="97" y="30"/>
                  </a:lnTo>
                  <a:lnTo>
                    <a:pt x="87" y="18"/>
                  </a:lnTo>
                  <a:lnTo>
                    <a:pt x="64" y="22"/>
                  </a:lnTo>
                  <a:lnTo>
                    <a:pt x="59" y="32"/>
                  </a:lnTo>
                  <a:lnTo>
                    <a:pt x="27" y="3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6" name="Freeform 93">
              <a:extLst>
                <a:ext uri="{FF2B5EF4-FFF2-40B4-BE49-F238E27FC236}">
                  <a16:creationId xmlns:a16="http://schemas.microsoft.com/office/drawing/2014/main" xmlns="" id="{BD7FFE85-BACE-4AA3-9A5A-C40589D31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404" y="2089925"/>
              <a:ext cx="211611" cy="99891"/>
            </a:xfrm>
            <a:custGeom>
              <a:avLst/>
              <a:gdLst>
                <a:gd name="T0" fmla="*/ 20 w 160"/>
                <a:gd name="T1" fmla="*/ 0 h 75"/>
                <a:gd name="T2" fmla="*/ 0 w 160"/>
                <a:gd name="T3" fmla="*/ 18 h 75"/>
                <a:gd name="T4" fmla="*/ 13 w 160"/>
                <a:gd name="T5" fmla="*/ 35 h 75"/>
                <a:gd name="T6" fmla="*/ 35 w 160"/>
                <a:gd name="T7" fmla="*/ 61 h 75"/>
                <a:gd name="T8" fmla="*/ 57 w 160"/>
                <a:gd name="T9" fmla="*/ 71 h 75"/>
                <a:gd name="T10" fmla="*/ 122 w 160"/>
                <a:gd name="T11" fmla="*/ 64 h 75"/>
                <a:gd name="T12" fmla="*/ 159 w 160"/>
                <a:gd name="T13" fmla="*/ 74 h 75"/>
                <a:gd name="T14" fmla="*/ 155 w 160"/>
                <a:gd name="T15" fmla="*/ 46 h 75"/>
                <a:gd name="T16" fmla="*/ 101 w 160"/>
                <a:gd name="T17" fmla="*/ 43 h 75"/>
                <a:gd name="T18" fmla="*/ 54 w 160"/>
                <a:gd name="T19" fmla="*/ 31 h 75"/>
                <a:gd name="T20" fmla="*/ 47 w 160"/>
                <a:gd name="T21" fmla="*/ 3 h 75"/>
                <a:gd name="T22" fmla="*/ 20 w 160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75">
                  <a:moveTo>
                    <a:pt x="20" y="0"/>
                  </a:moveTo>
                  <a:lnTo>
                    <a:pt x="0" y="18"/>
                  </a:lnTo>
                  <a:lnTo>
                    <a:pt x="13" y="35"/>
                  </a:lnTo>
                  <a:lnTo>
                    <a:pt x="35" y="61"/>
                  </a:lnTo>
                  <a:lnTo>
                    <a:pt x="57" y="71"/>
                  </a:lnTo>
                  <a:lnTo>
                    <a:pt x="122" y="64"/>
                  </a:lnTo>
                  <a:lnTo>
                    <a:pt x="159" y="74"/>
                  </a:lnTo>
                  <a:lnTo>
                    <a:pt x="155" y="46"/>
                  </a:lnTo>
                  <a:lnTo>
                    <a:pt x="101" y="43"/>
                  </a:lnTo>
                  <a:lnTo>
                    <a:pt x="54" y="31"/>
                  </a:lnTo>
                  <a:lnTo>
                    <a:pt x="47" y="3"/>
                  </a:lnTo>
                  <a:lnTo>
                    <a:pt x="2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7" name="Freeform 94">
              <a:extLst>
                <a:ext uri="{FF2B5EF4-FFF2-40B4-BE49-F238E27FC236}">
                  <a16:creationId xmlns:a16="http://schemas.microsoft.com/office/drawing/2014/main" xmlns="" id="{8306DA35-8015-4A05-ACF2-C2477A207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8473" y="2147006"/>
              <a:ext cx="46364" cy="30919"/>
            </a:xfrm>
            <a:custGeom>
              <a:avLst/>
              <a:gdLst>
                <a:gd name="T0" fmla="*/ 13 w 34"/>
                <a:gd name="T1" fmla="*/ 0 h 23"/>
                <a:gd name="T2" fmla="*/ 0 w 34"/>
                <a:gd name="T3" fmla="*/ 15 h 23"/>
                <a:gd name="T4" fmla="*/ 18 w 34"/>
                <a:gd name="T5" fmla="*/ 22 h 23"/>
                <a:gd name="T6" fmla="*/ 33 w 34"/>
                <a:gd name="T7" fmla="*/ 15 h 23"/>
                <a:gd name="T8" fmla="*/ 30 w 34"/>
                <a:gd name="T9" fmla="*/ 2 h 23"/>
                <a:gd name="T10" fmla="*/ 13 w 34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23">
                  <a:moveTo>
                    <a:pt x="13" y="0"/>
                  </a:moveTo>
                  <a:lnTo>
                    <a:pt x="0" y="15"/>
                  </a:lnTo>
                  <a:lnTo>
                    <a:pt x="18" y="22"/>
                  </a:lnTo>
                  <a:lnTo>
                    <a:pt x="33" y="15"/>
                  </a:lnTo>
                  <a:lnTo>
                    <a:pt x="30" y="2"/>
                  </a:lnTo>
                  <a:lnTo>
                    <a:pt x="13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8" name="Freeform 95">
              <a:extLst>
                <a:ext uri="{FF2B5EF4-FFF2-40B4-BE49-F238E27FC236}">
                  <a16:creationId xmlns:a16="http://schemas.microsoft.com/office/drawing/2014/main" xmlns="" id="{688541E3-72AE-48DD-B38E-4F3DC9769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618" y="1834251"/>
              <a:ext cx="960572" cy="811022"/>
            </a:xfrm>
            <a:custGeom>
              <a:avLst/>
              <a:gdLst>
                <a:gd name="T0" fmla="*/ 138 w 720"/>
                <a:gd name="T1" fmla="*/ 83 h 608"/>
                <a:gd name="T2" fmla="*/ 93 w 720"/>
                <a:gd name="T3" fmla="*/ 123 h 608"/>
                <a:gd name="T4" fmla="*/ 31 w 720"/>
                <a:gd name="T5" fmla="*/ 155 h 608"/>
                <a:gd name="T6" fmla="*/ 3 w 720"/>
                <a:gd name="T7" fmla="*/ 175 h 608"/>
                <a:gd name="T8" fmla="*/ 65 w 720"/>
                <a:gd name="T9" fmla="*/ 187 h 608"/>
                <a:gd name="T10" fmla="*/ 20 w 720"/>
                <a:gd name="T11" fmla="*/ 195 h 608"/>
                <a:gd name="T12" fmla="*/ 143 w 720"/>
                <a:gd name="T13" fmla="*/ 220 h 608"/>
                <a:gd name="T14" fmla="*/ 180 w 720"/>
                <a:gd name="T15" fmla="*/ 285 h 608"/>
                <a:gd name="T16" fmla="*/ 190 w 720"/>
                <a:gd name="T17" fmla="*/ 342 h 608"/>
                <a:gd name="T18" fmla="*/ 219 w 720"/>
                <a:gd name="T19" fmla="*/ 354 h 608"/>
                <a:gd name="T20" fmla="*/ 227 w 720"/>
                <a:gd name="T21" fmla="*/ 377 h 608"/>
                <a:gd name="T22" fmla="*/ 195 w 720"/>
                <a:gd name="T23" fmla="*/ 422 h 608"/>
                <a:gd name="T24" fmla="*/ 200 w 720"/>
                <a:gd name="T25" fmla="*/ 490 h 608"/>
                <a:gd name="T26" fmla="*/ 240 w 720"/>
                <a:gd name="T27" fmla="*/ 582 h 608"/>
                <a:gd name="T28" fmla="*/ 278 w 720"/>
                <a:gd name="T29" fmla="*/ 607 h 608"/>
                <a:gd name="T30" fmla="*/ 325 w 720"/>
                <a:gd name="T31" fmla="*/ 540 h 608"/>
                <a:gd name="T32" fmla="*/ 345 w 720"/>
                <a:gd name="T33" fmla="*/ 485 h 608"/>
                <a:gd name="T34" fmla="*/ 433 w 720"/>
                <a:gd name="T35" fmla="*/ 465 h 608"/>
                <a:gd name="T36" fmla="*/ 510 w 720"/>
                <a:gd name="T37" fmla="*/ 425 h 608"/>
                <a:gd name="T38" fmla="*/ 581 w 720"/>
                <a:gd name="T39" fmla="*/ 367 h 608"/>
                <a:gd name="T40" fmla="*/ 525 w 720"/>
                <a:gd name="T41" fmla="*/ 354 h 608"/>
                <a:gd name="T42" fmla="*/ 548 w 720"/>
                <a:gd name="T43" fmla="*/ 332 h 608"/>
                <a:gd name="T44" fmla="*/ 588 w 720"/>
                <a:gd name="T45" fmla="*/ 358 h 608"/>
                <a:gd name="T46" fmla="*/ 586 w 720"/>
                <a:gd name="T47" fmla="*/ 318 h 608"/>
                <a:gd name="T48" fmla="*/ 561 w 720"/>
                <a:gd name="T49" fmla="*/ 290 h 608"/>
                <a:gd name="T50" fmla="*/ 588 w 720"/>
                <a:gd name="T51" fmla="*/ 298 h 608"/>
                <a:gd name="T52" fmla="*/ 616 w 720"/>
                <a:gd name="T53" fmla="*/ 280 h 608"/>
                <a:gd name="T54" fmla="*/ 626 w 720"/>
                <a:gd name="T55" fmla="*/ 267 h 608"/>
                <a:gd name="T56" fmla="*/ 646 w 720"/>
                <a:gd name="T57" fmla="*/ 237 h 608"/>
                <a:gd name="T58" fmla="*/ 621 w 720"/>
                <a:gd name="T59" fmla="*/ 210 h 608"/>
                <a:gd name="T60" fmla="*/ 643 w 720"/>
                <a:gd name="T61" fmla="*/ 195 h 608"/>
                <a:gd name="T62" fmla="*/ 598 w 720"/>
                <a:gd name="T63" fmla="*/ 168 h 608"/>
                <a:gd name="T64" fmla="*/ 631 w 720"/>
                <a:gd name="T65" fmla="*/ 128 h 608"/>
                <a:gd name="T66" fmla="*/ 618 w 720"/>
                <a:gd name="T67" fmla="*/ 105 h 608"/>
                <a:gd name="T68" fmla="*/ 651 w 720"/>
                <a:gd name="T69" fmla="*/ 95 h 608"/>
                <a:gd name="T70" fmla="*/ 719 w 720"/>
                <a:gd name="T71" fmla="*/ 63 h 608"/>
                <a:gd name="T72" fmla="*/ 624 w 720"/>
                <a:gd name="T73" fmla="*/ 68 h 608"/>
                <a:gd name="T74" fmla="*/ 601 w 720"/>
                <a:gd name="T75" fmla="*/ 50 h 608"/>
                <a:gd name="T76" fmla="*/ 553 w 720"/>
                <a:gd name="T77" fmla="*/ 45 h 608"/>
                <a:gd name="T78" fmla="*/ 518 w 720"/>
                <a:gd name="T79" fmla="*/ 37 h 608"/>
                <a:gd name="T80" fmla="*/ 598 w 720"/>
                <a:gd name="T81" fmla="*/ 23 h 608"/>
                <a:gd name="T82" fmla="*/ 470 w 720"/>
                <a:gd name="T83" fmla="*/ 20 h 608"/>
                <a:gd name="T84" fmla="*/ 413 w 720"/>
                <a:gd name="T85" fmla="*/ 3 h 608"/>
                <a:gd name="T86" fmla="*/ 340 w 720"/>
                <a:gd name="T87" fmla="*/ 15 h 608"/>
                <a:gd name="T88" fmla="*/ 333 w 720"/>
                <a:gd name="T89" fmla="*/ 58 h 608"/>
                <a:gd name="T90" fmla="*/ 303 w 720"/>
                <a:gd name="T91" fmla="*/ 41 h 608"/>
                <a:gd name="T92" fmla="*/ 283 w 720"/>
                <a:gd name="T93" fmla="*/ 65 h 608"/>
                <a:gd name="T94" fmla="*/ 258 w 720"/>
                <a:gd name="T95" fmla="*/ 45 h 608"/>
                <a:gd name="T96" fmla="*/ 240 w 720"/>
                <a:gd name="T97" fmla="*/ 55 h 608"/>
                <a:gd name="T98" fmla="*/ 183 w 720"/>
                <a:gd name="T99" fmla="*/ 50 h 608"/>
                <a:gd name="T100" fmla="*/ 150 w 720"/>
                <a:gd name="T101" fmla="*/ 65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0" h="608">
                  <a:moveTo>
                    <a:pt x="150" y="65"/>
                  </a:moveTo>
                  <a:lnTo>
                    <a:pt x="138" y="83"/>
                  </a:lnTo>
                  <a:lnTo>
                    <a:pt x="95" y="92"/>
                  </a:lnTo>
                  <a:lnTo>
                    <a:pt x="93" y="123"/>
                  </a:lnTo>
                  <a:lnTo>
                    <a:pt x="60" y="132"/>
                  </a:lnTo>
                  <a:lnTo>
                    <a:pt x="31" y="155"/>
                  </a:lnTo>
                  <a:lnTo>
                    <a:pt x="0" y="164"/>
                  </a:lnTo>
                  <a:lnTo>
                    <a:pt x="3" y="175"/>
                  </a:lnTo>
                  <a:lnTo>
                    <a:pt x="55" y="172"/>
                  </a:lnTo>
                  <a:lnTo>
                    <a:pt x="65" y="187"/>
                  </a:lnTo>
                  <a:lnTo>
                    <a:pt x="42" y="192"/>
                  </a:lnTo>
                  <a:lnTo>
                    <a:pt x="20" y="195"/>
                  </a:lnTo>
                  <a:lnTo>
                    <a:pt x="55" y="220"/>
                  </a:lnTo>
                  <a:lnTo>
                    <a:pt x="143" y="220"/>
                  </a:lnTo>
                  <a:lnTo>
                    <a:pt x="166" y="245"/>
                  </a:lnTo>
                  <a:lnTo>
                    <a:pt x="180" y="285"/>
                  </a:lnTo>
                  <a:lnTo>
                    <a:pt x="188" y="326"/>
                  </a:lnTo>
                  <a:lnTo>
                    <a:pt x="190" y="342"/>
                  </a:lnTo>
                  <a:lnTo>
                    <a:pt x="211" y="332"/>
                  </a:lnTo>
                  <a:lnTo>
                    <a:pt x="219" y="354"/>
                  </a:lnTo>
                  <a:lnTo>
                    <a:pt x="193" y="363"/>
                  </a:lnTo>
                  <a:lnTo>
                    <a:pt x="227" y="377"/>
                  </a:lnTo>
                  <a:lnTo>
                    <a:pt x="222" y="407"/>
                  </a:lnTo>
                  <a:lnTo>
                    <a:pt x="195" y="422"/>
                  </a:lnTo>
                  <a:lnTo>
                    <a:pt x="188" y="445"/>
                  </a:lnTo>
                  <a:lnTo>
                    <a:pt x="200" y="490"/>
                  </a:lnTo>
                  <a:lnTo>
                    <a:pt x="218" y="537"/>
                  </a:lnTo>
                  <a:lnTo>
                    <a:pt x="240" y="582"/>
                  </a:lnTo>
                  <a:lnTo>
                    <a:pt x="266" y="588"/>
                  </a:lnTo>
                  <a:lnTo>
                    <a:pt x="278" y="607"/>
                  </a:lnTo>
                  <a:lnTo>
                    <a:pt x="301" y="602"/>
                  </a:lnTo>
                  <a:lnTo>
                    <a:pt x="325" y="540"/>
                  </a:lnTo>
                  <a:lnTo>
                    <a:pt x="343" y="517"/>
                  </a:lnTo>
                  <a:lnTo>
                    <a:pt x="345" y="485"/>
                  </a:lnTo>
                  <a:lnTo>
                    <a:pt x="388" y="475"/>
                  </a:lnTo>
                  <a:lnTo>
                    <a:pt x="433" y="465"/>
                  </a:lnTo>
                  <a:lnTo>
                    <a:pt x="456" y="420"/>
                  </a:lnTo>
                  <a:lnTo>
                    <a:pt x="510" y="425"/>
                  </a:lnTo>
                  <a:lnTo>
                    <a:pt x="558" y="393"/>
                  </a:lnTo>
                  <a:lnTo>
                    <a:pt x="581" y="367"/>
                  </a:lnTo>
                  <a:lnTo>
                    <a:pt x="556" y="359"/>
                  </a:lnTo>
                  <a:lnTo>
                    <a:pt x="525" y="354"/>
                  </a:lnTo>
                  <a:lnTo>
                    <a:pt x="531" y="337"/>
                  </a:lnTo>
                  <a:lnTo>
                    <a:pt x="548" y="332"/>
                  </a:lnTo>
                  <a:lnTo>
                    <a:pt x="569" y="348"/>
                  </a:lnTo>
                  <a:lnTo>
                    <a:pt x="588" y="358"/>
                  </a:lnTo>
                  <a:lnTo>
                    <a:pt x="598" y="342"/>
                  </a:lnTo>
                  <a:lnTo>
                    <a:pt x="586" y="318"/>
                  </a:lnTo>
                  <a:lnTo>
                    <a:pt x="558" y="307"/>
                  </a:lnTo>
                  <a:lnTo>
                    <a:pt x="561" y="290"/>
                  </a:lnTo>
                  <a:lnTo>
                    <a:pt x="581" y="290"/>
                  </a:lnTo>
                  <a:lnTo>
                    <a:pt x="588" y="298"/>
                  </a:lnTo>
                  <a:lnTo>
                    <a:pt x="596" y="285"/>
                  </a:lnTo>
                  <a:lnTo>
                    <a:pt x="616" y="280"/>
                  </a:lnTo>
                  <a:lnTo>
                    <a:pt x="609" y="267"/>
                  </a:lnTo>
                  <a:lnTo>
                    <a:pt x="626" y="267"/>
                  </a:lnTo>
                  <a:lnTo>
                    <a:pt x="641" y="253"/>
                  </a:lnTo>
                  <a:lnTo>
                    <a:pt x="646" y="237"/>
                  </a:lnTo>
                  <a:lnTo>
                    <a:pt x="624" y="227"/>
                  </a:lnTo>
                  <a:lnTo>
                    <a:pt x="621" y="210"/>
                  </a:lnTo>
                  <a:lnTo>
                    <a:pt x="631" y="198"/>
                  </a:lnTo>
                  <a:lnTo>
                    <a:pt x="643" y="195"/>
                  </a:lnTo>
                  <a:lnTo>
                    <a:pt x="641" y="172"/>
                  </a:lnTo>
                  <a:lnTo>
                    <a:pt x="598" y="168"/>
                  </a:lnTo>
                  <a:lnTo>
                    <a:pt x="609" y="142"/>
                  </a:lnTo>
                  <a:lnTo>
                    <a:pt x="631" y="128"/>
                  </a:lnTo>
                  <a:lnTo>
                    <a:pt x="643" y="117"/>
                  </a:lnTo>
                  <a:lnTo>
                    <a:pt x="618" y="105"/>
                  </a:lnTo>
                  <a:lnTo>
                    <a:pt x="636" y="97"/>
                  </a:lnTo>
                  <a:lnTo>
                    <a:pt x="651" y="95"/>
                  </a:lnTo>
                  <a:lnTo>
                    <a:pt x="686" y="85"/>
                  </a:lnTo>
                  <a:lnTo>
                    <a:pt x="719" y="63"/>
                  </a:lnTo>
                  <a:lnTo>
                    <a:pt x="656" y="58"/>
                  </a:lnTo>
                  <a:lnTo>
                    <a:pt x="624" y="68"/>
                  </a:lnTo>
                  <a:lnTo>
                    <a:pt x="578" y="91"/>
                  </a:lnTo>
                  <a:lnTo>
                    <a:pt x="601" y="50"/>
                  </a:lnTo>
                  <a:lnTo>
                    <a:pt x="550" y="68"/>
                  </a:lnTo>
                  <a:lnTo>
                    <a:pt x="553" y="45"/>
                  </a:lnTo>
                  <a:lnTo>
                    <a:pt x="470" y="53"/>
                  </a:lnTo>
                  <a:lnTo>
                    <a:pt x="518" y="37"/>
                  </a:lnTo>
                  <a:lnTo>
                    <a:pt x="578" y="28"/>
                  </a:lnTo>
                  <a:lnTo>
                    <a:pt x="598" y="23"/>
                  </a:lnTo>
                  <a:lnTo>
                    <a:pt x="558" y="8"/>
                  </a:lnTo>
                  <a:lnTo>
                    <a:pt x="470" y="20"/>
                  </a:lnTo>
                  <a:lnTo>
                    <a:pt x="518" y="0"/>
                  </a:lnTo>
                  <a:lnTo>
                    <a:pt x="413" y="3"/>
                  </a:lnTo>
                  <a:lnTo>
                    <a:pt x="383" y="30"/>
                  </a:lnTo>
                  <a:lnTo>
                    <a:pt x="340" y="15"/>
                  </a:lnTo>
                  <a:lnTo>
                    <a:pt x="340" y="36"/>
                  </a:lnTo>
                  <a:lnTo>
                    <a:pt x="333" y="58"/>
                  </a:lnTo>
                  <a:lnTo>
                    <a:pt x="318" y="41"/>
                  </a:lnTo>
                  <a:lnTo>
                    <a:pt x="303" y="41"/>
                  </a:lnTo>
                  <a:lnTo>
                    <a:pt x="283" y="41"/>
                  </a:lnTo>
                  <a:lnTo>
                    <a:pt x="283" y="65"/>
                  </a:lnTo>
                  <a:lnTo>
                    <a:pt x="261" y="65"/>
                  </a:lnTo>
                  <a:lnTo>
                    <a:pt x="258" y="45"/>
                  </a:lnTo>
                  <a:lnTo>
                    <a:pt x="235" y="43"/>
                  </a:lnTo>
                  <a:lnTo>
                    <a:pt x="240" y="55"/>
                  </a:lnTo>
                  <a:lnTo>
                    <a:pt x="200" y="41"/>
                  </a:lnTo>
                  <a:lnTo>
                    <a:pt x="183" y="50"/>
                  </a:lnTo>
                  <a:lnTo>
                    <a:pt x="167" y="50"/>
                  </a:lnTo>
                  <a:lnTo>
                    <a:pt x="150" y="6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9" name="Freeform 97">
              <a:extLst>
                <a:ext uri="{FF2B5EF4-FFF2-40B4-BE49-F238E27FC236}">
                  <a16:creationId xmlns:a16="http://schemas.microsoft.com/office/drawing/2014/main" xmlns="" id="{8C524EC1-4B16-4020-BE05-73AB20FB5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564" y="3590673"/>
              <a:ext cx="197345" cy="86810"/>
            </a:xfrm>
            <a:custGeom>
              <a:avLst/>
              <a:gdLst>
                <a:gd name="T0" fmla="*/ 0 w 148"/>
                <a:gd name="T1" fmla="*/ 19 h 65"/>
                <a:gd name="T2" fmla="*/ 14 w 148"/>
                <a:gd name="T3" fmla="*/ 6 h 65"/>
                <a:gd name="T4" fmla="*/ 26 w 148"/>
                <a:gd name="T5" fmla="*/ 0 h 65"/>
                <a:gd name="T6" fmla="*/ 46 w 148"/>
                <a:gd name="T7" fmla="*/ 3 h 65"/>
                <a:gd name="T8" fmla="*/ 74 w 148"/>
                <a:gd name="T9" fmla="*/ 9 h 65"/>
                <a:gd name="T10" fmla="*/ 100 w 148"/>
                <a:gd name="T11" fmla="*/ 23 h 65"/>
                <a:gd name="T12" fmla="*/ 140 w 148"/>
                <a:gd name="T13" fmla="*/ 42 h 65"/>
                <a:gd name="T14" fmla="*/ 147 w 148"/>
                <a:gd name="T15" fmla="*/ 52 h 65"/>
                <a:gd name="T16" fmla="*/ 127 w 148"/>
                <a:gd name="T17" fmla="*/ 64 h 65"/>
                <a:gd name="T18" fmla="*/ 96 w 148"/>
                <a:gd name="T19" fmla="*/ 61 h 65"/>
                <a:gd name="T20" fmla="*/ 100 w 148"/>
                <a:gd name="T21" fmla="*/ 45 h 65"/>
                <a:gd name="T22" fmla="*/ 90 w 148"/>
                <a:gd name="T23" fmla="*/ 35 h 65"/>
                <a:gd name="T24" fmla="*/ 68 w 148"/>
                <a:gd name="T25" fmla="*/ 20 h 65"/>
                <a:gd name="T26" fmla="*/ 60 w 148"/>
                <a:gd name="T27" fmla="*/ 17 h 65"/>
                <a:gd name="T28" fmla="*/ 17 w 148"/>
                <a:gd name="T29" fmla="*/ 13 h 65"/>
                <a:gd name="T30" fmla="*/ 0 w 148"/>
                <a:gd name="T31" fmla="*/ 1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8" h="65">
                  <a:moveTo>
                    <a:pt x="0" y="19"/>
                  </a:moveTo>
                  <a:lnTo>
                    <a:pt x="14" y="6"/>
                  </a:lnTo>
                  <a:lnTo>
                    <a:pt x="26" y="0"/>
                  </a:lnTo>
                  <a:lnTo>
                    <a:pt x="46" y="3"/>
                  </a:lnTo>
                  <a:lnTo>
                    <a:pt x="74" y="9"/>
                  </a:lnTo>
                  <a:lnTo>
                    <a:pt x="100" y="23"/>
                  </a:lnTo>
                  <a:lnTo>
                    <a:pt x="140" y="42"/>
                  </a:lnTo>
                  <a:lnTo>
                    <a:pt x="147" y="52"/>
                  </a:lnTo>
                  <a:lnTo>
                    <a:pt x="127" y="64"/>
                  </a:lnTo>
                  <a:lnTo>
                    <a:pt x="96" y="61"/>
                  </a:lnTo>
                  <a:lnTo>
                    <a:pt x="100" y="45"/>
                  </a:lnTo>
                  <a:lnTo>
                    <a:pt x="90" y="35"/>
                  </a:lnTo>
                  <a:lnTo>
                    <a:pt x="68" y="20"/>
                  </a:lnTo>
                  <a:lnTo>
                    <a:pt x="60" y="17"/>
                  </a:lnTo>
                  <a:lnTo>
                    <a:pt x="17" y="13"/>
                  </a:lnTo>
                  <a:lnTo>
                    <a:pt x="0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0" name="Freeform 98">
              <a:extLst>
                <a:ext uri="{FF2B5EF4-FFF2-40B4-BE49-F238E27FC236}">
                  <a16:creationId xmlns:a16="http://schemas.microsoft.com/office/drawing/2014/main" xmlns="" id="{48A847D1-3709-4140-9D1C-ECAC36925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4697" y="3891536"/>
              <a:ext cx="115316" cy="64216"/>
            </a:xfrm>
            <a:custGeom>
              <a:avLst/>
              <a:gdLst>
                <a:gd name="T0" fmla="*/ 13 w 87"/>
                <a:gd name="T1" fmla="*/ 4 h 49"/>
                <a:gd name="T2" fmla="*/ 0 w 87"/>
                <a:gd name="T3" fmla="*/ 11 h 49"/>
                <a:gd name="T4" fmla="*/ 1 w 87"/>
                <a:gd name="T5" fmla="*/ 26 h 49"/>
                <a:gd name="T6" fmla="*/ 30 w 87"/>
                <a:gd name="T7" fmla="*/ 30 h 49"/>
                <a:gd name="T8" fmla="*/ 41 w 87"/>
                <a:gd name="T9" fmla="*/ 40 h 49"/>
                <a:gd name="T10" fmla="*/ 54 w 87"/>
                <a:gd name="T11" fmla="*/ 33 h 49"/>
                <a:gd name="T12" fmla="*/ 49 w 87"/>
                <a:gd name="T13" fmla="*/ 22 h 49"/>
                <a:gd name="T14" fmla="*/ 63 w 87"/>
                <a:gd name="T15" fmla="*/ 21 h 49"/>
                <a:gd name="T16" fmla="*/ 77 w 87"/>
                <a:gd name="T17" fmla="*/ 37 h 49"/>
                <a:gd name="T18" fmla="*/ 83 w 87"/>
                <a:gd name="T19" fmla="*/ 48 h 49"/>
                <a:gd name="T20" fmla="*/ 86 w 87"/>
                <a:gd name="T21" fmla="*/ 17 h 49"/>
                <a:gd name="T22" fmla="*/ 67 w 87"/>
                <a:gd name="T23" fmla="*/ 4 h 49"/>
                <a:gd name="T24" fmla="*/ 52 w 87"/>
                <a:gd name="T25" fmla="*/ 0 h 49"/>
                <a:gd name="T26" fmla="*/ 40 w 87"/>
                <a:gd name="T27" fmla="*/ 11 h 49"/>
                <a:gd name="T28" fmla="*/ 13 w 87"/>
                <a:gd name="T29" fmla="*/ 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" h="49">
                  <a:moveTo>
                    <a:pt x="13" y="4"/>
                  </a:moveTo>
                  <a:lnTo>
                    <a:pt x="0" y="11"/>
                  </a:lnTo>
                  <a:lnTo>
                    <a:pt x="1" y="26"/>
                  </a:lnTo>
                  <a:lnTo>
                    <a:pt x="30" y="30"/>
                  </a:lnTo>
                  <a:lnTo>
                    <a:pt x="41" y="40"/>
                  </a:lnTo>
                  <a:lnTo>
                    <a:pt x="54" y="33"/>
                  </a:lnTo>
                  <a:lnTo>
                    <a:pt x="49" y="22"/>
                  </a:lnTo>
                  <a:lnTo>
                    <a:pt x="63" y="21"/>
                  </a:lnTo>
                  <a:lnTo>
                    <a:pt x="77" y="37"/>
                  </a:lnTo>
                  <a:lnTo>
                    <a:pt x="83" y="48"/>
                  </a:lnTo>
                  <a:lnTo>
                    <a:pt x="86" y="17"/>
                  </a:lnTo>
                  <a:lnTo>
                    <a:pt x="67" y="4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13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1" name="Freeform 99">
              <a:extLst>
                <a:ext uri="{FF2B5EF4-FFF2-40B4-BE49-F238E27FC236}">
                  <a16:creationId xmlns:a16="http://schemas.microsoft.com/office/drawing/2014/main" xmlns="" id="{63A59FE0-D9C6-4839-8641-88F5AD3BA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8683" y="4080616"/>
              <a:ext cx="146226" cy="135567"/>
            </a:xfrm>
            <a:custGeom>
              <a:avLst/>
              <a:gdLst>
                <a:gd name="T0" fmla="*/ 109 w 110"/>
                <a:gd name="T1" fmla="*/ 47 h 101"/>
                <a:gd name="T2" fmla="*/ 96 w 110"/>
                <a:gd name="T3" fmla="*/ 31 h 101"/>
                <a:gd name="T4" fmla="*/ 81 w 110"/>
                <a:gd name="T5" fmla="*/ 20 h 101"/>
                <a:gd name="T6" fmla="*/ 70 w 110"/>
                <a:gd name="T7" fmla="*/ 11 h 101"/>
                <a:gd name="T8" fmla="*/ 47 w 110"/>
                <a:gd name="T9" fmla="*/ 12 h 101"/>
                <a:gd name="T10" fmla="*/ 26 w 110"/>
                <a:gd name="T11" fmla="*/ 0 h 101"/>
                <a:gd name="T12" fmla="*/ 14 w 110"/>
                <a:gd name="T13" fmla="*/ 6 h 101"/>
                <a:gd name="T14" fmla="*/ 11 w 110"/>
                <a:gd name="T15" fmla="*/ 23 h 101"/>
                <a:gd name="T16" fmla="*/ 4 w 110"/>
                <a:gd name="T17" fmla="*/ 32 h 101"/>
                <a:gd name="T18" fmla="*/ 0 w 110"/>
                <a:gd name="T19" fmla="*/ 43 h 101"/>
                <a:gd name="T20" fmla="*/ 4 w 110"/>
                <a:gd name="T21" fmla="*/ 54 h 101"/>
                <a:gd name="T22" fmla="*/ 14 w 110"/>
                <a:gd name="T23" fmla="*/ 63 h 101"/>
                <a:gd name="T24" fmla="*/ 15 w 110"/>
                <a:gd name="T25" fmla="*/ 74 h 101"/>
                <a:gd name="T26" fmla="*/ 15 w 110"/>
                <a:gd name="T27" fmla="*/ 89 h 101"/>
                <a:gd name="T28" fmla="*/ 26 w 110"/>
                <a:gd name="T29" fmla="*/ 100 h 101"/>
                <a:gd name="T30" fmla="*/ 41 w 110"/>
                <a:gd name="T31" fmla="*/ 89 h 101"/>
                <a:gd name="T32" fmla="*/ 60 w 110"/>
                <a:gd name="T33" fmla="*/ 75 h 101"/>
                <a:gd name="T34" fmla="*/ 101 w 110"/>
                <a:gd name="T35" fmla="*/ 57 h 101"/>
                <a:gd name="T36" fmla="*/ 109 w 110"/>
                <a:gd name="T37" fmla="*/ 4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0" h="101">
                  <a:moveTo>
                    <a:pt x="109" y="47"/>
                  </a:moveTo>
                  <a:lnTo>
                    <a:pt x="96" y="31"/>
                  </a:lnTo>
                  <a:lnTo>
                    <a:pt x="81" y="20"/>
                  </a:lnTo>
                  <a:lnTo>
                    <a:pt x="70" y="11"/>
                  </a:lnTo>
                  <a:lnTo>
                    <a:pt x="47" y="12"/>
                  </a:lnTo>
                  <a:lnTo>
                    <a:pt x="26" y="0"/>
                  </a:lnTo>
                  <a:lnTo>
                    <a:pt x="14" y="6"/>
                  </a:lnTo>
                  <a:lnTo>
                    <a:pt x="11" y="23"/>
                  </a:lnTo>
                  <a:lnTo>
                    <a:pt x="4" y="32"/>
                  </a:lnTo>
                  <a:lnTo>
                    <a:pt x="0" y="43"/>
                  </a:lnTo>
                  <a:lnTo>
                    <a:pt x="4" y="54"/>
                  </a:lnTo>
                  <a:lnTo>
                    <a:pt x="14" y="63"/>
                  </a:lnTo>
                  <a:lnTo>
                    <a:pt x="15" y="74"/>
                  </a:lnTo>
                  <a:lnTo>
                    <a:pt x="15" y="89"/>
                  </a:lnTo>
                  <a:lnTo>
                    <a:pt x="26" y="100"/>
                  </a:lnTo>
                  <a:lnTo>
                    <a:pt x="41" y="89"/>
                  </a:lnTo>
                  <a:lnTo>
                    <a:pt x="60" y="75"/>
                  </a:lnTo>
                  <a:lnTo>
                    <a:pt x="101" y="57"/>
                  </a:lnTo>
                  <a:lnTo>
                    <a:pt x="109" y="4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2" name="Freeform 100">
              <a:extLst>
                <a:ext uri="{FF2B5EF4-FFF2-40B4-BE49-F238E27FC236}">
                  <a16:creationId xmlns:a16="http://schemas.microsoft.com/office/drawing/2014/main" xmlns="" id="{F572F5B3-B0DE-47AD-9542-3B3D01B6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108" y="3915320"/>
              <a:ext cx="84407" cy="166486"/>
            </a:xfrm>
            <a:custGeom>
              <a:avLst/>
              <a:gdLst>
                <a:gd name="T0" fmla="*/ 18 w 64"/>
                <a:gd name="T1" fmla="*/ 0 h 125"/>
                <a:gd name="T2" fmla="*/ 18 w 64"/>
                <a:gd name="T3" fmla="*/ 14 h 125"/>
                <a:gd name="T4" fmla="*/ 12 w 64"/>
                <a:gd name="T5" fmla="*/ 20 h 125"/>
                <a:gd name="T6" fmla="*/ 9 w 64"/>
                <a:gd name="T7" fmla="*/ 28 h 125"/>
                <a:gd name="T8" fmla="*/ 1 w 64"/>
                <a:gd name="T9" fmla="*/ 36 h 125"/>
                <a:gd name="T10" fmla="*/ 0 w 64"/>
                <a:gd name="T11" fmla="*/ 50 h 125"/>
                <a:gd name="T12" fmla="*/ 7 w 64"/>
                <a:gd name="T13" fmla="*/ 59 h 125"/>
                <a:gd name="T14" fmla="*/ 7 w 64"/>
                <a:gd name="T15" fmla="*/ 70 h 125"/>
                <a:gd name="T16" fmla="*/ 18 w 64"/>
                <a:gd name="T17" fmla="*/ 73 h 125"/>
                <a:gd name="T18" fmla="*/ 22 w 64"/>
                <a:gd name="T19" fmla="*/ 90 h 125"/>
                <a:gd name="T20" fmla="*/ 18 w 64"/>
                <a:gd name="T21" fmla="*/ 101 h 125"/>
                <a:gd name="T22" fmla="*/ 25 w 64"/>
                <a:gd name="T23" fmla="*/ 116 h 125"/>
                <a:gd name="T24" fmla="*/ 32 w 64"/>
                <a:gd name="T25" fmla="*/ 124 h 125"/>
                <a:gd name="T26" fmla="*/ 41 w 64"/>
                <a:gd name="T27" fmla="*/ 123 h 125"/>
                <a:gd name="T28" fmla="*/ 45 w 64"/>
                <a:gd name="T29" fmla="*/ 117 h 125"/>
                <a:gd name="T30" fmla="*/ 57 w 64"/>
                <a:gd name="T31" fmla="*/ 116 h 125"/>
                <a:gd name="T32" fmla="*/ 60 w 64"/>
                <a:gd name="T33" fmla="*/ 109 h 125"/>
                <a:gd name="T34" fmla="*/ 59 w 64"/>
                <a:gd name="T35" fmla="*/ 94 h 125"/>
                <a:gd name="T36" fmla="*/ 50 w 64"/>
                <a:gd name="T37" fmla="*/ 89 h 125"/>
                <a:gd name="T38" fmla="*/ 45 w 64"/>
                <a:gd name="T39" fmla="*/ 83 h 125"/>
                <a:gd name="T40" fmla="*/ 45 w 64"/>
                <a:gd name="T41" fmla="*/ 70 h 125"/>
                <a:gd name="T42" fmla="*/ 51 w 64"/>
                <a:gd name="T43" fmla="*/ 65 h 125"/>
                <a:gd name="T44" fmla="*/ 61 w 64"/>
                <a:gd name="T45" fmla="*/ 66 h 125"/>
                <a:gd name="T46" fmla="*/ 63 w 64"/>
                <a:gd name="T47" fmla="*/ 51 h 125"/>
                <a:gd name="T48" fmla="*/ 61 w 64"/>
                <a:gd name="T49" fmla="*/ 36 h 125"/>
                <a:gd name="T50" fmla="*/ 55 w 64"/>
                <a:gd name="T51" fmla="*/ 30 h 125"/>
                <a:gd name="T52" fmla="*/ 44 w 64"/>
                <a:gd name="T53" fmla="*/ 29 h 125"/>
                <a:gd name="T54" fmla="*/ 41 w 64"/>
                <a:gd name="T55" fmla="*/ 15 h 125"/>
                <a:gd name="T56" fmla="*/ 33 w 64"/>
                <a:gd name="T57" fmla="*/ 14 h 125"/>
                <a:gd name="T58" fmla="*/ 29 w 64"/>
                <a:gd name="T59" fmla="*/ 2 h 125"/>
                <a:gd name="T60" fmla="*/ 18 w 64"/>
                <a:gd name="T6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125">
                  <a:moveTo>
                    <a:pt x="18" y="0"/>
                  </a:moveTo>
                  <a:lnTo>
                    <a:pt x="18" y="14"/>
                  </a:lnTo>
                  <a:lnTo>
                    <a:pt x="12" y="20"/>
                  </a:lnTo>
                  <a:lnTo>
                    <a:pt x="9" y="28"/>
                  </a:lnTo>
                  <a:lnTo>
                    <a:pt x="1" y="36"/>
                  </a:lnTo>
                  <a:lnTo>
                    <a:pt x="0" y="50"/>
                  </a:lnTo>
                  <a:lnTo>
                    <a:pt x="7" y="59"/>
                  </a:lnTo>
                  <a:lnTo>
                    <a:pt x="7" y="70"/>
                  </a:lnTo>
                  <a:lnTo>
                    <a:pt x="18" y="73"/>
                  </a:lnTo>
                  <a:lnTo>
                    <a:pt x="22" y="90"/>
                  </a:lnTo>
                  <a:lnTo>
                    <a:pt x="18" y="101"/>
                  </a:lnTo>
                  <a:lnTo>
                    <a:pt x="25" y="116"/>
                  </a:lnTo>
                  <a:lnTo>
                    <a:pt x="32" y="124"/>
                  </a:lnTo>
                  <a:lnTo>
                    <a:pt x="41" y="123"/>
                  </a:lnTo>
                  <a:lnTo>
                    <a:pt x="45" y="117"/>
                  </a:lnTo>
                  <a:lnTo>
                    <a:pt x="57" y="116"/>
                  </a:lnTo>
                  <a:lnTo>
                    <a:pt x="60" y="109"/>
                  </a:lnTo>
                  <a:lnTo>
                    <a:pt x="59" y="94"/>
                  </a:lnTo>
                  <a:lnTo>
                    <a:pt x="50" y="89"/>
                  </a:lnTo>
                  <a:lnTo>
                    <a:pt x="45" y="83"/>
                  </a:lnTo>
                  <a:lnTo>
                    <a:pt x="45" y="70"/>
                  </a:lnTo>
                  <a:lnTo>
                    <a:pt x="51" y="65"/>
                  </a:lnTo>
                  <a:lnTo>
                    <a:pt x="61" y="66"/>
                  </a:lnTo>
                  <a:lnTo>
                    <a:pt x="63" y="51"/>
                  </a:lnTo>
                  <a:lnTo>
                    <a:pt x="61" y="36"/>
                  </a:lnTo>
                  <a:lnTo>
                    <a:pt x="55" y="30"/>
                  </a:lnTo>
                  <a:lnTo>
                    <a:pt x="44" y="29"/>
                  </a:lnTo>
                  <a:lnTo>
                    <a:pt x="41" y="15"/>
                  </a:lnTo>
                  <a:lnTo>
                    <a:pt x="33" y="14"/>
                  </a:lnTo>
                  <a:lnTo>
                    <a:pt x="29" y="2"/>
                  </a:lnTo>
                  <a:lnTo>
                    <a:pt x="1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3" name="Freeform 101">
              <a:extLst>
                <a:ext uri="{FF2B5EF4-FFF2-40B4-BE49-F238E27FC236}">
                  <a16:creationId xmlns:a16="http://schemas.microsoft.com/office/drawing/2014/main" xmlns="" id="{84FBC04A-9B26-42F4-8BBC-E685954D3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7360" y="3962887"/>
              <a:ext cx="79651" cy="109405"/>
            </a:xfrm>
            <a:custGeom>
              <a:avLst/>
              <a:gdLst>
                <a:gd name="T0" fmla="*/ 19 w 61"/>
                <a:gd name="T1" fmla="*/ 15 h 82"/>
                <a:gd name="T2" fmla="*/ 17 w 61"/>
                <a:gd name="T3" fmla="*/ 30 h 82"/>
                <a:gd name="T4" fmla="*/ 7 w 61"/>
                <a:gd name="T5" fmla="*/ 29 h 82"/>
                <a:gd name="T6" fmla="*/ 0 w 61"/>
                <a:gd name="T7" fmla="*/ 34 h 82"/>
                <a:gd name="T8" fmla="*/ 1 w 61"/>
                <a:gd name="T9" fmla="*/ 47 h 82"/>
                <a:gd name="T10" fmla="*/ 6 w 61"/>
                <a:gd name="T11" fmla="*/ 53 h 82"/>
                <a:gd name="T12" fmla="*/ 14 w 61"/>
                <a:gd name="T13" fmla="*/ 59 h 82"/>
                <a:gd name="T14" fmla="*/ 15 w 61"/>
                <a:gd name="T15" fmla="*/ 73 h 82"/>
                <a:gd name="T16" fmla="*/ 13 w 61"/>
                <a:gd name="T17" fmla="*/ 81 h 82"/>
                <a:gd name="T18" fmla="*/ 30 w 61"/>
                <a:gd name="T19" fmla="*/ 80 h 82"/>
                <a:gd name="T20" fmla="*/ 30 w 61"/>
                <a:gd name="T21" fmla="*/ 67 h 82"/>
                <a:gd name="T22" fmla="*/ 52 w 61"/>
                <a:gd name="T23" fmla="*/ 65 h 82"/>
                <a:gd name="T24" fmla="*/ 56 w 61"/>
                <a:gd name="T25" fmla="*/ 61 h 82"/>
                <a:gd name="T26" fmla="*/ 56 w 61"/>
                <a:gd name="T27" fmla="*/ 19 h 82"/>
                <a:gd name="T28" fmla="*/ 60 w 61"/>
                <a:gd name="T29" fmla="*/ 10 h 82"/>
                <a:gd name="T30" fmla="*/ 54 w 61"/>
                <a:gd name="T31" fmla="*/ 0 h 82"/>
                <a:gd name="T32" fmla="*/ 37 w 61"/>
                <a:gd name="T33" fmla="*/ 0 h 82"/>
                <a:gd name="T34" fmla="*/ 32 w 61"/>
                <a:gd name="T35" fmla="*/ 8 h 82"/>
                <a:gd name="T36" fmla="*/ 19 w 61"/>
                <a:gd name="T37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82">
                  <a:moveTo>
                    <a:pt x="19" y="15"/>
                  </a:moveTo>
                  <a:lnTo>
                    <a:pt x="17" y="30"/>
                  </a:lnTo>
                  <a:lnTo>
                    <a:pt x="7" y="29"/>
                  </a:lnTo>
                  <a:lnTo>
                    <a:pt x="0" y="34"/>
                  </a:lnTo>
                  <a:lnTo>
                    <a:pt x="1" y="47"/>
                  </a:lnTo>
                  <a:lnTo>
                    <a:pt x="6" y="53"/>
                  </a:lnTo>
                  <a:lnTo>
                    <a:pt x="14" y="59"/>
                  </a:lnTo>
                  <a:lnTo>
                    <a:pt x="15" y="73"/>
                  </a:lnTo>
                  <a:lnTo>
                    <a:pt x="13" y="81"/>
                  </a:lnTo>
                  <a:lnTo>
                    <a:pt x="30" y="80"/>
                  </a:lnTo>
                  <a:lnTo>
                    <a:pt x="30" y="67"/>
                  </a:lnTo>
                  <a:lnTo>
                    <a:pt x="52" y="65"/>
                  </a:lnTo>
                  <a:lnTo>
                    <a:pt x="56" y="61"/>
                  </a:lnTo>
                  <a:lnTo>
                    <a:pt x="56" y="19"/>
                  </a:lnTo>
                  <a:lnTo>
                    <a:pt x="60" y="10"/>
                  </a:lnTo>
                  <a:lnTo>
                    <a:pt x="54" y="0"/>
                  </a:lnTo>
                  <a:lnTo>
                    <a:pt x="37" y="0"/>
                  </a:lnTo>
                  <a:lnTo>
                    <a:pt x="32" y="8"/>
                  </a:lnTo>
                  <a:lnTo>
                    <a:pt x="19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4" name="Freeform 102">
              <a:extLst>
                <a:ext uri="{FF2B5EF4-FFF2-40B4-BE49-F238E27FC236}">
                  <a16:creationId xmlns:a16="http://schemas.microsoft.com/office/drawing/2014/main" xmlns="" id="{2D88168E-1D6E-4A59-8477-5BAD7569F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1832" y="4008076"/>
              <a:ext cx="765604" cy="856211"/>
            </a:xfrm>
            <a:custGeom>
              <a:avLst/>
              <a:gdLst>
                <a:gd name="T0" fmla="*/ 58 w 573"/>
                <a:gd name="T1" fmla="*/ 58 h 641"/>
                <a:gd name="T2" fmla="*/ 62 w 573"/>
                <a:gd name="T3" fmla="*/ 98 h 641"/>
                <a:gd name="T4" fmla="*/ 57 w 573"/>
                <a:gd name="T5" fmla="*/ 131 h 641"/>
                <a:gd name="T6" fmla="*/ 29 w 573"/>
                <a:gd name="T7" fmla="*/ 147 h 641"/>
                <a:gd name="T8" fmla="*/ 18 w 573"/>
                <a:gd name="T9" fmla="*/ 178 h 641"/>
                <a:gd name="T10" fmla="*/ 0 w 573"/>
                <a:gd name="T11" fmla="*/ 201 h 641"/>
                <a:gd name="T12" fmla="*/ 17 w 573"/>
                <a:gd name="T13" fmla="*/ 228 h 641"/>
                <a:gd name="T14" fmla="*/ 42 w 573"/>
                <a:gd name="T15" fmla="*/ 241 h 641"/>
                <a:gd name="T16" fmla="*/ 71 w 573"/>
                <a:gd name="T17" fmla="*/ 259 h 641"/>
                <a:gd name="T18" fmla="*/ 96 w 573"/>
                <a:gd name="T19" fmla="*/ 252 h 641"/>
                <a:gd name="T20" fmla="*/ 108 w 573"/>
                <a:gd name="T21" fmla="*/ 235 h 641"/>
                <a:gd name="T22" fmla="*/ 136 w 573"/>
                <a:gd name="T23" fmla="*/ 277 h 641"/>
                <a:gd name="T24" fmla="*/ 163 w 573"/>
                <a:gd name="T25" fmla="*/ 286 h 641"/>
                <a:gd name="T26" fmla="*/ 190 w 573"/>
                <a:gd name="T27" fmla="*/ 299 h 641"/>
                <a:gd name="T28" fmla="*/ 207 w 573"/>
                <a:gd name="T29" fmla="*/ 316 h 641"/>
                <a:gd name="T30" fmla="*/ 204 w 573"/>
                <a:gd name="T31" fmla="*/ 343 h 641"/>
                <a:gd name="T32" fmla="*/ 230 w 573"/>
                <a:gd name="T33" fmla="*/ 359 h 641"/>
                <a:gd name="T34" fmla="*/ 245 w 573"/>
                <a:gd name="T35" fmla="*/ 376 h 641"/>
                <a:gd name="T36" fmla="*/ 230 w 573"/>
                <a:gd name="T37" fmla="*/ 405 h 641"/>
                <a:gd name="T38" fmla="*/ 243 w 573"/>
                <a:gd name="T39" fmla="*/ 431 h 641"/>
                <a:gd name="T40" fmla="*/ 268 w 573"/>
                <a:gd name="T41" fmla="*/ 445 h 641"/>
                <a:gd name="T42" fmla="*/ 295 w 573"/>
                <a:gd name="T43" fmla="*/ 464 h 641"/>
                <a:gd name="T44" fmla="*/ 302 w 573"/>
                <a:gd name="T45" fmla="*/ 520 h 641"/>
                <a:gd name="T46" fmla="*/ 299 w 573"/>
                <a:gd name="T47" fmla="*/ 533 h 641"/>
                <a:gd name="T48" fmla="*/ 277 w 573"/>
                <a:gd name="T49" fmla="*/ 557 h 641"/>
                <a:gd name="T50" fmla="*/ 269 w 573"/>
                <a:gd name="T51" fmla="*/ 584 h 641"/>
                <a:gd name="T52" fmla="*/ 320 w 573"/>
                <a:gd name="T53" fmla="*/ 629 h 641"/>
                <a:gd name="T54" fmla="*/ 331 w 573"/>
                <a:gd name="T55" fmla="*/ 611 h 641"/>
                <a:gd name="T56" fmla="*/ 342 w 573"/>
                <a:gd name="T57" fmla="*/ 581 h 641"/>
                <a:gd name="T58" fmla="*/ 339 w 573"/>
                <a:gd name="T59" fmla="*/ 603 h 641"/>
                <a:gd name="T60" fmla="*/ 364 w 573"/>
                <a:gd name="T61" fmla="*/ 578 h 641"/>
                <a:gd name="T62" fmla="*/ 383 w 573"/>
                <a:gd name="T63" fmla="*/ 500 h 641"/>
                <a:gd name="T64" fmla="*/ 403 w 573"/>
                <a:gd name="T65" fmla="*/ 476 h 641"/>
                <a:gd name="T66" fmla="*/ 456 w 573"/>
                <a:gd name="T67" fmla="*/ 455 h 641"/>
                <a:gd name="T68" fmla="*/ 486 w 573"/>
                <a:gd name="T69" fmla="*/ 420 h 641"/>
                <a:gd name="T70" fmla="*/ 501 w 573"/>
                <a:gd name="T71" fmla="*/ 365 h 641"/>
                <a:gd name="T72" fmla="*/ 525 w 573"/>
                <a:gd name="T73" fmla="*/ 280 h 641"/>
                <a:gd name="T74" fmla="*/ 536 w 573"/>
                <a:gd name="T75" fmla="*/ 247 h 641"/>
                <a:gd name="T76" fmla="*/ 558 w 573"/>
                <a:gd name="T77" fmla="*/ 226 h 641"/>
                <a:gd name="T78" fmla="*/ 563 w 573"/>
                <a:gd name="T79" fmla="*/ 198 h 641"/>
                <a:gd name="T80" fmla="*/ 562 w 573"/>
                <a:gd name="T81" fmla="*/ 184 h 641"/>
                <a:gd name="T82" fmla="*/ 542 w 573"/>
                <a:gd name="T83" fmla="*/ 148 h 641"/>
                <a:gd name="T84" fmla="*/ 513 w 573"/>
                <a:gd name="T85" fmla="*/ 130 h 641"/>
                <a:gd name="T86" fmla="*/ 486 w 573"/>
                <a:gd name="T87" fmla="*/ 114 h 641"/>
                <a:gd name="T88" fmla="*/ 456 w 573"/>
                <a:gd name="T89" fmla="*/ 109 h 641"/>
                <a:gd name="T90" fmla="*/ 426 w 573"/>
                <a:gd name="T91" fmla="*/ 92 h 641"/>
                <a:gd name="T92" fmla="*/ 385 w 573"/>
                <a:gd name="T93" fmla="*/ 84 h 641"/>
                <a:gd name="T94" fmla="*/ 358 w 573"/>
                <a:gd name="T95" fmla="*/ 102 h 641"/>
                <a:gd name="T96" fmla="*/ 362 w 573"/>
                <a:gd name="T97" fmla="*/ 74 h 641"/>
                <a:gd name="T98" fmla="*/ 334 w 573"/>
                <a:gd name="T99" fmla="*/ 90 h 641"/>
                <a:gd name="T100" fmla="*/ 330 w 573"/>
                <a:gd name="T101" fmla="*/ 81 h 641"/>
                <a:gd name="T102" fmla="*/ 349 w 573"/>
                <a:gd name="T103" fmla="*/ 48 h 641"/>
                <a:gd name="T104" fmla="*/ 318 w 573"/>
                <a:gd name="T105" fmla="*/ 14 h 641"/>
                <a:gd name="T106" fmla="*/ 302 w 573"/>
                <a:gd name="T107" fmla="*/ 40 h 641"/>
                <a:gd name="T108" fmla="*/ 259 w 573"/>
                <a:gd name="T109" fmla="*/ 33 h 641"/>
                <a:gd name="T110" fmla="*/ 230 w 573"/>
                <a:gd name="T111" fmla="*/ 47 h 641"/>
                <a:gd name="T112" fmla="*/ 209 w 573"/>
                <a:gd name="T113" fmla="*/ 46 h 641"/>
                <a:gd name="T114" fmla="*/ 203 w 573"/>
                <a:gd name="T115" fmla="*/ 3 h 641"/>
                <a:gd name="T116" fmla="*/ 162 w 573"/>
                <a:gd name="T117" fmla="*/ 11 h 641"/>
                <a:gd name="T118" fmla="*/ 136 w 573"/>
                <a:gd name="T119" fmla="*/ 7 h 641"/>
                <a:gd name="T120" fmla="*/ 143 w 573"/>
                <a:gd name="T121" fmla="*/ 36 h 641"/>
                <a:gd name="T122" fmla="*/ 117 w 573"/>
                <a:gd name="T123" fmla="*/ 58 h 641"/>
                <a:gd name="T124" fmla="*/ 89 w 573"/>
                <a:gd name="T125" fmla="*/ 39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3" h="641">
                  <a:moveTo>
                    <a:pt x="89" y="39"/>
                  </a:moveTo>
                  <a:lnTo>
                    <a:pt x="64" y="47"/>
                  </a:lnTo>
                  <a:lnTo>
                    <a:pt x="58" y="58"/>
                  </a:lnTo>
                  <a:lnTo>
                    <a:pt x="66" y="65"/>
                  </a:lnTo>
                  <a:lnTo>
                    <a:pt x="58" y="70"/>
                  </a:lnTo>
                  <a:lnTo>
                    <a:pt x="62" y="98"/>
                  </a:lnTo>
                  <a:lnTo>
                    <a:pt x="62" y="111"/>
                  </a:lnTo>
                  <a:lnTo>
                    <a:pt x="47" y="113"/>
                  </a:lnTo>
                  <a:lnTo>
                    <a:pt x="57" y="131"/>
                  </a:lnTo>
                  <a:lnTo>
                    <a:pt x="53" y="145"/>
                  </a:lnTo>
                  <a:lnTo>
                    <a:pt x="42" y="151"/>
                  </a:lnTo>
                  <a:lnTo>
                    <a:pt x="29" y="147"/>
                  </a:lnTo>
                  <a:lnTo>
                    <a:pt x="19" y="154"/>
                  </a:lnTo>
                  <a:lnTo>
                    <a:pt x="14" y="168"/>
                  </a:lnTo>
                  <a:lnTo>
                    <a:pt x="18" y="178"/>
                  </a:lnTo>
                  <a:lnTo>
                    <a:pt x="11" y="183"/>
                  </a:lnTo>
                  <a:lnTo>
                    <a:pt x="3" y="187"/>
                  </a:lnTo>
                  <a:lnTo>
                    <a:pt x="0" y="201"/>
                  </a:lnTo>
                  <a:lnTo>
                    <a:pt x="3" y="210"/>
                  </a:lnTo>
                  <a:lnTo>
                    <a:pt x="14" y="219"/>
                  </a:lnTo>
                  <a:lnTo>
                    <a:pt x="17" y="228"/>
                  </a:lnTo>
                  <a:lnTo>
                    <a:pt x="27" y="230"/>
                  </a:lnTo>
                  <a:lnTo>
                    <a:pt x="29" y="238"/>
                  </a:lnTo>
                  <a:lnTo>
                    <a:pt x="42" y="241"/>
                  </a:lnTo>
                  <a:lnTo>
                    <a:pt x="53" y="234"/>
                  </a:lnTo>
                  <a:lnTo>
                    <a:pt x="58" y="252"/>
                  </a:lnTo>
                  <a:lnTo>
                    <a:pt x="71" y="259"/>
                  </a:lnTo>
                  <a:lnTo>
                    <a:pt x="81" y="259"/>
                  </a:lnTo>
                  <a:lnTo>
                    <a:pt x="91" y="256"/>
                  </a:lnTo>
                  <a:lnTo>
                    <a:pt x="96" y="252"/>
                  </a:lnTo>
                  <a:lnTo>
                    <a:pt x="99" y="245"/>
                  </a:lnTo>
                  <a:lnTo>
                    <a:pt x="107" y="246"/>
                  </a:lnTo>
                  <a:lnTo>
                    <a:pt x="108" y="235"/>
                  </a:lnTo>
                  <a:lnTo>
                    <a:pt x="128" y="237"/>
                  </a:lnTo>
                  <a:lnTo>
                    <a:pt x="130" y="267"/>
                  </a:lnTo>
                  <a:lnTo>
                    <a:pt x="136" y="277"/>
                  </a:lnTo>
                  <a:lnTo>
                    <a:pt x="138" y="282"/>
                  </a:lnTo>
                  <a:lnTo>
                    <a:pt x="161" y="282"/>
                  </a:lnTo>
                  <a:lnTo>
                    <a:pt x="163" y="286"/>
                  </a:lnTo>
                  <a:lnTo>
                    <a:pt x="173" y="288"/>
                  </a:lnTo>
                  <a:lnTo>
                    <a:pt x="175" y="297"/>
                  </a:lnTo>
                  <a:lnTo>
                    <a:pt x="190" y="299"/>
                  </a:lnTo>
                  <a:lnTo>
                    <a:pt x="197" y="301"/>
                  </a:lnTo>
                  <a:lnTo>
                    <a:pt x="199" y="315"/>
                  </a:lnTo>
                  <a:lnTo>
                    <a:pt x="207" y="316"/>
                  </a:lnTo>
                  <a:lnTo>
                    <a:pt x="199" y="322"/>
                  </a:lnTo>
                  <a:lnTo>
                    <a:pt x="200" y="342"/>
                  </a:lnTo>
                  <a:lnTo>
                    <a:pt x="204" y="343"/>
                  </a:lnTo>
                  <a:lnTo>
                    <a:pt x="209" y="349"/>
                  </a:lnTo>
                  <a:lnTo>
                    <a:pt x="229" y="348"/>
                  </a:lnTo>
                  <a:lnTo>
                    <a:pt x="230" y="359"/>
                  </a:lnTo>
                  <a:lnTo>
                    <a:pt x="238" y="361"/>
                  </a:lnTo>
                  <a:lnTo>
                    <a:pt x="240" y="372"/>
                  </a:lnTo>
                  <a:lnTo>
                    <a:pt x="245" y="376"/>
                  </a:lnTo>
                  <a:lnTo>
                    <a:pt x="243" y="394"/>
                  </a:lnTo>
                  <a:lnTo>
                    <a:pt x="238" y="403"/>
                  </a:lnTo>
                  <a:lnTo>
                    <a:pt x="230" y="405"/>
                  </a:lnTo>
                  <a:lnTo>
                    <a:pt x="231" y="416"/>
                  </a:lnTo>
                  <a:lnTo>
                    <a:pt x="242" y="420"/>
                  </a:lnTo>
                  <a:lnTo>
                    <a:pt x="243" y="431"/>
                  </a:lnTo>
                  <a:lnTo>
                    <a:pt x="257" y="435"/>
                  </a:lnTo>
                  <a:lnTo>
                    <a:pt x="260" y="442"/>
                  </a:lnTo>
                  <a:lnTo>
                    <a:pt x="268" y="445"/>
                  </a:lnTo>
                  <a:lnTo>
                    <a:pt x="281" y="446"/>
                  </a:lnTo>
                  <a:lnTo>
                    <a:pt x="283" y="463"/>
                  </a:lnTo>
                  <a:lnTo>
                    <a:pt x="295" y="464"/>
                  </a:lnTo>
                  <a:lnTo>
                    <a:pt x="297" y="501"/>
                  </a:lnTo>
                  <a:lnTo>
                    <a:pt x="300" y="504"/>
                  </a:lnTo>
                  <a:lnTo>
                    <a:pt x="302" y="520"/>
                  </a:lnTo>
                  <a:lnTo>
                    <a:pt x="309" y="520"/>
                  </a:lnTo>
                  <a:lnTo>
                    <a:pt x="310" y="531"/>
                  </a:lnTo>
                  <a:lnTo>
                    <a:pt x="299" y="533"/>
                  </a:lnTo>
                  <a:lnTo>
                    <a:pt x="292" y="543"/>
                  </a:lnTo>
                  <a:lnTo>
                    <a:pt x="285" y="546"/>
                  </a:lnTo>
                  <a:lnTo>
                    <a:pt x="277" y="557"/>
                  </a:lnTo>
                  <a:lnTo>
                    <a:pt x="269" y="565"/>
                  </a:lnTo>
                  <a:lnTo>
                    <a:pt x="264" y="576"/>
                  </a:lnTo>
                  <a:lnTo>
                    <a:pt x="269" y="584"/>
                  </a:lnTo>
                  <a:lnTo>
                    <a:pt x="283" y="589"/>
                  </a:lnTo>
                  <a:lnTo>
                    <a:pt x="314" y="618"/>
                  </a:lnTo>
                  <a:lnTo>
                    <a:pt x="320" y="629"/>
                  </a:lnTo>
                  <a:lnTo>
                    <a:pt x="323" y="640"/>
                  </a:lnTo>
                  <a:lnTo>
                    <a:pt x="330" y="628"/>
                  </a:lnTo>
                  <a:lnTo>
                    <a:pt x="331" y="611"/>
                  </a:lnTo>
                  <a:lnTo>
                    <a:pt x="335" y="599"/>
                  </a:lnTo>
                  <a:lnTo>
                    <a:pt x="336" y="580"/>
                  </a:lnTo>
                  <a:lnTo>
                    <a:pt x="342" y="581"/>
                  </a:lnTo>
                  <a:lnTo>
                    <a:pt x="345" y="585"/>
                  </a:lnTo>
                  <a:lnTo>
                    <a:pt x="343" y="595"/>
                  </a:lnTo>
                  <a:lnTo>
                    <a:pt x="339" y="603"/>
                  </a:lnTo>
                  <a:lnTo>
                    <a:pt x="353" y="598"/>
                  </a:lnTo>
                  <a:lnTo>
                    <a:pt x="356" y="585"/>
                  </a:lnTo>
                  <a:lnTo>
                    <a:pt x="364" y="578"/>
                  </a:lnTo>
                  <a:lnTo>
                    <a:pt x="362" y="558"/>
                  </a:lnTo>
                  <a:lnTo>
                    <a:pt x="378" y="548"/>
                  </a:lnTo>
                  <a:lnTo>
                    <a:pt x="383" y="500"/>
                  </a:lnTo>
                  <a:lnTo>
                    <a:pt x="386" y="489"/>
                  </a:lnTo>
                  <a:lnTo>
                    <a:pt x="398" y="484"/>
                  </a:lnTo>
                  <a:lnTo>
                    <a:pt x="403" y="476"/>
                  </a:lnTo>
                  <a:lnTo>
                    <a:pt x="411" y="470"/>
                  </a:lnTo>
                  <a:lnTo>
                    <a:pt x="426" y="459"/>
                  </a:lnTo>
                  <a:lnTo>
                    <a:pt x="456" y="455"/>
                  </a:lnTo>
                  <a:lnTo>
                    <a:pt x="459" y="447"/>
                  </a:lnTo>
                  <a:lnTo>
                    <a:pt x="482" y="446"/>
                  </a:lnTo>
                  <a:lnTo>
                    <a:pt x="486" y="420"/>
                  </a:lnTo>
                  <a:lnTo>
                    <a:pt x="493" y="408"/>
                  </a:lnTo>
                  <a:lnTo>
                    <a:pt x="499" y="392"/>
                  </a:lnTo>
                  <a:lnTo>
                    <a:pt x="501" y="365"/>
                  </a:lnTo>
                  <a:lnTo>
                    <a:pt x="508" y="361"/>
                  </a:lnTo>
                  <a:lnTo>
                    <a:pt x="512" y="285"/>
                  </a:lnTo>
                  <a:lnTo>
                    <a:pt x="525" y="280"/>
                  </a:lnTo>
                  <a:lnTo>
                    <a:pt x="525" y="265"/>
                  </a:lnTo>
                  <a:lnTo>
                    <a:pt x="532" y="261"/>
                  </a:lnTo>
                  <a:lnTo>
                    <a:pt x="536" y="247"/>
                  </a:lnTo>
                  <a:lnTo>
                    <a:pt x="543" y="244"/>
                  </a:lnTo>
                  <a:lnTo>
                    <a:pt x="547" y="230"/>
                  </a:lnTo>
                  <a:lnTo>
                    <a:pt x="558" y="226"/>
                  </a:lnTo>
                  <a:lnTo>
                    <a:pt x="558" y="214"/>
                  </a:lnTo>
                  <a:lnTo>
                    <a:pt x="564" y="212"/>
                  </a:lnTo>
                  <a:lnTo>
                    <a:pt x="563" y="198"/>
                  </a:lnTo>
                  <a:lnTo>
                    <a:pt x="569" y="198"/>
                  </a:lnTo>
                  <a:lnTo>
                    <a:pt x="572" y="185"/>
                  </a:lnTo>
                  <a:lnTo>
                    <a:pt x="562" y="184"/>
                  </a:lnTo>
                  <a:lnTo>
                    <a:pt x="559" y="156"/>
                  </a:lnTo>
                  <a:lnTo>
                    <a:pt x="553" y="150"/>
                  </a:lnTo>
                  <a:lnTo>
                    <a:pt x="542" y="148"/>
                  </a:lnTo>
                  <a:lnTo>
                    <a:pt x="533" y="142"/>
                  </a:lnTo>
                  <a:lnTo>
                    <a:pt x="525" y="130"/>
                  </a:lnTo>
                  <a:lnTo>
                    <a:pt x="513" y="130"/>
                  </a:lnTo>
                  <a:lnTo>
                    <a:pt x="510" y="119"/>
                  </a:lnTo>
                  <a:lnTo>
                    <a:pt x="500" y="114"/>
                  </a:lnTo>
                  <a:lnTo>
                    <a:pt x="486" y="114"/>
                  </a:lnTo>
                  <a:lnTo>
                    <a:pt x="472" y="111"/>
                  </a:lnTo>
                  <a:lnTo>
                    <a:pt x="465" y="104"/>
                  </a:lnTo>
                  <a:lnTo>
                    <a:pt x="456" y="109"/>
                  </a:lnTo>
                  <a:lnTo>
                    <a:pt x="447" y="110"/>
                  </a:lnTo>
                  <a:lnTo>
                    <a:pt x="435" y="103"/>
                  </a:lnTo>
                  <a:lnTo>
                    <a:pt x="426" y="92"/>
                  </a:lnTo>
                  <a:lnTo>
                    <a:pt x="414" y="84"/>
                  </a:lnTo>
                  <a:lnTo>
                    <a:pt x="401" y="82"/>
                  </a:lnTo>
                  <a:lnTo>
                    <a:pt x="385" y="84"/>
                  </a:lnTo>
                  <a:lnTo>
                    <a:pt x="375" y="87"/>
                  </a:lnTo>
                  <a:lnTo>
                    <a:pt x="371" y="95"/>
                  </a:lnTo>
                  <a:lnTo>
                    <a:pt x="358" y="102"/>
                  </a:lnTo>
                  <a:lnTo>
                    <a:pt x="364" y="92"/>
                  </a:lnTo>
                  <a:lnTo>
                    <a:pt x="370" y="80"/>
                  </a:lnTo>
                  <a:lnTo>
                    <a:pt x="362" y="74"/>
                  </a:lnTo>
                  <a:lnTo>
                    <a:pt x="351" y="74"/>
                  </a:lnTo>
                  <a:lnTo>
                    <a:pt x="342" y="81"/>
                  </a:lnTo>
                  <a:lnTo>
                    <a:pt x="334" y="90"/>
                  </a:lnTo>
                  <a:lnTo>
                    <a:pt x="327" y="99"/>
                  </a:lnTo>
                  <a:lnTo>
                    <a:pt x="317" y="103"/>
                  </a:lnTo>
                  <a:lnTo>
                    <a:pt x="330" y="81"/>
                  </a:lnTo>
                  <a:lnTo>
                    <a:pt x="338" y="70"/>
                  </a:lnTo>
                  <a:lnTo>
                    <a:pt x="345" y="56"/>
                  </a:lnTo>
                  <a:lnTo>
                    <a:pt x="349" y="48"/>
                  </a:lnTo>
                  <a:lnTo>
                    <a:pt x="338" y="23"/>
                  </a:lnTo>
                  <a:lnTo>
                    <a:pt x="330" y="14"/>
                  </a:lnTo>
                  <a:lnTo>
                    <a:pt x="318" y="14"/>
                  </a:lnTo>
                  <a:lnTo>
                    <a:pt x="310" y="22"/>
                  </a:lnTo>
                  <a:lnTo>
                    <a:pt x="305" y="31"/>
                  </a:lnTo>
                  <a:lnTo>
                    <a:pt x="302" y="40"/>
                  </a:lnTo>
                  <a:lnTo>
                    <a:pt x="286" y="38"/>
                  </a:lnTo>
                  <a:lnTo>
                    <a:pt x="280" y="31"/>
                  </a:lnTo>
                  <a:lnTo>
                    <a:pt x="259" y="33"/>
                  </a:lnTo>
                  <a:lnTo>
                    <a:pt x="258" y="46"/>
                  </a:lnTo>
                  <a:lnTo>
                    <a:pt x="242" y="47"/>
                  </a:lnTo>
                  <a:lnTo>
                    <a:pt x="230" y="47"/>
                  </a:lnTo>
                  <a:lnTo>
                    <a:pt x="225" y="53"/>
                  </a:lnTo>
                  <a:lnTo>
                    <a:pt x="216" y="54"/>
                  </a:lnTo>
                  <a:lnTo>
                    <a:pt x="209" y="46"/>
                  </a:lnTo>
                  <a:lnTo>
                    <a:pt x="202" y="31"/>
                  </a:lnTo>
                  <a:lnTo>
                    <a:pt x="206" y="20"/>
                  </a:lnTo>
                  <a:lnTo>
                    <a:pt x="203" y="3"/>
                  </a:lnTo>
                  <a:lnTo>
                    <a:pt x="191" y="0"/>
                  </a:lnTo>
                  <a:lnTo>
                    <a:pt x="187" y="9"/>
                  </a:lnTo>
                  <a:lnTo>
                    <a:pt x="162" y="11"/>
                  </a:lnTo>
                  <a:lnTo>
                    <a:pt x="154" y="16"/>
                  </a:lnTo>
                  <a:lnTo>
                    <a:pt x="142" y="5"/>
                  </a:lnTo>
                  <a:lnTo>
                    <a:pt x="136" y="7"/>
                  </a:lnTo>
                  <a:lnTo>
                    <a:pt x="132" y="20"/>
                  </a:lnTo>
                  <a:lnTo>
                    <a:pt x="134" y="29"/>
                  </a:lnTo>
                  <a:lnTo>
                    <a:pt x="143" y="36"/>
                  </a:lnTo>
                  <a:lnTo>
                    <a:pt x="144" y="47"/>
                  </a:lnTo>
                  <a:lnTo>
                    <a:pt x="132" y="56"/>
                  </a:lnTo>
                  <a:lnTo>
                    <a:pt x="117" y="58"/>
                  </a:lnTo>
                  <a:lnTo>
                    <a:pt x="106" y="53"/>
                  </a:lnTo>
                  <a:lnTo>
                    <a:pt x="98" y="42"/>
                  </a:lnTo>
                  <a:lnTo>
                    <a:pt x="89" y="3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5" name="Freeform 103">
              <a:extLst>
                <a:ext uri="{FF2B5EF4-FFF2-40B4-BE49-F238E27FC236}">
                  <a16:creationId xmlns:a16="http://schemas.microsoft.com/office/drawing/2014/main" xmlns="" id="{844CFE00-8513-4CFB-9C73-6A9E4FEF1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3313" y="2440734"/>
              <a:ext cx="175946" cy="108216"/>
            </a:xfrm>
            <a:custGeom>
              <a:avLst/>
              <a:gdLst>
                <a:gd name="T0" fmla="*/ 40 w 133"/>
                <a:gd name="T1" fmla="*/ 15 h 81"/>
                <a:gd name="T2" fmla="*/ 22 w 133"/>
                <a:gd name="T3" fmla="*/ 0 h 81"/>
                <a:gd name="T4" fmla="*/ 0 w 133"/>
                <a:gd name="T5" fmla="*/ 25 h 81"/>
                <a:gd name="T6" fmla="*/ 2 w 133"/>
                <a:gd name="T7" fmla="*/ 37 h 81"/>
                <a:gd name="T8" fmla="*/ 27 w 133"/>
                <a:gd name="T9" fmla="*/ 32 h 81"/>
                <a:gd name="T10" fmla="*/ 27 w 133"/>
                <a:gd name="T11" fmla="*/ 52 h 81"/>
                <a:gd name="T12" fmla="*/ 19 w 133"/>
                <a:gd name="T13" fmla="*/ 65 h 81"/>
                <a:gd name="T14" fmla="*/ 41 w 133"/>
                <a:gd name="T15" fmla="*/ 60 h 81"/>
                <a:gd name="T16" fmla="*/ 64 w 133"/>
                <a:gd name="T17" fmla="*/ 71 h 81"/>
                <a:gd name="T18" fmla="*/ 72 w 133"/>
                <a:gd name="T19" fmla="*/ 80 h 81"/>
                <a:gd name="T20" fmla="*/ 91 w 133"/>
                <a:gd name="T21" fmla="*/ 60 h 81"/>
                <a:gd name="T22" fmla="*/ 109 w 133"/>
                <a:gd name="T23" fmla="*/ 60 h 81"/>
                <a:gd name="T24" fmla="*/ 127 w 133"/>
                <a:gd name="T25" fmla="*/ 48 h 81"/>
                <a:gd name="T26" fmla="*/ 132 w 133"/>
                <a:gd name="T27" fmla="*/ 27 h 81"/>
                <a:gd name="T28" fmla="*/ 127 w 133"/>
                <a:gd name="T29" fmla="*/ 4 h 81"/>
                <a:gd name="T30" fmla="*/ 102 w 133"/>
                <a:gd name="T31" fmla="*/ 4 h 81"/>
                <a:gd name="T32" fmla="*/ 77 w 133"/>
                <a:gd name="T33" fmla="*/ 12 h 81"/>
                <a:gd name="T34" fmla="*/ 49 w 133"/>
                <a:gd name="T35" fmla="*/ 3 h 81"/>
                <a:gd name="T36" fmla="*/ 40 w 133"/>
                <a:gd name="T37" fmla="*/ 1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3" h="81">
                  <a:moveTo>
                    <a:pt x="40" y="15"/>
                  </a:moveTo>
                  <a:lnTo>
                    <a:pt x="22" y="0"/>
                  </a:lnTo>
                  <a:lnTo>
                    <a:pt x="0" y="25"/>
                  </a:lnTo>
                  <a:lnTo>
                    <a:pt x="2" y="37"/>
                  </a:lnTo>
                  <a:lnTo>
                    <a:pt x="27" y="32"/>
                  </a:lnTo>
                  <a:lnTo>
                    <a:pt x="27" y="52"/>
                  </a:lnTo>
                  <a:lnTo>
                    <a:pt x="19" y="65"/>
                  </a:lnTo>
                  <a:lnTo>
                    <a:pt x="41" y="60"/>
                  </a:lnTo>
                  <a:lnTo>
                    <a:pt x="64" y="71"/>
                  </a:lnTo>
                  <a:lnTo>
                    <a:pt x="72" y="80"/>
                  </a:lnTo>
                  <a:lnTo>
                    <a:pt x="91" y="60"/>
                  </a:lnTo>
                  <a:lnTo>
                    <a:pt x="109" y="60"/>
                  </a:lnTo>
                  <a:lnTo>
                    <a:pt x="127" y="48"/>
                  </a:lnTo>
                  <a:lnTo>
                    <a:pt x="132" y="27"/>
                  </a:lnTo>
                  <a:lnTo>
                    <a:pt x="127" y="4"/>
                  </a:lnTo>
                  <a:lnTo>
                    <a:pt x="102" y="4"/>
                  </a:lnTo>
                  <a:lnTo>
                    <a:pt x="77" y="12"/>
                  </a:lnTo>
                  <a:lnTo>
                    <a:pt x="49" y="3"/>
                  </a:lnTo>
                  <a:lnTo>
                    <a:pt x="40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E1F1A7B5-FAC0-4D59-9660-D5BE412F27A9}"/>
              </a:ext>
            </a:extLst>
          </p:cNvPr>
          <p:cNvGrpSpPr/>
          <p:nvPr/>
        </p:nvGrpSpPr>
        <p:grpSpPr>
          <a:xfrm>
            <a:off x="9862968" y="2148815"/>
            <a:ext cx="1338433" cy="1360972"/>
            <a:chOff x="5326419" y="3634673"/>
            <a:chExt cx="1509810" cy="1535235"/>
          </a:xfrm>
          <a:solidFill>
            <a:schemeClr val="accent2"/>
          </a:solidFill>
        </p:grpSpPr>
        <p:sp>
          <p:nvSpPr>
            <p:cNvPr id="160" name="Freeform 116">
              <a:extLst>
                <a:ext uri="{FF2B5EF4-FFF2-40B4-BE49-F238E27FC236}">
                  <a16:creationId xmlns:a16="http://schemas.microsoft.com/office/drawing/2014/main" xmlns="" id="{298A112A-D282-45B4-A1D6-5B2AFCE5D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1809" y="4257804"/>
              <a:ext cx="17832" cy="17838"/>
            </a:xfrm>
            <a:custGeom>
              <a:avLst/>
              <a:gdLst>
                <a:gd name="T0" fmla="*/ 7 w 14"/>
                <a:gd name="T1" fmla="*/ 12 h 13"/>
                <a:gd name="T2" fmla="*/ 7 w 14"/>
                <a:gd name="T3" fmla="*/ 11 h 13"/>
                <a:gd name="T4" fmla="*/ 8 w 14"/>
                <a:gd name="T5" fmla="*/ 11 h 13"/>
                <a:gd name="T6" fmla="*/ 9 w 14"/>
                <a:gd name="T7" fmla="*/ 11 h 13"/>
                <a:gd name="T8" fmla="*/ 10 w 14"/>
                <a:gd name="T9" fmla="*/ 10 h 13"/>
                <a:gd name="T10" fmla="*/ 11 w 14"/>
                <a:gd name="T11" fmla="*/ 8 h 13"/>
                <a:gd name="T12" fmla="*/ 13 w 14"/>
                <a:gd name="T13" fmla="*/ 8 h 13"/>
                <a:gd name="T14" fmla="*/ 13 w 14"/>
                <a:gd name="T15" fmla="*/ 6 h 13"/>
                <a:gd name="T16" fmla="*/ 13 w 14"/>
                <a:gd name="T17" fmla="*/ 5 h 13"/>
                <a:gd name="T18" fmla="*/ 13 w 14"/>
                <a:gd name="T19" fmla="*/ 4 h 13"/>
                <a:gd name="T20" fmla="*/ 13 w 14"/>
                <a:gd name="T21" fmla="*/ 3 h 13"/>
                <a:gd name="T22" fmla="*/ 11 w 14"/>
                <a:gd name="T23" fmla="*/ 3 h 13"/>
                <a:gd name="T24" fmla="*/ 11 w 14"/>
                <a:gd name="T25" fmla="*/ 2 h 13"/>
                <a:gd name="T26" fmla="*/ 11 w 14"/>
                <a:gd name="T27" fmla="*/ 1 h 13"/>
                <a:gd name="T28" fmla="*/ 10 w 14"/>
                <a:gd name="T29" fmla="*/ 1 h 13"/>
                <a:gd name="T30" fmla="*/ 9 w 14"/>
                <a:gd name="T31" fmla="*/ 0 h 13"/>
                <a:gd name="T32" fmla="*/ 8 w 14"/>
                <a:gd name="T33" fmla="*/ 0 h 13"/>
                <a:gd name="T34" fmla="*/ 7 w 14"/>
                <a:gd name="T35" fmla="*/ 0 h 13"/>
                <a:gd name="T36" fmla="*/ 4 w 14"/>
                <a:gd name="T37" fmla="*/ 0 h 13"/>
                <a:gd name="T38" fmla="*/ 3 w 14"/>
                <a:gd name="T39" fmla="*/ 0 h 13"/>
                <a:gd name="T40" fmla="*/ 2 w 14"/>
                <a:gd name="T41" fmla="*/ 0 h 13"/>
                <a:gd name="T42" fmla="*/ 2 w 14"/>
                <a:gd name="T43" fmla="*/ 1 h 13"/>
                <a:gd name="T44" fmla="*/ 1 w 14"/>
                <a:gd name="T45" fmla="*/ 1 h 13"/>
                <a:gd name="T46" fmla="*/ 1 w 14"/>
                <a:gd name="T47" fmla="*/ 2 h 13"/>
                <a:gd name="T48" fmla="*/ 1 w 14"/>
                <a:gd name="T49" fmla="*/ 3 h 13"/>
                <a:gd name="T50" fmla="*/ 0 w 14"/>
                <a:gd name="T51" fmla="*/ 3 h 13"/>
                <a:gd name="T52" fmla="*/ 0 w 14"/>
                <a:gd name="T53" fmla="*/ 4 h 13"/>
                <a:gd name="T54" fmla="*/ 0 w 14"/>
                <a:gd name="T55" fmla="*/ 5 h 13"/>
                <a:gd name="T56" fmla="*/ 0 w 14"/>
                <a:gd name="T57" fmla="*/ 6 h 13"/>
                <a:gd name="T58" fmla="*/ 0 w 14"/>
                <a:gd name="T59" fmla="*/ 8 h 13"/>
                <a:gd name="T60" fmla="*/ 1 w 14"/>
                <a:gd name="T61" fmla="*/ 8 h 13"/>
                <a:gd name="T62" fmla="*/ 2 w 14"/>
                <a:gd name="T63" fmla="*/ 10 h 13"/>
                <a:gd name="T64" fmla="*/ 2 w 14"/>
                <a:gd name="T65" fmla="*/ 11 h 13"/>
                <a:gd name="T66" fmla="*/ 3 w 14"/>
                <a:gd name="T67" fmla="*/ 11 h 13"/>
                <a:gd name="T68" fmla="*/ 4 w 14"/>
                <a:gd name="T69" fmla="*/ 11 h 13"/>
                <a:gd name="T70" fmla="*/ 7 w 14"/>
                <a:gd name="T71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" h="13">
                  <a:moveTo>
                    <a:pt x="7" y="12"/>
                  </a:moveTo>
                  <a:lnTo>
                    <a:pt x="7" y="11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0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8"/>
                  </a:lnTo>
                  <a:lnTo>
                    <a:pt x="1" y="8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7" y="1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1" name="Freeform 117">
              <a:extLst>
                <a:ext uri="{FF2B5EF4-FFF2-40B4-BE49-F238E27FC236}">
                  <a16:creationId xmlns:a16="http://schemas.microsoft.com/office/drawing/2014/main" xmlns="" id="{66C53637-37E7-49D8-80C8-D79227905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984" y="4251859"/>
              <a:ext cx="20210" cy="21405"/>
            </a:xfrm>
            <a:custGeom>
              <a:avLst/>
              <a:gdLst>
                <a:gd name="T0" fmla="*/ 2 w 15"/>
                <a:gd name="T1" fmla="*/ 5 h 16"/>
                <a:gd name="T2" fmla="*/ 9 w 15"/>
                <a:gd name="T3" fmla="*/ 0 h 16"/>
                <a:gd name="T4" fmla="*/ 14 w 15"/>
                <a:gd name="T5" fmla="*/ 5 h 16"/>
                <a:gd name="T6" fmla="*/ 13 w 15"/>
                <a:gd name="T7" fmla="*/ 15 h 16"/>
                <a:gd name="T8" fmla="*/ 0 w 15"/>
                <a:gd name="T9" fmla="*/ 11 h 16"/>
                <a:gd name="T10" fmla="*/ 2 w 15"/>
                <a:gd name="T11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6">
                  <a:moveTo>
                    <a:pt x="2" y="5"/>
                  </a:moveTo>
                  <a:lnTo>
                    <a:pt x="9" y="0"/>
                  </a:lnTo>
                  <a:lnTo>
                    <a:pt x="14" y="5"/>
                  </a:lnTo>
                  <a:lnTo>
                    <a:pt x="13" y="15"/>
                  </a:lnTo>
                  <a:lnTo>
                    <a:pt x="0" y="11"/>
                  </a:lnTo>
                  <a:lnTo>
                    <a:pt x="2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2" name="Freeform 119">
              <a:extLst>
                <a:ext uri="{FF2B5EF4-FFF2-40B4-BE49-F238E27FC236}">
                  <a16:creationId xmlns:a16="http://schemas.microsoft.com/office/drawing/2014/main" xmlns="" id="{75AE0A74-F49C-457A-A535-E2B5293E7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8256" y="4858342"/>
              <a:ext cx="87973" cy="174810"/>
            </a:xfrm>
            <a:custGeom>
              <a:avLst/>
              <a:gdLst>
                <a:gd name="T0" fmla="*/ 5 w 66"/>
                <a:gd name="T1" fmla="*/ 0 h 132"/>
                <a:gd name="T2" fmla="*/ 5 w 66"/>
                <a:gd name="T3" fmla="*/ 16 h 132"/>
                <a:gd name="T4" fmla="*/ 13 w 66"/>
                <a:gd name="T5" fmla="*/ 34 h 132"/>
                <a:gd name="T6" fmla="*/ 20 w 66"/>
                <a:gd name="T7" fmla="*/ 48 h 132"/>
                <a:gd name="T8" fmla="*/ 14 w 66"/>
                <a:gd name="T9" fmla="*/ 66 h 132"/>
                <a:gd name="T10" fmla="*/ 0 w 66"/>
                <a:gd name="T11" fmla="*/ 83 h 132"/>
                <a:gd name="T12" fmla="*/ 2 w 66"/>
                <a:gd name="T13" fmla="*/ 94 h 132"/>
                <a:gd name="T14" fmla="*/ 7 w 66"/>
                <a:gd name="T15" fmla="*/ 125 h 132"/>
                <a:gd name="T16" fmla="*/ 20 w 66"/>
                <a:gd name="T17" fmla="*/ 131 h 132"/>
                <a:gd name="T18" fmla="*/ 24 w 66"/>
                <a:gd name="T19" fmla="*/ 110 h 132"/>
                <a:gd name="T20" fmla="*/ 38 w 66"/>
                <a:gd name="T21" fmla="*/ 96 h 132"/>
                <a:gd name="T22" fmla="*/ 60 w 66"/>
                <a:gd name="T23" fmla="*/ 83 h 132"/>
                <a:gd name="T24" fmla="*/ 65 w 66"/>
                <a:gd name="T25" fmla="*/ 67 h 132"/>
                <a:gd name="T26" fmla="*/ 64 w 66"/>
                <a:gd name="T27" fmla="*/ 55 h 132"/>
                <a:gd name="T28" fmla="*/ 40 w 66"/>
                <a:gd name="T29" fmla="*/ 55 h 132"/>
                <a:gd name="T30" fmla="*/ 39 w 66"/>
                <a:gd name="T31" fmla="*/ 36 h 132"/>
                <a:gd name="T32" fmla="*/ 32 w 66"/>
                <a:gd name="T33" fmla="*/ 36 h 132"/>
                <a:gd name="T34" fmla="*/ 23 w 66"/>
                <a:gd name="T35" fmla="*/ 32 h 132"/>
                <a:gd name="T36" fmla="*/ 24 w 66"/>
                <a:gd name="T37" fmla="*/ 14 h 132"/>
                <a:gd name="T38" fmla="*/ 19 w 66"/>
                <a:gd name="T39" fmla="*/ 2 h 132"/>
                <a:gd name="T40" fmla="*/ 5 w 66"/>
                <a:gd name="T4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" h="132">
                  <a:moveTo>
                    <a:pt x="5" y="0"/>
                  </a:moveTo>
                  <a:lnTo>
                    <a:pt x="5" y="16"/>
                  </a:lnTo>
                  <a:lnTo>
                    <a:pt x="13" y="34"/>
                  </a:lnTo>
                  <a:lnTo>
                    <a:pt x="20" y="48"/>
                  </a:lnTo>
                  <a:lnTo>
                    <a:pt x="14" y="66"/>
                  </a:lnTo>
                  <a:lnTo>
                    <a:pt x="0" y="83"/>
                  </a:lnTo>
                  <a:lnTo>
                    <a:pt x="2" y="94"/>
                  </a:lnTo>
                  <a:lnTo>
                    <a:pt x="7" y="125"/>
                  </a:lnTo>
                  <a:lnTo>
                    <a:pt x="20" y="131"/>
                  </a:lnTo>
                  <a:lnTo>
                    <a:pt x="24" y="110"/>
                  </a:lnTo>
                  <a:lnTo>
                    <a:pt x="38" y="96"/>
                  </a:lnTo>
                  <a:lnTo>
                    <a:pt x="60" y="83"/>
                  </a:lnTo>
                  <a:lnTo>
                    <a:pt x="65" y="67"/>
                  </a:lnTo>
                  <a:lnTo>
                    <a:pt x="64" y="55"/>
                  </a:lnTo>
                  <a:lnTo>
                    <a:pt x="40" y="55"/>
                  </a:lnTo>
                  <a:lnTo>
                    <a:pt x="39" y="36"/>
                  </a:lnTo>
                  <a:lnTo>
                    <a:pt x="32" y="36"/>
                  </a:lnTo>
                  <a:lnTo>
                    <a:pt x="23" y="32"/>
                  </a:lnTo>
                  <a:lnTo>
                    <a:pt x="24" y="14"/>
                  </a:lnTo>
                  <a:lnTo>
                    <a:pt x="19" y="2"/>
                  </a:lnTo>
                  <a:lnTo>
                    <a:pt x="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3" name="Freeform 120">
              <a:extLst>
                <a:ext uri="{FF2B5EF4-FFF2-40B4-BE49-F238E27FC236}">
                  <a16:creationId xmlns:a16="http://schemas.microsoft.com/office/drawing/2014/main" xmlns="" id="{1B00A8B9-2A8B-4C08-8F03-966BF0E17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8743" y="5002233"/>
              <a:ext cx="167625" cy="167675"/>
            </a:xfrm>
            <a:custGeom>
              <a:avLst/>
              <a:gdLst>
                <a:gd name="T0" fmla="*/ 98 w 126"/>
                <a:gd name="T1" fmla="*/ 1 h 126"/>
                <a:gd name="T2" fmla="*/ 95 w 126"/>
                <a:gd name="T3" fmla="*/ 21 h 126"/>
                <a:gd name="T4" fmla="*/ 75 w 126"/>
                <a:gd name="T5" fmla="*/ 31 h 126"/>
                <a:gd name="T6" fmla="*/ 60 w 126"/>
                <a:gd name="T7" fmla="*/ 51 h 126"/>
                <a:gd name="T8" fmla="*/ 24 w 126"/>
                <a:gd name="T9" fmla="*/ 67 h 126"/>
                <a:gd name="T10" fmla="*/ 0 w 126"/>
                <a:gd name="T11" fmla="*/ 89 h 126"/>
                <a:gd name="T12" fmla="*/ 4 w 126"/>
                <a:gd name="T13" fmla="*/ 105 h 126"/>
                <a:gd name="T14" fmla="*/ 26 w 126"/>
                <a:gd name="T15" fmla="*/ 125 h 126"/>
                <a:gd name="T16" fmla="*/ 54 w 126"/>
                <a:gd name="T17" fmla="*/ 103 h 126"/>
                <a:gd name="T18" fmla="*/ 63 w 126"/>
                <a:gd name="T19" fmla="*/ 81 h 126"/>
                <a:gd name="T20" fmla="*/ 82 w 126"/>
                <a:gd name="T21" fmla="*/ 65 h 126"/>
                <a:gd name="T22" fmla="*/ 94 w 126"/>
                <a:gd name="T23" fmla="*/ 65 h 126"/>
                <a:gd name="T24" fmla="*/ 99 w 126"/>
                <a:gd name="T25" fmla="*/ 48 h 126"/>
                <a:gd name="T26" fmla="*/ 112 w 126"/>
                <a:gd name="T27" fmla="*/ 33 h 126"/>
                <a:gd name="T28" fmla="*/ 125 w 126"/>
                <a:gd name="T29" fmla="*/ 21 h 126"/>
                <a:gd name="T30" fmla="*/ 120 w 126"/>
                <a:gd name="T31" fmla="*/ 4 h 126"/>
                <a:gd name="T32" fmla="*/ 112 w 126"/>
                <a:gd name="T33" fmla="*/ 14 h 126"/>
                <a:gd name="T34" fmla="*/ 111 w 126"/>
                <a:gd name="T35" fmla="*/ 0 h 126"/>
                <a:gd name="T36" fmla="*/ 98 w 126"/>
                <a:gd name="T37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6" h="126">
                  <a:moveTo>
                    <a:pt x="98" y="1"/>
                  </a:moveTo>
                  <a:lnTo>
                    <a:pt x="95" y="21"/>
                  </a:lnTo>
                  <a:lnTo>
                    <a:pt x="75" y="31"/>
                  </a:lnTo>
                  <a:lnTo>
                    <a:pt x="60" y="51"/>
                  </a:lnTo>
                  <a:lnTo>
                    <a:pt x="24" y="67"/>
                  </a:lnTo>
                  <a:lnTo>
                    <a:pt x="0" y="89"/>
                  </a:lnTo>
                  <a:lnTo>
                    <a:pt x="4" y="105"/>
                  </a:lnTo>
                  <a:lnTo>
                    <a:pt x="26" y="125"/>
                  </a:lnTo>
                  <a:lnTo>
                    <a:pt x="54" y="103"/>
                  </a:lnTo>
                  <a:lnTo>
                    <a:pt x="63" y="81"/>
                  </a:lnTo>
                  <a:lnTo>
                    <a:pt x="82" y="65"/>
                  </a:lnTo>
                  <a:lnTo>
                    <a:pt x="94" y="65"/>
                  </a:lnTo>
                  <a:lnTo>
                    <a:pt x="99" y="48"/>
                  </a:lnTo>
                  <a:lnTo>
                    <a:pt x="112" y="33"/>
                  </a:lnTo>
                  <a:lnTo>
                    <a:pt x="125" y="21"/>
                  </a:lnTo>
                  <a:lnTo>
                    <a:pt x="120" y="4"/>
                  </a:lnTo>
                  <a:lnTo>
                    <a:pt x="112" y="14"/>
                  </a:lnTo>
                  <a:lnTo>
                    <a:pt x="111" y="0"/>
                  </a:lnTo>
                  <a:lnTo>
                    <a:pt x="98" y="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4" name="Freeform 121">
              <a:extLst>
                <a:ext uri="{FF2B5EF4-FFF2-40B4-BE49-F238E27FC236}">
                  <a16:creationId xmlns:a16="http://schemas.microsoft.com/office/drawing/2014/main" xmlns="" id="{4A1A8333-D5B7-4A95-9BA1-6FA16AC31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6841" y="4106778"/>
              <a:ext cx="34476" cy="32108"/>
            </a:xfrm>
            <a:custGeom>
              <a:avLst/>
              <a:gdLst>
                <a:gd name="T0" fmla="*/ 2 w 26"/>
                <a:gd name="T1" fmla="*/ 0 h 24"/>
                <a:gd name="T2" fmla="*/ 13 w 26"/>
                <a:gd name="T3" fmla="*/ 2 h 24"/>
                <a:gd name="T4" fmla="*/ 21 w 26"/>
                <a:gd name="T5" fmla="*/ 10 h 24"/>
                <a:gd name="T6" fmla="*/ 25 w 26"/>
                <a:gd name="T7" fmla="*/ 21 h 24"/>
                <a:gd name="T8" fmla="*/ 15 w 26"/>
                <a:gd name="T9" fmla="*/ 23 h 24"/>
                <a:gd name="T10" fmla="*/ 0 w 26"/>
                <a:gd name="T11" fmla="*/ 9 h 24"/>
                <a:gd name="T12" fmla="*/ 2 w 26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4">
                  <a:moveTo>
                    <a:pt x="2" y="0"/>
                  </a:moveTo>
                  <a:lnTo>
                    <a:pt x="13" y="2"/>
                  </a:lnTo>
                  <a:lnTo>
                    <a:pt x="21" y="10"/>
                  </a:lnTo>
                  <a:lnTo>
                    <a:pt x="25" y="21"/>
                  </a:lnTo>
                  <a:lnTo>
                    <a:pt x="15" y="23"/>
                  </a:lnTo>
                  <a:lnTo>
                    <a:pt x="0" y="9"/>
                  </a:lnTo>
                  <a:lnTo>
                    <a:pt x="2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5" name="Freeform 122">
              <a:extLst>
                <a:ext uri="{FF2B5EF4-FFF2-40B4-BE49-F238E27FC236}">
                  <a16:creationId xmlns:a16="http://schemas.microsoft.com/office/drawing/2014/main" xmlns="" id="{AE4D5E79-CD99-4208-9F72-179E4B891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1950" y="4285156"/>
              <a:ext cx="29721" cy="21405"/>
            </a:xfrm>
            <a:custGeom>
              <a:avLst/>
              <a:gdLst>
                <a:gd name="T0" fmla="*/ 3 w 21"/>
                <a:gd name="T1" fmla="*/ 2 h 15"/>
                <a:gd name="T2" fmla="*/ 0 w 21"/>
                <a:gd name="T3" fmla="*/ 14 h 15"/>
                <a:gd name="T4" fmla="*/ 16 w 21"/>
                <a:gd name="T5" fmla="*/ 8 h 15"/>
                <a:gd name="T6" fmla="*/ 20 w 21"/>
                <a:gd name="T7" fmla="*/ 0 h 15"/>
                <a:gd name="T8" fmla="*/ 3 w 21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5">
                  <a:moveTo>
                    <a:pt x="3" y="2"/>
                  </a:moveTo>
                  <a:lnTo>
                    <a:pt x="0" y="14"/>
                  </a:lnTo>
                  <a:lnTo>
                    <a:pt x="16" y="8"/>
                  </a:lnTo>
                  <a:lnTo>
                    <a:pt x="20" y="0"/>
                  </a:lnTo>
                  <a:lnTo>
                    <a:pt x="3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6" name="Freeform 123">
              <a:extLst>
                <a:ext uri="{FF2B5EF4-FFF2-40B4-BE49-F238E27FC236}">
                  <a16:creationId xmlns:a16="http://schemas.microsoft.com/office/drawing/2014/main" xmlns="" id="{9D057E15-DDF4-4FC3-9190-06B015482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944" y="4113913"/>
              <a:ext cx="38042" cy="20216"/>
            </a:xfrm>
            <a:custGeom>
              <a:avLst/>
              <a:gdLst>
                <a:gd name="T0" fmla="*/ 14 w 28"/>
                <a:gd name="T1" fmla="*/ 13 h 14"/>
                <a:gd name="T2" fmla="*/ 11 w 28"/>
                <a:gd name="T3" fmla="*/ 13 h 14"/>
                <a:gd name="T4" fmla="*/ 10 w 28"/>
                <a:gd name="T5" fmla="*/ 13 h 14"/>
                <a:gd name="T6" fmla="*/ 8 w 28"/>
                <a:gd name="T7" fmla="*/ 13 h 14"/>
                <a:gd name="T8" fmla="*/ 6 w 28"/>
                <a:gd name="T9" fmla="*/ 13 h 14"/>
                <a:gd name="T10" fmla="*/ 5 w 28"/>
                <a:gd name="T11" fmla="*/ 13 h 14"/>
                <a:gd name="T12" fmla="*/ 3 w 28"/>
                <a:gd name="T13" fmla="*/ 13 h 14"/>
                <a:gd name="T14" fmla="*/ 2 w 28"/>
                <a:gd name="T15" fmla="*/ 13 h 14"/>
                <a:gd name="T16" fmla="*/ 1 w 28"/>
                <a:gd name="T17" fmla="*/ 13 h 14"/>
                <a:gd name="T18" fmla="*/ 0 w 28"/>
                <a:gd name="T19" fmla="*/ 10 h 14"/>
                <a:gd name="T20" fmla="*/ 0 w 28"/>
                <a:gd name="T21" fmla="*/ 7 h 14"/>
                <a:gd name="T22" fmla="*/ 0 w 28"/>
                <a:gd name="T23" fmla="*/ 5 h 14"/>
                <a:gd name="T24" fmla="*/ 1 w 28"/>
                <a:gd name="T25" fmla="*/ 5 h 14"/>
                <a:gd name="T26" fmla="*/ 2 w 28"/>
                <a:gd name="T27" fmla="*/ 2 h 14"/>
                <a:gd name="T28" fmla="*/ 3 w 28"/>
                <a:gd name="T29" fmla="*/ 2 h 14"/>
                <a:gd name="T30" fmla="*/ 3 w 28"/>
                <a:gd name="T31" fmla="*/ 0 h 14"/>
                <a:gd name="T32" fmla="*/ 5 w 28"/>
                <a:gd name="T33" fmla="*/ 0 h 14"/>
                <a:gd name="T34" fmla="*/ 6 w 28"/>
                <a:gd name="T35" fmla="*/ 0 h 14"/>
                <a:gd name="T36" fmla="*/ 8 w 28"/>
                <a:gd name="T37" fmla="*/ 0 h 14"/>
                <a:gd name="T38" fmla="*/ 10 w 28"/>
                <a:gd name="T39" fmla="*/ 0 h 14"/>
                <a:gd name="T40" fmla="*/ 11 w 28"/>
                <a:gd name="T41" fmla="*/ 0 h 14"/>
                <a:gd name="T42" fmla="*/ 14 w 28"/>
                <a:gd name="T43" fmla="*/ 0 h 14"/>
                <a:gd name="T44" fmla="*/ 17 w 28"/>
                <a:gd name="T45" fmla="*/ 0 h 14"/>
                <a:gd name="T46" fmla="*/ 18 w 28"/>
                <a:gd name="T47" fmla="*/ 0 h 14"/>
                <a:gd name="T48" fmla="*/ 20 w 28"/>
                <a:gd name="T49" fmla="*/ 0 h 14"/>
                <a:gd name="T50" fmla="*/ 21 w 28"/>
                <a:gd name="T51" fmla="*/ 0 h 14"/>
                <a:gd name="T52" fmla="*/ 23 w 28"/>
                <a:gd name="T53" fmla="*/ 0 h 14"/>
                <a:gd name="T54" fmla="*/ 24 w 28"/>
                <a:gd name="T55" fmla="*/ 2 h 14"/>
                <a:gd name="T56" fmla="*/ 25 w 28"/>
                <a:gd name="T57" fmla="*/ 5 h 14"/>
                <a:gd name="T58" fmla="*/ 26 w 28"/>
                <a:gd name="T59" fmla="*/ 5 h 14"/>
                <a:gd name="T60" fmla="*/ 26 w 28"/>
                <a:gd name="T61" fmla="*/ 7 h 14"/>
                <a:gd name="T62" fmla="*/ 27 w 28"/>
                <a:gd name="T63" fmla="*/ 7 h 14"/>
                <a:gd name="T64" fmla="*/ 26 w 28"/>
                <a:gd name="T65" fmla="*/ 10 h 14"/>
                <a:gd name="T66" fmla="*/ 25 w 28"/>
                <a:gd name="T67" fmla="*/ 13 h 14"/>
                <a:gd name="T68" fmla="*/ 24 w 28"/>
                <a:gd name="T69" fmla="*/ 13 h 14"/>
                <a:gd name="T70" fmla="*/ 23 w 28"/>
                <a:gd name="T71" fmla="*/ 13 h 14"/>
                <a:gd name="T72" fmla="*/ 21 w 28"/>
                <a:gd name="T73" fmla="*/ 13 h 14"/>
                <a:gd name="T74" fmla="*/ 20 w 28"/>
                <a:gd name="T75" fmla="*/ 13 h 14"/>
                <a:gd name="T76" fmla="*/ 18 w 28"/>
                <a:gd name="T77" fmla="*/ 13 h 14"/>
                <a:gd name="T78" fmla="*/ 17 w 28"/>
                <a:gd name="T79" fmla="*/ 13 h 14"/>
                <a:gd name="T80" fmla="*/ 14 w 28"/>
                <a:gd name="T81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8" h="14">
                  <a:moveTo>
                    <a:pt x="14" y="13"/>
                  </a:moveTo>
                  <a:lnTo>
                    <a:pt x="11" y="13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0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5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4" y="2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6" y="10"/>
                  </a:lnTo>
                  <a:lnTo>
                    <a:pt x="25" y="13"/>
                  </a:lnTo>
                  <a:lnTo>
                    <a:pt x="24" y="13"/>
                  </a:lnTo>
                  <a:lnTo>
                    <a:pt x="23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18" y="13"/>
                  </a:lnTo>
                  <a:lnTo>
                    <a:pt x="17" y="13"/>
                  </a:lnTo>
                  <a:lnTo>
                    <a:pt x="14" y="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7" name="Freeform 124">
              <a:extLst>
                <a:ext uri="{FF2B5EF4-FFF2-40B4-BE49-F238E27FC236}">
                  <a16:creationId xmlns:a16="http://schemas.microsoft.com/office/drawing/2014/main" xmlns="" id="{B58B3F69-571E-43F8-9C31-39918394D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9639" y="3634673"/>
              <a:ext cx="39231" cy="57081"/>
            </a:xfrm>
            <a:custGeom>
              <a:avLst/>
              <a:gdLst>
                <a:gd name="T0" fmla="*/ 9 w 29"/>
                <a:gd name="T1" fmla="*/ 9 h 43"/>
                <a:gd name="T2" fmla="*/ 0 w 29"/>
                <a:gd name="T3" fmla="*/ 23 h 43"/>
                <a:gd name="T4" fmla="*/ 2 w 29"/>
                <a:gd name="T5" fmla="*/ 42 h 43"/>
                <a:gd name="T6" fmla="*/ 14 w 29"/>
                <a:gd name="T7" fmla="*/ 42 h 43"/>
                <a:gd name="T8" fmla="*/ 28 w 29"/>
                <a:gd name="T9" fmla="*/ 25 h 43"/>
                <a:gd name="T10" fmla="*/ 19 w 29"/>
                <a:gd name="T11" fmla="*/ 0 h 43"/>
                <a:gd name="T12" fmla="*/ 9 w 29"/>
                <a:gd name="T13" fmla="*/ 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43">
                  <a:moveTo>
                    <a:pt x="9" y="9"/>
                  </a:moveTo>
                  <a:lnTo>
                    <a:pt x="0" y="23"/>
                  </a:lnTo>
                  <a:lnTo>
                    <a:pt x="2" y="42"/>
                  </a:lnTo>
                  <a:lnTo>
                    <a:pt x="14" y="42"/>
                  </a:lnTo>
                  <a:lnTo>
                    <a:pt x="28" y="25"/>
                  </a:lnTo>
                  <a:lnTo>
                    <a:pt x="19" y="0"/>
                  </a:lnTo>
                  <a:lnTo>
                    <a:pt x="9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8" name="Freeform 125">
              <a:extLst>
                <a:ext uri="{FF2B5EF4-FFF2-40B4-BE49-F238E27FC236}">
                  <a16:creationId xmlns:a16="http://schemas.microsoft.com/office/drawing/2014/main" xmlns="" id="{BBF6592B-6173-47F1-9112-94DD98B8D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894" y="3783321"/>
              <a:ext cx="38042" cy="35675"/>
            </a:xfrm>
            <a:custGeom>
              <a:avLst/>
              <a:gdLst>
                <a:gd name="T0" fmla="*/ 16 w 28"/>
                <a:gd name="T1" fmla="*/ 5 h 26"/>
                <a:gd name="T2" fmla="*/ 2 w 28"/>
                <a:gd name="T3" fmla="*/ 0 h 26"/>
                <a:gd name="T4" fmla="*/ 0 w 28"/>
                <a:gd name="T5" fmla="*/ 12 h 26"/>
                <a:gd name="T6" fmla="*/ 9 w 28"/>
                <a:gd name="T7" fmla="*/ 22 h 26"/>
                <a:gd name="T8" fmla="*/ 17 w 28"/>
                <a:gd name="T9" fmla="*/ 25 h 26"/>
                <a:gd name="T10" fmla="*/ 18 w 28"/>
                <a:gd name="T11" fmla="*/ 25 h 26"/>
                <a:gd name="T12" fmla="*/ 19 w 28"/>
                <a:gd name="T13" fmla="*/ 25 h 26"/>
                <a:gd name="T14" fmla="*/ 20 w 28"/>
                <a:gd name="T15" fmla="*/ 25 h 26"/>
                <a:gd name="T16" fmla="*/ 21 w 28"/>
                <a:gd name="T17" fmla="*/ 24 h 26"/>
                <a:gd name="T18" fmla="*/ 23 w 28"/>
                <a:gd name="T19" fmla="*/ 23 h 26"/>
                <a:gd name="T20" fmla="*/ 24 w 28"/>
                <a:gd name="T21" fmla="*/ 22 h 26"/>
                <a:gd name="T22" fmla="*/ 25 w 28"/>
                <a:gd name="T23" fmla="*/ 22 h 26"/>
                <a:gd name="T24" fmla="*/ 26 w 28"/>
                <a:gd name="T25" fmla="*/ 21 h 26"/>
                <a:gd name="T26" fmla="*/ 27 w 28"/>
                <a:gd name="T27" fmla="*/ 19 h 26"/>
                <a:gd name="T28" fmla="*/ 27 w 28"/>
                <a:gd name="T29" fmla="*/ 18 h 26"/>
                <a:gd name="T30" fmla="*/ 27 w 28"/>
                <a:gd name="T31" fmla="*/ 16 h 26"/>
                <a:gd name="T32" fmla="*/ 26 w 28"/>
                <a:gd name="T33" fmla="*/ 15 h 26"/>
                <a:gd name="T34" fmla="*/ 25 w 28"/>
                <a:gd name="T35" fmla="*/ 13 h 26"/>
                <a:gd name="T36" fmla="*/ 24 w 28"/>
                <a:gd name="T37" fmla="*/ 11 h 26"/>
                <a:gd name="T38" fmla="*/ 23 w 28"/>
                <a:gd name="T39" fmla="*/ 10 h 26"/>
                <a:gd name="T40" fmla="*/ 21 w 28"/>
                <a:gd name="T41" fmla="*/ 9 h 26"/>
                <a:gd name="T42" fmla="*/ 20 w 28"/>
                <a:gd name="T43" fmla="*/ 8 h 26"/>
                <a:gd name="T44" fmla="*/ 19 w 28"/>
                <a:gd name="T45" fmla="*/ 8 h 26"/>
                <a:gd name="T46" fmla="*/ 18 w 28"/>
                <a:gd name="T47" fmla="*/ 7 h 26"/>
                <a:gd name="T48" fmla="*/ 17 w 28"/>
                <a:gd name="T49" fmla="*/ 6 h 26"/>
                <a:gd name="T50" fmla="*/ 16 w 28"/>
                <a:gd name="T51" fmla="*/ 6 h 26"/>
                <a:gd name="T52" fmla="*/ 16 w 28"/>
                <a:gd name="T5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" h="26">
                  <a:moveTo>
                    <a:pt x="16" y="5"/>
                  </a:moveTo>
                  <a:lnTo>
                    <a:pt x="2" y="0"/>
                  </a:lnTo>
                  <a:lnTo>
                    <a:pt x="0" y="12"/>
                  </a:lnTo>
                  <a:lnTo>
                    <a:pt x="9" y="22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1" y="24"/>
                  </a:lnTo>
                  <a:lnTo>
                    <a:pt x="23" y="23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6" y="21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6" y="15"/>
                  </a:lnTo>
                  <a:lnTo>
                    <a:pt x="25" y="13"/>
                  </a:lnTo>
                  <a:lnTo>
                    <a:pt x="24" y="11"/>
                  </a:lnTo>
                  <a:lnTo>
                    <a:pt x="23" y="10"/>
                  </a:lnTo>
                  <a:lnTo>
                    <a:pt x="21" y="9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8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6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9" name="Freeform 126">
              <a:extLst>
                <a:ext uri="{FF2B5EF4-FFF2-40B4-BE49-F238E27FC236}">
                  <a16:creationId xmlns:a16="http://schemas.microsoft.com/office/drawing/2014/main" xmlns="" id="{C9EFE567-09A1-4FFB-A392-893CC0F8C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013" y="3770240"/>
              <a:ext cx="42798" cy="30919"/>
            </a:xfrm>
            <a:custGeom>
              <a:avLst/>
              <a:gdLst>
                <a:gd name="T0" fmla="*/ 2 w 32"/>
                <a:gd name="T1" fmla="*/ 3 h 24"/>
                <a:gd name="T2" fmla="*/ 0 w 32"/>
                <a:gd name="T3" fmla="*/ 15 h 24"/>
                <a:gd name="T4" fmla="*/ 11 w 32"/>
                <a:gd name="T5" fmla="*/ 21 h 24"/>
                <a:gd name="T6" fmla="*/ 31 w 32"/>
                <a:gd name="T7" fmla="*/ 23 h 24"/>
                <a:gd name="T8" fmla="*/ 31 w 32"/>
                <a:gd name="T9" fmla="*/ 9 h 24"/>
                <a:gd name="T10" fmla="*/ 16 w 32"/>
                <a:gd name="T11" fmla="*/ 0 h 24"/>
                <a:gd name="T12" fmla="*/ 2 w 32"/>
                <a:gd name="T1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4">
                  <a:moveTo>
                    <a:pt x="2" y="3"/>
                  </a:moveTo>
                  <a:lnTo>
                    <a:pt x="0" y="15"/>
                  </a:lnTo>
                  <a:lnTo>
                    <a:pt x="11" y="21"/>
                  </a:lnTo>
                  <a:lnTo>
                    <a:pt x="31" y="23"/>
                  </a:lnTo>
                  <a:lnTo>
                    <a:pt x="31" y="9"/>
                  </a:lnTo>
                  <a:lnTo>
                    <a:pt x="16" y="0"/>
                  </a:lnTo>
                  <a:lnTo>
                    <a:pt x="2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0" name="Freeform 127">
              <a:extLst>
                <a:ext uri="{FF2B5EF4-FFF2-40B4-BE49-F238E27FC236}">
                  <a16:creationId xmlns:a16="http://schemas.microsoft.com/office/drawing/2014/main" xmlns="" id="{F88025FA-56AB-49D9-A324-0197618C2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881" y="3821375"/>
              <a:ext cx="29721" cy="27351"/>
            </a:xfrm>
            <a:custGeom>
              <a:avLst/>
              <a:gdLst>
                <a:gd name="T0" fmla="*/ 4 w 21"/>
                <a:gd name="T1" fmla="*/ 0 h 20"/>
                <a:gd name="T2" fmla="*/ 0 w 21"/>
                <a:gd name="T3" fmla="*/ 12 h 20"/>
                <a:gd name="T4" fmla="*/ 4 w 21"/>
                <a:gd name="T5" fmla="*/ 19 h 20"/>
                <a:gd name="T6" fmla="*/ 20 w 21"/>
                <a:gd name="T7" fmla="*/ 15 h 20"/>
                <a:gd name="T8" fmla="*/ 16 w 21"/>
                <a:gd name="T9" fmla="*/ 4 h 20"/>
                <a:gd name="T10" fmla="*/ 4 w 21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0">
                  <a:moveTo>
                    <a:pt x="4" y="0"/>
                  </a:moveTo>
                  <a:lnTo>
                    <a:pt x="0" y="12"/>
                  </a:lnTo>
                  <a:lnTo>
                    <a:pt x="4" y="19"/>
                  </a:lnTo>
                  <a:lnTo>
                    <a:pt x="20" y="15"/>
                  </a:lnTo>
                  <a:lnTo>
                    <a:pt x="16" y="4"/>
                  </a:lnTo>
                  <a:lnTo>
                    <a:pt x="4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1" name="Freeform 128">
              <a:extLst>
                <a:ext uri="{FF2B5EF4-FFF2-40B4-BE49-F238E27FC236}">
                  <a16:creationId xmlns:a16="http://schemas.microsoft.com/office/drawing/2014/main" xmlns="" id="{A200525D-0DF3-4E0D-BF08-956A675CC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3000" y="3815429"/>
              <a:ext cx="23777" cy="20216"/>
            </a:xfrm>
            <a:custGeom>
              <a:avLst/>
              <a:gdLst>
                <a:gd name="T0" fmla="*/ 0 w 19"/>
                <a:gd name="T1" fmla="*/ 3 h 14"/>
                <a:gd name="T2" fmla="*/ 3 w 19"/>
                <a:gd name="T3" fmla="*/ 13 h 14"/>
                <a:gd name="T4" fmla="*/ 10 w 19"/>
                <a:gd name="T5" fmla="*/ 13 h 14"/>
                <a:gd name="T6" fmla="*/ 16 w 19"/>
                <a:gd name="T7" fmla="*/ 9 h 14"/>
                <a:gd name="T8" fmla="*/ 18 w 19"/>
                <a:gd name="T9" fmla="*/ 0 h 14"/>
                <a:gd name="T10" fmla="*/ 8 w 19"/>
                <a:gd name="T11" fmla="*/ 0 h 14"/>
                <a:gd name="T12" fmla="*/ 0 w 19"/>
                <a:gd name="T13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4">
                  <a:moveTo>
                    <a:pt x="0" y="3"/>
                  </a:moveTo>
                  <a:lnTo>
                    <a:pt x="3" y="13"/>
                  </a:lnTo>
                  <a:lnTo>
                    <a:pt x="10" y="13"/>
                  </a:lnTo>
                  <a:lnTo>
                    <a:pt x="16" y="9"/>
                  </a:lnTo>
                  <a:lnTo>
                    <a:pt x="18" y="0"/>
                  </a:lnTo>
                  <a:lnTo>
                    <a:pt x="8" y="0"/>
                  </a:lnTo>
                  <a:lnTo>
                    <a:pt x="0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2" name="Freeform 129">
              <a:extLst>
                <a:ext uri="{FF2B5EF4-FFF2-40B4-BE49-F238E27FC236}">
                  <a16:creationId xmlns:a16="http://schemas.microsoft.com/office/drawing/2014/main" xmlns="" id="{8A903503-B27D-429E-B39E-67F5E4530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936" y="3872509"/>
              <a:ext cx="35665" cy="49946"/>
            </a:xfrm>
            <a:custGeom>
              <a:avLst/>
              <a:gdLst>
                <a:gd name="T0" fmla="*/ 18 w 27"/>
                <a:gd name="T1" fmla="*/ 0 h 37"/>
                <a:gd name="T2" fmla="*/ 8 w 27"/>
                <a:gd name="T3" fmla="*/ 11 h 37"/>
                <a:gd name="T4" fmla="*/ 3 w 27"/>
                <a:gd name="T5" fmla="*/ 27 h 37"/>
                <a:gd name="T6" fmla="*/ 0 w 27"/>
                <a:gd name="T7" fmla="*/ 36 h 37"/>
                <a:gd name="T8" fmla="*/ 13 w 27"/>
                <a:gd name="T9" fmla="*/ 32 h 37"/>
                <a:gd name="T10" fmla="*/ 20 w 27"/>
                <a:gd name="T11" fmla="*/ 19 h 37"/>
                <a:gd name="T12" fmla="*/ 26 w 27"/>
                <a:gd name="T13" fmla="*/ 5 h 37"/>
                <a:gd name="T14" fmla="*/ 18 w 2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7">
                  <a:moveTo>
                    <a:pt x="18" y="0"/>
                  </a:moveTo>
                  <a:lnTo>
                    <a:pt x="8" y="11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13" y="32"/>
                  </a:lnTo>
                  <a:lnTo>
                    <a:pt x="20" y="19"/>
                  </a:lnTo>
                  <a:lnTo>
                    <a:pt x="26" y="5"/>
                  </a:lnTo>
                  <a:lnTo>
                    <a:pt x="1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3" name="Freeform 130">
              <a:extLst>
                <a:ext uri="{FF2B5EF4-FFF2-40B4-BE49-F238E27FC236}">
                  <a16:creationId xmlns:a16="http://schemas.microsoft.com/office/drawing/2014/main" xmlns="" id="{483733BF-A749-49AE-BCE5-CF0602389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2790" y="3845158"/>
              <a:ext cx="20210" cy="20216"/>
            </a:xfrm>
            <a:custGeom>
              <a:avLst/>
              <a:gdLst>
                <a:gd name="T0" fmla="*/ 7 w 14"/>
                <a:gd name="T1" fmla="*/ 14 h 15"/>
                <a:gd name="T2" fmla="*/ 5 w 14"/>
                <a:gd name="T3" fmla="*/ 14 h 15"/>
                <a:gd name="T4" fmla="*/ 3 w 14"/>
                <a:gd name="T5" fmla="*/ 14 h 15"/>
                <a:gd name="T6" fmla="*/ 2 w 14"/>
                <a:gd name="T7" fmla="*/ 14 h 15"/>
                <a:gd name="T8" fmla="*/ 2 w 14"/>
                <a:gd name="T9" fmla="*/ 12 h 15"/>
                <a:gd name="T10" fmla="*/ 1 w 14"/>
                <a:gd name="T11" fmla="*/ 11 h 15"/>
                <a:gd name="T12" fmla="*/ 0 w 14"/>
                <a:gd name="T13" fmla="*/ 11 h 15"/>
                <a:gd name="T14" fmla="*/ 0 w 14"/>
                <a:gd name="T15" fmla="*/ 10 h 15"/>
                <a:gd name="T16" fmla="*/ 0 w 14"/>
                <a:gd name="T17" fmla="*/ 9 h 15"/>
                <a:gd name="T18" fmla="*/ 0 w 14"/>
                <a:gd name="T19" fmla="*/ 7 h 15"/>
                <a:gd name="T20" fmla="*/ 0 w 14"/>
                <a:gd name="T21" fmla="*/ 5 h 15"/>
                <a:gd name="T22" fmla="*/ 0 w 14"/>
                <a:gd name="T23" fmla="*/ 4 h 15"/>
                <a:gd name="T24" fmla="*/ 1 w 14"/>
                <a:gd name="T25" fmla="*/ 3 h 15"/>
                <a:gd name="T26" fmla="*/ 2 w 14"/>
                <a:gd name="T27" fmla="*/ 2 h 15"/>
                <a:gd name="T28" fmla="*/ 2 w 14"/>
                <a:gd name="T29" fmla="*/ 1 h 15"/>
                <a:gd name="T30" fmla="*/ 3 w 14"/>
                <a:gd name="T31" fmla="*/ 1 h 15"/>
                <a:gd name="T32" fmla="*/ 5 w 14"/>
                <a:gd name="T33" fmla="*/ 1 h 15"/>
                <a:gd name="T34" fmla="*/ 7 w 14"/>
                <a:gd name="T35" fmla="*/ 0 h 15"/>
                <a:gd name="T36" fmla="*/ 7 w 14"/>
                <a:gd name="T37" fmla="*/ 1 h 15"/>
                <a:gd name="T38" fmla="*/ 9 w 14"/>
                <a:gd name="T39" fmla="*/ 1 h 15"/>
                <a:gd name="T40" fmla="*/ 10 w 14"/>
                <a:gd name="T41" fmla="*/ 1 h 15"/>
                <a:gd name="T42" fmla="*/ 10 w 14"/>
                <a:gd name="T43" fmla="*/ 2 h 15"/>
                <a:gd name="T44" fmla="*/ 11 w 14"/>
                <a:gd name="T45" fmla="*/ 3 h 15"/>
                <a:gd name="T46" fmla="*/ 11 w 14"/>
                <a:gd name="T47" fmla="*/ 4 h 15"/>
                <a:gd name="T48" fmla="*/ 11 w 14"/>
                <a:gd name="T49" fmla="*/ 5 h 15"/>
                <a:gd name="T50" fmla="*/ 13 w 14"/>
                <a:gd name="T51" fmla="*/ 7 h 15"/>
                <a:gd name="T52" fmla="*/ 11 w 14"/>
                <a:gd name="T53" fmla="*/ 9 h 15"/>
                <a:gd name="T54" fmla="*/ 11 w 14"/>
                <a:gd name="T55" fmla="*/ 10 h 15"/>
                <a:gd name="T56" fmla="*/ 11 w 14"/>
                <a:gd name="T57" fmla="*/ 11 h 15"/>
                <a:gd name="T58" fmla="*/ 10 w 14"/>
                <a:gd name="T59" fmla="*/ 12 h 15"/>
                <a:gd name="T60" fmla="*/ 10 w 14"/>
                <a:gd name="T61" fmla="*/ 14 h 15"/>
                <a:gd name="T62" fmla="*/ 9 w 14"/>
                <a:gd name="T63" fmla="*/ 14 h 15"/>
                <a:gd name="T64" fmla="*/ 7 w 14"/>
                <a:gd name="T6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" h="15">
                  <a:moveTo>
                    <a:pt x="7" y="14"/>
                  </a:moveTo>
                  <a:lnTo>
                    <a:pt x="5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1"/>
                  </a:lnTo>
                  <a:lnTo>
                    <a:pt x="3" y="1"/>
                  </a:lnTo>
                  <a:lnTo>
                    <a:pt x="5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3" y="7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7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4" name="Freeform 135">
              <a:extLst>
                <a:ext uri="{FF2B5EF4-FFF2-40B4-BE49-F238E27FC236}">
                  <a16:creationId xmlns:a16="http://schemas.microsoft.com/office/drawing/2014/main" xmlns="" id="{36E2DC96-11F3-40EB-AEB0-E17CEC35C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9780" y="4304183"/>
              <a:ext cx="766793" cy="655239"/>
            </a:xfrm>
            <a:custGeom>
              <a:avLst/>
              <a:gdLst>
                <a:gd name="T0" fmla="*/ 296 w 575"/>
                <a:gd name="T1" fmla="*/ 33 h 491"/>
                <a:gd name="T2" fmla="*/ 258 w 575"/>
                <a:gd name="T3" fmla="*/ 51 h 491"/>
                <a:gd name="T4" fmla="*/ 254 w 575"/>
                <a:gd name="T5" fmla="*/ 74 h 491"/>
                <a:gd name="T6" fmla="*/ 230 w 575"/>
                <a:gd name="T7" fmla="*/ 66 h 491"/>
                <a:gd name="T8" fmla="*/ 199 w 575"/>
                <a:gd name="T9" fmla="*/ 60 h 491"/>
                <a:gd name="T10" fmla="*/ 184 w 575"/>
                <a:gd name="T11" fmla="*/ 85 h 491"/>
                <a:gd name="T12" fmla="*/ 164 w 575"/>
                <a:gd name="T13" fmla="*/ 102 h 491"/>
                <a:gd name="T14" fmla="*/ 156 w 575"/>
                <a:gd name="T15" fmla="*/ 113 h 491"/>
                <a:gd name="T16" fmla="*/ 145 w 575"/>
                <a:gd name="T17" fmla="*/ 127 h 491"/>
                <a:gd name="T18" fmla="*/ 104 w 575"/>
                <a:gd name="T19" fmla="*/ 161 h 491"/>
                <a:gd name="T20" fmla="*/ 31 w 575"/>
                <a:gd name="T21" fmla="*/ 199 h 491"/>
                <a:gd name="T22" fmla="*/ 9 w 575"/>
                <a:gd name="T23" fmla="*/ 248 h 491"/>
                <a:gd name="T24" fmla="*/ 17 w 575"/>
                <a:gd name="T25" fmla="*/ 265 h 491"/>
                <a:gd name="T26" fmla="*/ 0 w 575"/>
                <a:gd name="T27" fmla="*/ 270 h 491"/>
                <a:gd name="T28" fmla="*/ 17 w 575"/>
                <a:gd name="T29" fmla="*/ 312 h 491"/>
                <a:gd name="T30" fmla="*/ 17 w 575"/>
                <a:gd name="T31" fmla="*/ 344 h 491"/>
                <a:gd name="T32" fmla="*/ 25 w 575"/>
                <a:gd name="T33" fmla="*/ 377 h 491"/>
                <a:gd name="T34" fmla="*/ 12 w 575"/>
                <a:gd name="T35" fmla="*/ 389 h 491"/>
                <a:gd name="T36" fmla="*/ 35 w 575"/>
                <a:gd name="T37" fmla="*/ 424 h 491"/>
                <a:gd name="T38" fmla="*/ 53 w 575"/>
                <a:gd name="T39" fmla="*/ 420 h 491"/>
                <a:gd name="T40" fmla="*/ 83 w 575"/>
                <a:gd name="T41" fmla="*/ 412 h 491"/>
                <a:gd name="T42" fmla="*/ 142 w 575"/>
                <a:gd name="T43" fmla="*/ 391 h 491"/>
                <a:gd name="T44" fmla="*/ 204 w 575"/>
                <a:gd name="T45" fmla="*/ 375 h 491"/>
                <a:gd name="T46" fmla="*/ 231 w 575"/>
                <a:gd name="T47" fmla="*/ 365 h 491"/>
                <a:gd name="T48" fmla="*/ 245 w 575"/>
                <a:gd name="T49" fmla="*/ 369 h 491"/>
                <a:gd name="T50" fmla="*/ 278 w 575"/>
                <a:gd name="T51" fmla="*/ 383 h 491"/>
                <a:gd name="T52" fmla="*/ 290 w 575"/>
                <a:gd name="T53" fmla="*/ 418 h 491"/>
                <a:gd name="T54" fmla="*/ 310 w 575"/>
                <a:gd name="T55" fmla="*/ 409 h 491"/>
                <a:gd name="T56" fmla="*/ 330 w 575"/>
                <a:gd name="T57" fmla="*/ 383 h 491"/>
                <a:gd name="T58" fmla="*/ 326 w 575"/>
                <a:gd name="T59" fmla="*/ 409 h 491"/>
                <a:gd name="T60" fmla="*/ 328 w 575"/>
                <a:gd name="T61" fmla="*/ 422 h 491"/>
                <a:gd name="T62" fmla="*/ 337 w 575"/>
                <a:gd name="T63" fmla="*/ 405 h 491"/>
                <a:gd name="T64" fmla="*/ 339 w 575"/>
                <a:gd name="T65" fmla="*/ 422 h 491"/>
                <a:gd name="T66" fmla="*/ 349 w 575"/>
                <a:gd name="T67" fmla="*/ 442 h 491"/>
                <a:gd name="T68" fmla="*/ 358 w 575"/>
                <a:gd name="T69" fmla="*/ 471 h 491"/>
                <a:gd name="T70" fmla="*/ 425 w 575"/>
                <a:gd name="T71" fmla="*/ 490 h 491"/>
                <a:gd name="T72" fmla="*/ 491 w 575"/>
                <a:gd name="T73" fmla="*/ 460 h 491"/>
                <a:gd name="T74" fmla="*/ 521 w 575"/>
                <a:gd name="T75" fmla="*/ 415 h 491"/>
                <a:gd name="T76" fmla="*/ 558 w 575"/>
                <a:gd name="T77" fmla="*/ 366 h 491"/>
                <a:gd name="T78" fmla="*/ 565 w 575"/>
                <a:gd name="T79" fmla="*/ 316 h 491"/>
                <a:gd name="T80" fmla="*/ 572 w 575"/>
                <a:gd name="T81" fmla="*/ 251 h 491"/>
                <a:gd name="T82" fmla="*/ 546 w 575"/>
                <a:gd name="T83" fmla="*/ 201 h 491"/>
                <a:gd name="T84" fmla="*/ 523 w 575"/>
                <a:gd name="T85" fmla="*/ 165 h 491"/>
                <a:gd name="T86" fmla="*/ 493 w 575"/>
                <a:gd name="T87" fmla="*/ 117 h 491"/>
                <a:gd name="T88" fmla="*/ 465 w 575"/>
                <a:gd name="T89" fmla="*/ 60 h 491"/>
                <a:gd name="T90" fmla="*/ 463 w 575"/>
                <a:gd name="T91" fmla="*/ 19 h 491"/>
                <a:gd name="T92" fmla="*/ 437 w 575"/>
                <a:gd name="T93" fmla="*/ 19 h 491"/>
                <a:gd name="T94" fmla="*/ 430 w 575"/>
                <a:gd name="T95" fmla="*/ 89 h 491"/>
                <a:gd name="T96" fmla="*/ 416 w 575"/>
                <a:gd name="T97" fmla="*/ 113 h 491"/>
                <a:gd name="T98" fmla="*/ 384 w 575"/>
                <a:gd name="T99" fmla="*/ 100 h 491"/>
                <a:gd name="T100" fmla="*/ 353 w 575"/>
                <a:gd name="T101" fmla="*/ 81 h 491"/>
                <a:gd name="T102" fmla="*/ 348 w 575"/>
                <a:gd name="T103" fmla="*/ 62 h 491"/>
                <a:gd name="T104" fmla="*/ 360 w 575"/>
                <a:gd name="T105" fmla="*/ 46 h 491"/>
                <a:gd name="T106" fmla="*/ 347 w 575"/>
                <a:gd name="T107" fmla="*/ 25 h 491"/>
                <a:gd name="T108" fmla="*/ 307 w 575"/>
                <a:gd name="T109" fmla="*/ 12 h 491"/>
                <a:gd name="T110" fmla="*/ 282 w 575"/>
                <a:gd name="T111" fmla="*/ 15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75" h="491">
                  <a:moveTo>
                    <a:pt x="293" y="20"/>
                  </a:moveTo>
                  <a:lnTo>
                    <a:pt x="296" y="33"/>
                  </a:lnTo>
                  <a:lnTo>
                    <a:pt x="269" y="37"/>
                  </a:lnTo>
                  <a:lnTo>
                    <a:pt x="258" y="51"/>
                  </a:lnTo>
                  <a:lnTo>
                    <a:pt x="256" y="59"/>
                  </a:lnTo>
                  <a:lnTo>
                    <a:pt x="254" y="74"/>
                  </a:lnTo>
                  <a:lnTo>
                    <a:pt x="237" y="78"/>
                  </a:lnTo>
                  <a:lnTo>
                    <a:pt x="230" y="66"/>
                  </a:lnTo>
                  <a:lnTo>
                    <a:pt x="221" y="55"/>
                  </a:lnTo>
                  <a:lnTo>
                    <a:pt x="199" y="60"/>
                  </a:lnTo>
                  <a:lnTo>
                    <a:pt x="195" y="74"/>
                  </a:lnTo>
                  <a:lnTo>
                    <a:pt x="184" y="85"/>
                  </a:lnTo>
                  <a:lnTo>
                    <a:pt x="171" y="91"/>
                  </a:lnTo>
                  <a:lnTo>
                    <a:pt x="164" y="102"/>
                  </a:lnTo>
                  <a:lnTo>
                    <a:pt x="164" y="113"/>
                  </a:lnTo>
                  <a:lnTo>
                    <a:pt x="156" y="113"/>
                  </a:lnTo>
                  <a:lnTo>
                    <a:pt x="149" y="102"/>
                  </a:lnTo>
                  <a:lnTo>
                    <a:pt x="145" y="127"/>
                  </a:lnTo>
                  <a:lnTo>
                    <a:pt x="124" y="153"/>
                  </a:lnTo>
                  <a:lnTo>
                    <a:pt x="104" y="161"/>
                  </a:lnTo>
                  <a:lnTo>
                    <a:pt x="53" y="176"/>
                  </a:lnTo>
                  <a:lnTo>
                    <a:pt x="31" y="199"/>
                  </a:lnTo>
                  <a:lnTo>
                    <a:pt x="6" y="201"/>
                  </a:lnTo>
                  <a:lnTo>
                    <a:pt x="9" y="248"/>
                  </a:lnTo>
                  <a:lnTo>
                    <a:pt x="20" y="255"/>
                  </a:lnTo>
                  <a:lnTo>
                    <a:pt x="17" y="265"/>
                  </a:lnTo>
                  <a:lnTo>
                    <a:pt x="2" y="255"/>
                  </a:lnTo>
                  <a:lnTo>
                    <a:pt x="0" y="270"/>
                  </a:lnTo>
                  <a:lnTo>
                    <a:pt x="8" y="296"/>
                  </a:lnTo>
                  <a:lnTo>
                    <a:pt x="17" y="312"/>
                  </a:lnTo>
                  <a:lnTo>
                    <a:pt x="17" y="331"/>
                  </a:lnTo>
                  <a:lnTo>
                    <a:pt x="17" y="344"/>
                  </a:lnTo>
                  <a:lnTo>
                    <a:pt x="24" y="349"/>
                  </a:lnTo>
                  <a:lnTo>
                    <a:pt x="25" y="377"/>
                  </a:lnTo>
                  <a:lnTo>
                    <a:pt x="17" y="378"/>
                  </a:lnTo>
                  <a:lnTo>
                    <a:pt x="12" y="389"/>
                  </a:lnTo>
                  <a:lnTo>
                    <a:pt x="6" y="398"/>
                  </a:lnTo>
                  <a:lnTo>
                    <a:pt x="35" y="424"/>
                  </a:lnTo>
                  <a:lnTo>
                    <a:pt x="47" y="427"/>
                  </a:lnTo>
                  <a:lnTo>
                    <a:pt x="53" y="420"/>
                  </a:lnTo>
                  <a:lnTo>
                    <a:pt x="59" y="409"/>
                  </a:lnTo>
                  <a:lnTo>
                    <a:pt x="83" y="412"/>
                  </a:lnTo>
                  <a:lnTo>
                    <a:pt x="133" y="405"/>
                  </a:lnTo>
                  <a:lnTo>
                    <a:pt x="142" y="391"/>
                  </a:lnTo>
                  <a:lnTo>
                    <a:pt x="158" y="380"/>
                  </a:lnTo>
                  <a:lnTo>
                    <a:pt x="204" y="375"/>
                  </a:lnTo>
                  <a:lnTo>
                    <a:pt x="213" y="366"/>
                  </a:lnTo>
                  <a:lnTo>
                    <a:pt x="231" y="365"/>
                  </a:lnTo>
                  <a:lnTo>
                    <a:pt x="244" y="361"/>
                  </a:lnTo>
                  <a:lnTo>
                    <a:pt x="245" y="369"/>
                  </a:lnTo>
                  <a:lnTo>
                    <a:pt x="267" y="371"/>
                  </a:lnTo>
                  <a:lnTo>
                    <a:pt x="278" y="383"/>
                  </a:lnTo>
                  <a:lnTo>
                    <a:pt x="289" y="399"/>
                  </a:lnTo>
                  <a:lnTo>
                    <a:pt x="290" y="418"/>
                  </a:lnTo>
                  <a:lnTo>
                    <a:pt x="299" y="416"/>
                  </a:lnTo>
                  <a:lnTo>
                    <a:pt x="310" y="409"/>
                  </a:lnTo>
                  <a:lnTo>
                    <a:pt x="322" y="397"/>
                  </a:lnTo>
                  <a:lnTo>
                    <a:pt x="330" y="383"/>
                  </a:lnTo>
                  <a:lnTo>
                    <a:pt x="332" y="394"/>
                  </a:lnTo>
                  <a:lnTo>
                    <a:pt x="326" y="409"/>
                  </a:lnTo>
                  <a:lnTo>
                    <a:pt x="318" y="420"/>
                  </a:lnTo>
                  <a:lnTo>
                    <a:pt x="328" y="422"/>
                  </a:lnTo>
                  <a:lnTo>
                    <a:pt x="332" y="412"/>
                  </a:lnTo>
                  <a:lnTo>
                    <a:pt x="337" y="405"/>
                  </a:lnTo>
                  <a:lnTo>
                    <a:pt x="337" y="412"/>
                  </a:lnTo>
                  <a:lnTo>
                    <a:pt x="339" y="422"/>
                  </a:lnTo>
                  <a:lnTo>
                    <a:pt x="348" y="431"/>
                  </a:lnTo>
                  <a:lnTo>
                    <a:pt x="349" y="442"/>
                  </a:lnTo>
                  <a:lnTo>
                    <a:pt x="344" y="456"/>
                  </a:lnTo>
                  <a:lnTo>
                    <a:pt x="358" y="471"/>
                  </a:lnTo>
                  <a:lnTo>
                    <a:pt x="389" y="482"/>
                  </a:lnTo>
                  <a:lnTo>
                    <a:pt x="425" y="490"/>
                  </a:lnTo>
                  <a:lnTo>
                    <a:pt x="450" y="481"/>
                  </a:lnTo>
                  <a:lnTo>
                    <a:pt x="491" y="460"/>
                  </a:lnTo>
                  <a:lnTo>
                    <a:pt x="503" y="429"/>
                  </a:lnTo>
                  <a:lnTo>
                    <a:pt x="521" y="415"/>
                  </a:lnTo>
                  <a:lnTo>
                    <a:pt x="534" y="388"/>
                  </a:lnTo>
                  <a:lnTo>
                    <a:pt x="558" y="366"/>
                  </a:lnTo>
                  <a:lnTo>
                    <a:pt x="565" y="355"/>
                  </a:lnTo>
                  <a:lnTo>
                    <a:pt x="565" y="316"/>
                  </a:lnTo>
                  <a:lnTo>
                    <a:pt x="574" y="263"/>
                  </a:lnTo>
                  <a:lnTo>
                    <a:pt x="572" y="251"/>
                  </a:lnTo>
                  <a:lnTo>
                    <a:pt x="555" y="228"/>
                  </a:lnTo>
                  <a:lnTo>
                    <a:pt x="546" y="201"/>
                  </a:lnTo>
                  <a:lnTo>
                    <a:pt x="527" y="191"/>
                  </a:lnTo>
                  <a:lnTo>
                    <a:pt x="523" y="165"/>
                  </a:lnTo>
                  <a:lnTo>
                    <a:pt x="494" y="150"/>
                  </a:lnTo>
                  <a:lnTo>
                    <a:pt x="493" y="117"/>
                  </a:lnTo>
                  <a:lnTo>
                    <a:pt x="483" y="80"/>
                  </a:lnTo>
                  <a:lnTo>
                    <a:pt x="465" y="60"/>
                  </a:lnTo>
                  <a:lnTo>
                    <a:pt x="455" y="33"/>
                  </a:lnTo>
                  <a:lnTo>
                    <a:pt x="463" y="19"/>
                  </a:lnTo>
                  <a:lnTo>
                    <a:pt x="448" y="0"/>
                  </a:lnTo>
                  <a:lnTo>
                    <a:pt x="437" y="19"/>
                  </a:lnTo>
                  <a:lnTo>
                    <a:pt x="429" y="30"/>
                  </a:lnTo>
                  <a:lnTo>
                    <a:pt x="430" y="89"/>
                  </a:lnTo>
                  <a:lnTo>
                    <a:pt x="421" y="104"/>
                  </a:lnTo>
                  <a:lnTo>
                    <a:pt x="416" y="113"/>
                  </a:lnTo>
                  <a:lnTo>
                    <a:pt x="399" y="113"/>
                  </a:lnTo>
                  <a:lnTo>
                    <a:pt x="384" y="100"/>
                  </a:lnTo>
                  <a:lnTo>
                    <a:pt x="365" y="93"/>
                  </a:lnTo>
                  <a:lnTo>
                    <a:pt x="353" y="81"/>
                  </a:lnTo>
                  <a:lnTo>
                    <a:pt x="342" y="77"/>
                  </a:lnTo>
                  <a:lnTo>
                    <a:pt x="348" y="62"/>
                  </a:lnTo>
                  <a:lnTo>
                    <a:pt x="351" y="49"/>
                  </a:lnTo>
                  <a:lnTo>
                    <a:pt x="360" y="46"/>
                  </a:lnTo>
                  <a:lnTo>
                    <a:pt x="366" y="28"/>
                  </a:lnTo>
                  <a:lnTo>
                    <a:pt x="347" y="25"/>
                  </a:lnTo>
                  <a:lnTo>
                    <a:pt x="328" y="23"/>
                  </a:lnTo>
                  <a:lnTo>
                    <a:pt x="307" y="12"/>
                  </a:lnTo>
                  <a:lnTo>
                    <a:pt x="284" y="9"/>
                  </a:lnTo>
                  <a:lnTo>
                    <a:pt x="282" y="15"/>
                  </a:lnTo>
                  <a:lnTo>
                    <a:pt x="293" y="2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5" name="Freeform 136">
              <a:extLst>
                <a:ext uri="{FF2B5EF4-FFF2-40B4-BE49-F238E27FC236}">
                  <a16:creationId xmlns:a16="http://schemas.microsoft.com/office/drawing/2014/main" xmlns="" id="{A6B969C4-E363-4F2A-ACA0-24EF4D129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7130" y="5009368"/>
              <a:ext cx="67763" cy="72540"/>
            </a:xfrm>
            <a:custGeom>
              <a:avLst/>
              <a:gdLst>
                <a:gd name="T0" fmla="*/ 3 w 52"/>
                <a:gd name="T1" fmla="*/ 0 h 53"/>
                <a:gd name="T2" fmla="*/ 22 w 52"/>
                <a:gd name="T3" fmla="*/ 4 h 53"/>
                <a:gd name="T4" fmla="*/ 51 w 52"/>
                <a:gd name="T5" fmla="*/ 4 h 53"/>
                <a:gd name="T6" fmla="*/ 49 w 52"/>
                <a:gd name="T7" fmla="*/ 21 h 53"/>
                <a:gd name="T8" fmla="*/ 40 w 52"/>
                <a:gd name="T9" fmla="*/ 34 h 53"/>
                <a:gd name="T10" fmla="*/ 38 w 52"/>
                <a:gd name="T11" fmla="*/ 47 h 53"/>
                <a:gd name="T12" fmla="*/ 22 w 52"/>
                <a:gd name="T13" fmla="*/ 50 h 53"/>
                <a:gd name="T14" fmla="*/ 11 w 52"/>
                <a:gd name="T15" fmla="*/ 52 h 53"/>
                <a:gd name="T16" fmla="*/ 0 w 52"/>
                <a:gd name="T17" fmla="*/ 45 h 53"/>
                <a:gd name="T18" fmla="*/ 3 w 52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3">
                  <a:moveTo>
                    <a:pt x="3" y="0"/>
                  </a:moveTo>
                  <a:lnTo>
                    <a:pt x="22" y="4"/>
                  </a:lnTo>
                  <a:lnTo>
                    <a:pt x="51" y="4"/>
                  </a:lnTo>
                  <a:lnTo>
                    <a:pt x="49" y="21"/>
                  </a:lnTo>
                  <a:lnTo>
                    <a:pt x="40" y="34"/>
                  </a:lnTo>
                  <a:lnTo>
                    <a:pt x="38" y="47"/>
                  </a:lnTo>
                  <a:lnTo>
                    <a:pt x="22" y="50"/>
                  </a:lnTo>
                  <a:lnTo>
                    <a:pt x="11" y="52"/>
                  </a:lnTo>
                  <a:lnTo>
                    <a:pt x="0" y="45"/>
                  </a:lnTo>
                  <a:lnTo>
                    <a:pt x="3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6" name="Freeform 137">
              <a:extLst>
                <a:ext uri="{FF2B5EF4-FFF2-40B4-BE49-F238E27FC236}">
                  <a16:creationId xmlns:a16="http://schemas.microsoft.com/office/drawing/2014/main" xmlns="" id="{C24DDA97-7DF1-4B3E-878C-8B7C64A70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073" y="4532506"/>
              <a:ext cx="48742" cy="39243"/>
            </a:xfrm>
            <a:custGeom>
              <a:avLst/>
              <a:gdLst>
                <a:gd name="T0" fmla="*/ 11 w 37"/>
                <a:gd name="T1" fmla="*/ 0 h 29"/>
                <a:gd name="T2" fmla="*/ 0 w 37"/>
                <a:gd name="T3" fmla="*/ 5 h 29"/>
                <a:gd name="T4" fmla="*/ 8 w 37"/>
                <a:gd name="T5" fmla="*/ 13 h 29"/>
                <a:gd name="T6" fmla="*/ 18 w 37"/>
                <a:gd name="T7" fmla="*/ 22 h 29"/>
                <a:gd name="T8" fmla="*/ 32 w 37"/>
                <a:gd name="T9" fmla="*/ 28 h 29"/>
                <a:gd name="T10" fmla="*/ 36 w 37"/>
                <a:gd name="T11" fmla="*/ 20 h 29"/>
                <a:gd name="T12" fmla="*/ 26 w 37"/>
                <a:gd name="T13" fmla="*/ 5 h 29"/>
                <a:gd name="T14" fmla="*/ 11 w 37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9">
                  <a:moveTo>
                    <a:pt x="11" y="0"/>
                  </a:moveTo>
                  <a:lnTo>
                    <a:pt x="0" y="5"/>
                  </a:lnTo>
                  <a:lnTo>
                    <a:pt x="8" y="13"/>
                  </a:lnTo>
                  <a:lnTo>
                    <a:pt x="18" y="22"/>
                  </a:lnTo>
                  <a:lnTo>
                    <a:pt x="32" y="28"/>
                  </a:lnTo>
                  <a:lnTo>
                    <a:pt x="36" y="20"/>
                  </a:lnTo>
                  <a:lnTo>
                    <a:pt x="26" y="5"/>
                  </a:lnTo>
                  <a:lnTo>
                    <a:pt x="1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7" name="Freeform 138">
              <a:extLst>
                <a:ext uri="{FF2B5EF4-FFF2-40B4-BE49-F238E27FC236}">
                  <a16:creationId xmlns:a16="http://schemas.microsoft.com/office/drawing/2014/main" xmlns="" id="{893B217D-0809-47A5-8FE8-6BD53BE15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1328" y="4107968"/>
              <a:ext cx="38042" cy="57081"/>
            </a:xfrm>
            <a:custGeom>
              <a:avLst/>
              <a:gdLst>
                <a:gd name="T0" fmla="*/ 0 w 28"/>
                <a:gd name="T1" fmla="*/ 0 h 42"/>
                <a:gd name="T2" fmla="*/ 10 w 28"/>
                <a:gd name="T3" fmla="*/ 20 h 42"/>
                <a:gd name="T4" fmla="*/ 23 w 28"/>
                <a:gd name="T5" fmla="*/ 41 h 42"/>
                <a:gd name="T6" fmla="*/ 27 w 28"/>
                <a:gd name="T7" fmla="*/ 15 h 42"/>
                <a:gd name="T8" fmla="*/ 0 w 28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42">
                  <a:moveTo>
                    <a:pt x="0" y="0"/>
                  </a:moveTo>
                  <a:lnTo>
                    <a:pt x="10" y="20"/>
                  </a:lnTo>
                  <a:lnTo>
                    <a:pt x="23" y="41"/>
                  </a:lnTo>
                  <a:lnTo>
                    <a:pt x="27" y="15"/>
                  </a:lnTo>
                  <a:lnTo>
                    <a:pt x="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8" name="Freeform 139">
              <a:extLst>
                <a:ext uri="{FF2B5EF4-FFF2-40B4-BE49-F238E27FC236}">
                  <a16:creationId xmlns:a16="http://schemas.microsoft.com/office/drawing/2014/main" xmlns="" id="{7A6CD468-12BD-4B05-BF4C-B72DA6EEC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382" y="4138886"/>
              <a:ext cx="160492" cy="167675"/>
            </a:xfrm>
            <a:custGeom>
              <a:avLst/>
              <a:gdLst>
                <a:gd name="T0" fmla="*/ 19 w 119"/>
                <a:gd name="T1" fmla="*/ 74 h 125"/>
                <a:gd name="T2" fmla="*/ 0 w 119"/>
                <a:gd name="T3" fmla="*/ 0 h 125"/>
                <a:gd name="T4" fmla="*/ 16 w 119"/>
                <a:gd name="T5" fmla="*/ 6 h 125"/>
                <a:gd name="T6" fmla="*/ 40 w 119"/>
                <a:gd name="T7" fmla="*/ 5 h 125"/>
                <a:gd name="T8" fmla="*/ 40 w 119"/>
                <a:gd name="T9" fmla="*/ 25 h 125"/>
                <a:gd name="T10" fmla="*/ 55 w 119"/>
                <a:gd name="T11" fmla="*/ 30 h 125"/>
                <a:gd name="T12" fmla="*/ 59 w 119"/>
                <a:gd name="T13" fmla="*/ 40 h 125"/>
                <a:gd name="T14" fmla="*/ 70 w 119"/>
                <a:gd name="T15" fmla="*/ 51 h 125"/>
                <a:gd name="T16" fmla="*/ 78 w 119"/>
                <a:gd name="T17" fmla="*/ 59 h 125"/>
                <a:gd name="T18" fmla="*/ 76 w 119"/>
                <a:gd name="T19" fmla="*/ 76 h 125"/>
                <a:gd name="T20" fmla="*/ 87 w 119"/>
                <a:gd name="T21" fmla="*/ 95 h 125"/>
                <a:gd name="T22" fmla="*/ 107 w 119"/>
                <a:gd name="T23" fmla="*/ 101 h 125"/>
                <a:gd name="T24" fmla="*/ 118 w 119"/>
                <a:gd name="T25" fmla="*/ 120 h 125"/>
                <a:gd name="T26" fmla="*/ 116 w 119"/>
                <a:gd name="T27" fmla="*/ 120 h 125"/>
                <a:gd name="T28" fmla="*/ 115 w 119"/>
                <a:gd name="T29" fmla="*/ 121 h 125"/>
                <a:gd name="T30" fmla="*/ 113 w 119"/>
                <a:gd name="T31" fmla="*/ 121 h 125"/>
                <a:gd name="T32" fmla="*/ 110 w 119"/>
                <a:gd name="T33" fmla="*/ 121 h 125"/>
                <a:gd name="T34" fmla="*/ 108 w 119"/>
                <a:gd name="T35" fmla="*/ 122 h 125"/>
                <a:gd name="T36" fmla="*/ 106 w 119"/>
                <a:gd name="T37" fmla="*/ 123 h 125"/>
                <a:gd name="T38" fmla="*/ 103 w 119"/>
                <a:gd name="T39" fmla="*/ 123 h 125"/>
                <a:gd name="T40" fmla="*/ 101 w 119"/>
                <a:gd name="T41" fmla="*/ 124 h 125"/>
                <a:gd name="T42" fmla="*/ 99 w 119"/>
                <a:gd name="T43" fmla="*/ 124 h 125"/>
                <a:gd name="T44" fmla="*/ 97 w 119"/>
                <a:gd name="T45" fmla="*/ 124 h 125"/>
                <a:gd name="T46" fmla="*/ 96 w 119"/>
                <a:gd name="T47" fmla="*/ 124 h 125"/>
                <a:gd name="T48" fmla="*/ 95 w 119"/>
                <a:gd name="T49" fmla="*/ 122 h 125"/>
                <a:gd name="T50" fmla="*/ 93 w 119"/>
                <a:gd name="T51" fmla="*/ 121 h 125"/>
                <a:gd name="T52" fmla="*/ 91 w 119"/>
                <a:gd name="T53" fmla="*/ 121 h 125"/>
                <a:gd name="T54" fmla="*/ 88 w 119"/>
                <a:gd name="T55" fmla="*/ 121 h 125"/>
                <a:gd name="T56" fmla="*/ 86 w 119"/>
                <a:gd name="T57" fmla="*/ 120 h 125"/>
                <a:gd name="T58" fmla="*/ 83 w 119"/>
                <a:gd name="T59" fmla="*/ 119 h 125"/>
                <a:gd name="T60" fmla="*/ 81 w 119"/>
                <a:gd name="T61" fmla="*/ 118 h 125"/>
                <a:gd name="T62" fmla="*/ 78 w 119"/>
                <a:gd name="T63" fmla="*/ 117 h 125"/>
                <a:gd name="T64" fmla="*/ 76 w 119"/>
                <a:gd name="T65" fmla="*/ 117 h 125"/>
                <a:gd name="T66" fmla="*/ 75 w 119"/>
                <a:gd name="T67" fmla="*/ 117 h 125"/>
                <a:gd name="T68" fmla="*/ 74 w 119"/>
                <a:gd name="T69" fmla="*/ 117 h 125"/>
                <a:gd name="T70" fmla="*/ 55 w 119"/>
                <a:gd name="T71" fmla="*/ 97 h 125"/>
                <a:gd name="T72" fmla="*/ 41 w 119"/>
                <a:gd name="T73" fmla="*/ 78 h 125"/>
                <a:gd name="T74" fmla="*/ 19 w 119"/>
                <a:gd name="T75" fmla="*/ 7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9" h="125">
                  <a:moveTo>
                    <a:pt x="19" y="74"/>
                  </a:moveTo>
                  <a:lnTo>
                    <a:pt x="0" y="0"/>
                  </a:lnTo>
                  <a:lnTo>
                    <a:pt x="16" y="6"/>
                  </a:lnTo>
                  <a:lnTo>
                    <a:pt x="40" y="5"/>
                  </a:lnTo>
                  <a:lnTo>
                    <a:pt x="40" y="25"/>
                  </a:lnTo>
                  <a:lnTo>
                    <a:pt x="55" y="30"/>
                  </a:lnTo>
                  <a:lnTo>
                    <a:pt x="59" y="40"/>
                  </a:lnTo>
                  <a:lnTo>
                    <a:pt x="70" y="51"/>
                  </a:lnTo>
                  <a:lnTo>
                    <a:pt x="78" y="59"/>
                  </a:lnTo>
                  <a:lnTo>
                    <a:pt x="76" y="76"/>
                  </a:lnTo>
                  <a:lnTo>
                    <a:pt x="87" y="95"/>
                  </a:lnTo>
                  <a:lnTo>
                    <a:pt x="107" y="101"/>
                  </a:lnTo>
                  <a:lnTo>
                    <a:pt x="118" y="120"/>
                  </a:lnTo>
                  <a:lnTo>
                    <a:pt x="116" y="120"/>
                  </a:lnTo>
                  <a:lnTo>
                    <a:pt x="115" y="121"/>
                  </a:lnTo>
                  <a:lnTo>
                    <a:pt x="113" y="121"/>
                  </a:lnTo>
                  <a:lnTo>
                    <a:pt x="110" y="121"/>
                  </a:lnTo>
                  <a:lnTo>
                    <a:pt x="108" y="122"/>
                  </a:lnTo>
                  <a:lnTo>
                    <a:pt x="106" y="123"/>
                  </a:lnTo>
                  <a:lnTo>
                    <a:pt x="103" y="123"/>
                  </a:lnTo>
                  <a:lnTo>
                    <a:pt x="101" y="124"/>
                  </a:lnTo>
                  <a:lnTo>
                    <a:pt x="99" y="124"/>
                  </a:lnTo>
                  <a:lnTo>
                    <a:pt x="97" y="124"/>
                  </a:lnTo>
                  <a:lnTo>
                    <a:pt x="96" y="124"/>
                  </a:lnTo>
                  <a:lnTo>
                    <a:pt x="95" y="122"/>
                  </a:lnTo>
                  <a:lnTo>
                    <a:pt x="93" y="121"/>
                  </a:lnTo>
                  <a:lnTo>
                    <a:pt x="91" y="121"/>
                  </a:lnTo>
                  <a:lnTo>
                    <a:pt x="88" y="121"/>
                  </a:lnTo>
                  <a:lnTo>
                    <a:pt x="86" y="120"/>
                  </a:lnTo>
                  <a:lnTo>
                    <a:pt x="83" y="119"/>
                  </a:lnTo>
                  <a:lnTo>
                    <a:pt x="81" y="118"/>
                  </a:lnTo>
                  <a:lnTo>
                    <a:pt x="78" y="117"/>
                  </a:lnTo>
                  <a:lnTo>
                    <a:pt x="76" y="117"/>
                  </a:lnTo>
                  <a:lnTo>
                    <a:pt x="75" y="117"/>
                  </a:lnTo>
                  <a:lnTo>
                    <a:pt x="74" y="117"/>
                  </a:lnTo>
                  <a:lnTo>
                    <a:pt x="55" y="97"/>
                  </a:lnTo>
                  <a:lnTo>
                    <a:pt x="41" y="78"/>
                  </a:lnTo>
                  <a:lnTo>
                    <a:pt x="19" y="7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9" name="Freeform 140">
              <a:extLst>
                <a:ext uri="{FF2B5EF4-FFF2-40B4-BE49-F238E27FC236}">
                  <a16:creationId xmlns:a16="http://schemas.microsoft.com/office/drawing/2014/main" xmlns="" id="{332E61EC-8941-4128-9082-0D0087463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4964" y="4169805"/>
              <a:ext cx="54686" cy="44000"/>
            </a:xfrm>
            <a:custGeom>
              <a:avLst/>
              <a:gdLst>
                <a:gd name="T0" fmla="*/ 2 w 41"/>
                <a:gd name="T1" fmla="*/ 16 h 33"/>
                <a:gd name="T2" fmla="*/ 0 w 41"/>
                <a:gd name="T3" fmla="*/ 28 h 33"/>
                <a:gd name="T4" fmla="*/ 16 w 41"/>
                <a:gd name="T5" fmla="*/ 32 h 33"/>
                <a:gd name="T6" fmla="*/ 32 w 41"/>
                <a:gd name="T7" fmla="*/ 22 h 33"/>
                <a:gd name="T8" fmla="*/ 40 w 41"/>
                <a:gd name="T9" fmla="*/ 11 h 33"/>
                <a:gd name="T10" fmla="*/ 38 w 41"/>
                <a:gd name="T11" fmla="*/ 0 h 33"/>
                <a:gd name="T12" fmla="*/ 26 w 41"/>
                <a:gd name="T13" fmla="*/ 1 h 33"/>
                <a:gd name="T14" fmla="*/ 24 w 41"/>
                <a:gd name="T15" fmla="*/ 11 h 33"/>
                <a:gd name="T16" fmla="*/ 2 w 41"/>
                <a:gd name="T17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33">
                  <a:moveTo>
                    <a:pt x="2" y="16"/>
                  </a:moveTo>
                  <a:lnTo>
                    <a:pt x="0" y="28"/>
                  </a:lnTo>
                  <a:lnTo>
                    <a:pt x="16" y="32"/>
                  </a:lnTo>
                  <a:lnTo>
                    <a:pt x="32" y="22"/>
                  </a:lnTo>
                  <a:lnTo>
                    <a:pt x="40" y="11"/>
                  </a:lnTo>
                  <a:lnTo>
                    <a:pt x="38" y="0"/>
                  </a:lnTo>
                  <a:lnTo>
                    <a:pt x="26" y="1"/>
                  </a:lnTo>
                  <a:lnTo>
                    <a:pt x="24" y="11"/>
                  </a:lnTo>
                  <a:lnTo>
                    <a:pt x="2" y="1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0" name="Freeform 141">
              <a:extLst>
                <a:ext uri="{FF2B5EF4-FFF2-40B4-BE49-F238E27FC236}">
                  <a16:creationId xmlns:a16="http://schemas.microsoft.com/office/drawing/2014/main" xmlns="" id="{366F33C5-3555-4D7F-9F45-9099A70FD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126" y="4181697"/>
              <a:ext cx="27343" cy="21405"/>
            </a:xfrm>
            <a:custGeom>
              <a:avLst/>
              <a:gdLst>
                <a:gd name="T0" fmla="*/ 10 w 21"/>
                <a:gd name="T1" fmla="*/ 15 h 16"/>
                <a:gd name="T2" fmla="*/ 11 w 21"/>
                <a:gd name="T3" fmla="*/ 14 h 16"/>
                <a:gd name="T4" fmla="*/ 13 w 21"/>
                <a:gd name="T5" fmla="*/ 14 h 16"/>
                <a:gd name="T6" fmla="*/ 15 w 21"/>
                <a:gd name="T7" fmla="*/ 13 h 16"/>
                <a:gd name="T8" fmla="*/ 16 w 21"/>
                <a:gd name="T9" fmla="*/ 13 h 16"/>
                <a:gd name="T10" fmla="*/ 17 w 21"/>
                <a:gd name="T11" fmla="*/ 12 h 16"/>
                <a:gd name="T12" fmla="*/ 18 w 21"/>
                <a:gd name="T13" fmla="*/ 11 h 16"/>
                <a:gd name="T14" fmla="*/ 19 w 21"/>
                <a:gd name="T15" fmla="*/ 11 h 16"/>
                <a:gd name="T16" fmla="*/ 20 w 21"/>
                <a:gd name="T17" fmla="*/ 9 h 16"/>
                <a:gd name="T18" fmla="*/ 20 w 21"/>
                <a:gd name="T19" fmla="*/ 8 h 16"/>
                <a:gd name="T20" fmla="*/ 20 w 21"/>
                <a:gd name="T21" fmla="*/ 7 h 16"/>
                <a:gd name="T22" fmla="*/ 20 w 21"/>
                <a:gd name="T23" fmla="*/ 6 h 16"/>
                <a:gd name="T24" fmla="*/ 20 w 21"/>
                <a:gd name="T25" fmla="*/ 5 h 16"/>
                <a:gd name="T26" fmla="*/ 19 w 21"/>
                <a:gd name="T27" fmla="*/ 4 h 16"/>
                <a:gd name="T28" fmla="*/ 18 w 21"/>
                <a:gd name="T29" fmla="*/ 4 h 16"/>
                <a:gd name="T30" fmla="*/ 18 w 21"/>
                <a:gd name="T31" fmla="*/ 3 h 16"/>
                <a:gd name="T32" fmla="*/ 17 w 21"/>
                <a:gd name="T33" fmla="*/ 2 h 16"/>
                <a:gd name="T34" fmla="*/ 16 w 21"/>
                <a:gd name="T35" fmla="*/ 1 h 16"/>
                <a:gd name="T36" fmla="*/ 15 w 21"/>
                <a:gd name="T37" fmla="*/ 1 h 16"/>
                <a:gd name="T38" fmla="*/ 13 w 21"/>
                <a:gd name="T39" fmla="*/ 0 h 16"/>
                <a:gd name="T40" fmla="*/ 11 w 21"/>
                <a:gd name="T41" fmla="*/ 0 h 16"/>
                <a:gd name="T42" fmla="*/ 10 w 21"/>
                <a:gd name="T43" fmla="*/ 0 h 16"/>
                <a:gd name="T44" fmla="*/ 8 w 21"/>
                <a:gd name="T45" fmla="*/ 0 h 16"/>
                <a:gd name="T46" fmla="*/ 7 w 21"/>
                <a:gd name="T47" fmla="*/ 0 h 16"/>
                <a:gd name="T48" fmla="*/ 5 w 21"/>
                <a:gd name="T49" fmla="*/ 0 h 16"/>
                <a:gd name="T50" fmla="*/ 5 w 21"/>
                <a:gd name="T51" fmla="*/ 1 h 16"/>
                <a:gd name="T52" fmla="*/ 3 w 21"/>
                <a:gd name="T53" fmla="*/ 1 h 16"/>
                <a:gd name="T54" fmla="*/ 3 w 21"/>
                <a:gd name="T55" fmla="*/ 2 h 16"/>
                <a:gd name="T56" fmla="*/ 2 w 21"/>
                <a:gd name="T57" fmla="*/ 3 h 16"/>
                <a:gd name="T58" fmla="*/ 1 w 21"/>
                <a:gd name="T59" fmla="*/ 4 h 16"/>
                <a:gd name="T60" fmla="*/ 0 w 21"/>
                <a:gd name="T61" fmla="*/ 5 h 16"/>
                <a:gd name="T62" fmla="*/ 0 w 21"/>
                <a:gd name="T63" fmla="*/ 6 h 16"/>
                <a:gd name="T64" fmla="*/ 0 w 21"/>
                <a:gd name="T65" fmla="*/ 7 h 16"/>
                <a:gd name="T66" fmla="*/ 0 w 21"/>
                <a:gd name="T67" fmla="*/ 8 h 16"/>
                <a:gd name="T68" fmla="*/ 0 w 21"/>
                <a:gd name="T69" fmla="*/ 9 h 16"/>
                <a:gd name="T70" fmla="*/ 1 w 21"/>
                <a:gd name="T71" fmla="*/ 11 h 16"/>
                <a:gd name="T72" fmla="*/ 2 w 21"/>
                <a:gd name="T73" fmla="*/ 11 h 16"/>
                <a:gd name="T74" fmla="*/ 3 w 21"/>
                <a:gd name="T75" fmla="*/ 12 h 16"/>
                <a:gd name="T76" fmla="*/ 3 w 21"/>
                <a:gd name="T77" fmla="*/ 13 h 16"/>
                <a:gd name="T78" fmla="*/ 5 w 21"/>
                <a:gd name="T79" fmla="*/ 13 h 16"/>
                <a:gd name="T80" fmla="*/ 5 w 21"/>
                <a:gd name="T81" fmla="*/ 14 h 16"/>
                <a:gd name="T82" fmla="*/ 7 w 21"/>
                <a:gd name="T83" fmla="*/ 14 h 16"/>
                <a:gd name="T84" fmla="*/ 8 w 21"/>
                <a:gd name="T85" fmla="*/ 14 h 16"/>
                <a:gd name="T86" fmla="*/ 10 w 21"/>
                <a:gd name="T8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" h="16">
                  <a:moveTo>
                    <a:pt x="10" y="15"/>
                  </a:moveTo>
                  <a:lnTo>
                    <a:pt x="11" y="14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7" y="12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4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10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1" name="Freeform 142">
              <a:extLst>
                <a:ext uri="{FF2B5EF4-FFF2-40B4-BE49-F238E27FC236}">
                  <a16:creationId xmlns:a16="http://schemas.microsoft.com/office/drawing/2014/main" xmlns="" id="{18066EA6-BB79-4B67-AF14-71F2724E4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1253" y="4109157"/>
              <a:ext cx="24965" cy="21405"/>
            </a:xfrm>
            <a:custGeom>
              <a:avLst/>
              <a:gdLst>
                <a:gd name="T0" fmla="*/ 9 w 19"/>
                <a:gd name="T1" fmla="*/ 14 h 15"/>
                <a:gd name="T2" fmla="*/ 8 w 19"/>
                <a:gd name="T3" fmla="*/ 14 h 15"/>
                <a:gd name="T4" fmla="*/ 6 w 19"/>
                <a:gd name="T5" fmla="*/ 14 h 15"/>
                <a:gd name="T6" fmla="*/ 5 w 19"/>
                <a:gd name="T7" fmla="*/ 14 h 15"/>
                <a:gd name="T8" fmla="*/ 4 w 19"/>
                <a:gd name="T9" fmla="*/ 14 h 15"/>
                <a:gd name="T10" fmla="*/ 3 w 19"/>
                <a:gd name="T11" fmla="*/ 12 h 15"/>
                <a:gd name="T12" fmla="*/ 2 w 19"/>
                <a:gd name="T13" fmla="*/ 12 h 15"/>
                <a:gd name="T14" fmla="*/ 1 w 19"/>
                <a:gd name="T15" fmla="*/ 12 h 15"/>
                <a:gd name="T16" fmla="*/ 0 w 19"/>
                <a:gd name="T17" fmla="*/ 12 h 15"/>
                <a:gd name="T18" fmla="*/ 0 w 19"/>
                <a:gd name="T19" fmla="*/ 11 h 15"/>
                <a:gd name="T20" fmla="*/ 0 w 19"/>
                <a:gd name="T21" fmla="*/ 9 h 15"/>
                <a:gd name="T22" fmla="*/ 0 w 19"/>
                <a:gd name="T23" fmla="*/ 7 h 15"/>
                <a:gd name="T24" fmla="*/ 0 w 19"/>
                <a:gd name="T25" fmla="*/ 6 h 15"/>
                <a:gd name="T26" fmla="*/ 0 w 19"/>
                <a:gd name="T27" fmla="*/ 4 h 15"/>
                <a:gd name="T28" fmla="*/ 1 w 19"/>
                <a:gd name="T29" fmla="*/ 4 h 15"/>
                <a:gd name="T30" fmla="*/ 2 w 19"/>
                <a:gd name="T31" fmla="*/ 3 h 15"/>
                <a:gd name="T32" fmla="*/ 3 w 19"/>
                <a:gd name="T33" fmla="*/ 3 h 15"/>
                <a:gd name="T34" fmla="*/ 4 w 19"/>
                <a:gd name="T35" fmla="*/ 1 h 15"/>
                <a:gd name="T36" fmla="*/ 5 w 19"/>
                <a:gd name="T37" fmla="*/ 1 h 15"/>
                <a:gd name="T38" fmla="*/ 6 w 19"/>
                <a:gd name="T39" fmla="*/ 1 h 15"/>
                <a:gd name="T40" fmla="*/ 8 w 19"/>
                <a:gd name="T41" fmla="*/ 1 h 15"/>
                <a:gd name="T42" fmla="*/ 9 w 19"/>
                <a:gd name="T43" fmla="*/ 0 h 15"/>
                <a:gd name="T44" fmla="*/ 9 w 19"/>
                <a:gd name="T45" fmla="*/ 1 h 15"/>
                <a:gd name="T46" fmla="*/ 11 w 19"/>
                <a:gd name="T47" fmla="*/ 1 h 15"/>
                <a:gd name="T48" fmla="*/ 13 w 19"/>
                <a:gd name="T49" fmla="*/ 1 h 15"/>
                <a:gd name="T50" fmla="*/ 14 w 19"/>
                <a:gd name="T51" fmla="*/ 3 h 15"/>
                <a:gd name="T52" fmla="*/ 15 w 19"/>
                <a:gd name="T53" fmla="*/ 3 h 15"/>
                <a:gd name="T54" fmla="*/ 15 w 19"/>
                <a:gd name="T55" fmla="*/ 4 h 15"/>
                <a:gd name="T56" fmla="*/ 16 w 19"/>
                <a:gd name="T57" fmla="*/ 4 h 15"/>
                <a:gd name="T58" fmla="*/ 17 w 19"/>
                <a:gd name="T59" fmla="*/ 6 h 15"/>
                <a:gd name="T60" fmla="*/ 17 w 19"/>
                <a:gd name="T61" fmla="*/ 7 h 15"/>
                <a:gd name="T62" fmla="*/ 18 w 19"/>
                <a:gd name="T63" fmla="*/ 7 h 15"/>
                <a:gd name="T64" fmla="*/ 17 w 19"/>
                <a:gd name="T65" fmla="*/ 9 h 15"/>
                <a:gd name="T66" fmla="*/ 17 w 19"/>
                <a:gd name="T67" fmla="*/ 11 h 15"/>
                <a:gd name="T68" fmla="*/ 16 w 19"/>
                <a:gd name="T69" fmla="*/ 11 h 15"/>
                <a:gd name="T70" fmla="*/ 16 w 19"/>
                <a:gd name="T71" fmla="*/ 12 h 15"/>
                <a:gd name="T72" fmla="*/ 15 w 19"/>
                <a:gd name="T73" fmla="*/ 12 h 15"/>
                <a:gd name="T74" fmla="*/ 14 w 19"/>
                <a:gd name="T75" fmla="*/ 12 h 15"/>
                <a:gd name="T76" fmla="*/ 13 w 19"/>
                <a:gd name="T77" fmla="*/ 14 h 15"/>
                <a:gd name="T78" fmla="*/ 11 w 19"/>
                <a:gd name="T79" fmla="*/ 14 h 15"/>
                <a:gd name="T80" fmla="*/ 9 w 19"/>
                <a:gd name="T8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" h="15">
                  <a:moveTo>
                    <a:pt x="9" y="14"/>
                  </a:moveTo>
                  <a:lnTo>
                    <a:pt x="8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9" y="0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3" y="1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8" y="7"/>
                  </a:lnTo>
                  <a:lnTo>
                    <a:pt x="17" y="9"/>
                  </a:lnTo>
                  <a:lnTo>
                    <a:pt x="17" y="11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4" y="12"/>
                  </a:lnTo>
                  <a:lnTo>
                    <a:pt x="13" y="14"/>
                  </a:lnTo>
                  <a:lnTo>
                    <a:pt x="11" y="14"/>
                  </a:lnTo>
                  <a:lnTo>
                    <a:pt x="9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2" name="Freeform 143">
              <a:extLst>
                <a:ext uri="{FF2B5EF4-FFF2-40B4-BE49-F238E27FC236}">
                  <a16:creationId xmlns:a16="http://schemas.microsoft.com/office/drawing/2014/main" xmlns="" id="{17DBB1F9-6F05-48DF-AE55-65EE9AD4F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408" y="4203102"/>
              <a:ext cx="181890" cy="61837"/>
            </a:xfrm>
            <a:custGeom>
              <a:avLst/>
              <a:gdLst>
                <a:gd name="T0" fmla="*/ 19 w 135"/>
                <a:gd name="T1" fmla="*/ 2 h 46"/>
                <a:gd name="T2" fmla="*/ 8 w 135"/>
                <a:gd name="T3" fmla="*/ 7 h 46"/>
                <a:gd name="T4" fmla="*/ 0 w 135"/>
                <a:gd name="T5" fmla="*/ 17 h 46"/>
                <a:gd name="T6" fmla="*/ 8 w 135"/>
                <a:gd name="T7" fmla="*/ 31 h 46"/>
                <a:gd name="T8" fmla="*/ 35 w 135"/>
                <a:gd name="T9" fmla="*/ 31 h 46"/>
                <a:gd name="T10" fmla="*/ 45 w 135"/>
                <a:gd name="T11" fmla="*/ 36 h 46"/>
                <a:gd name="T12" fmla="*/ 68 w 135"/>
                <a:gd name="T13" fmla="*/ 36 h 46"/>
                <a:gd name="T14" fmla="*/ 70 w 135"/>
                <a:gd name="T15" fmla="*/ 45 h 46"/>
                <a:gd name="T16" fmla="*/ 112 w 135"/>
                <a:gd name="T17" fmla="*/ 45 h 46"/>
                <a:gd name="T18" fmla="*/ 123 w 135"/>
                <a:gd name="T19" fmla="*/ 45 h 46"/>
                <a:gd name="T20" fmla="*/ 133 w 135"/>
                <a:gd name="T21" fmla="*/ 45 h 46"/>
                <a:gd name="T22" fmla="*/ 134 w 135"/>
                <a:gd name="T23" fmla="*/ 34 h 46"/>
                <a:gd name="T24" fmla="*/ 121 w 135"/>
                <a:gd name="T25" fmla="*/ 28 h 46"/>
                <a:gd name="T26" fmla="*/ 123 w 135"/>
                <a:gd name="T27" fmla="*/ 17 h 46"/>
                <a:gd name="T28" fmla="*/ 110 w 135"/>
                <a:gd name="T29" fmla="*/ 18 h 46"/>
                <a:gd name="T30" fmla="*/ 94 w 135"/>
                <a:gd name="T31" fmla="*/ 17 h 46"/>
                <a:gd name="T32" fmla="*/ 82 w 135"/>
                <a:gd name="T33" fmla="*/ 9 h 46"/>
                <a:gd name="T34" fmla="*/ 61 w 135"/>
                <a:gd name="T35" fmla="*/ 8 h 46"/>
                <a:gd name="T36" fmla="*/ 40 w 135"/>
                <a:gd name="T37" fmla="*/ 0 h 46"/>
                <a:gd name="T38" fmla="*/ 19 w 135"/>
                <a:gd name="T39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5" h="46">
                  <a:moveTo>
                    <a:pt x="19" y="2"/>
                  </a:moveTo>
                  <a:lnTo>
                    <a:pt x="8" y="7"/>
                  </a:lnTo>
                  <a:lnTo>
                    <a:pt x="0" y="17"/>
                  </a:lnTo>
                  <a:lnTo>
                    <a:pt x="8" y="31"/>
                  </a:lnTo>
                  <a:lnTo>
                    <a:pt x="35" y="31"/>
                  </a:lnTo>
                  <a:lnTo>
                    <a:pt x="45" y="36"/>
                  </a:lnTo>
                  <a:lnTo>
                    <a:pt x="68" y="36"/>
                  </a:lnTo>
                  <a:lnTo>
                    <a:pt x="70" y="45"/>
                  </a:lnTo>
                  <a:lnTo>
                    <a:pt x="112" y="45"/>
                  </a:lnTo>
                  <a:lnTo>
                    <a:pt x="123" y="45"/>
                  </a:lnTo>
                  <a:lnTo>
                    <a:pt x="133" y="45"/>
                  </a:lnTo>
                  <a:lnTo>
                    <a:pt x="134" y="34"/>
                  </a:lnTo>
                  <a:lnTo>
                    <a:pt x="121" y="28"/>
                  </a:lnTo>
                  <a:lnTo>
                    <a:pt x="123" y="17"/>
                  </a:lnTo>
                  <a:lnTo>
                    <a:pt x="110" y="18"/>
                  </a:lnTo>
                  <a:lnTo>
                    <a:pt x="94" y="17"/>
                  </a:lnTo>
                  <a:lnTo>
                    <a:pt x="82" y="9"/>
                  </a:lnTo>
                  <a:lnTo>
                    <a:pt x="61" y="8"/>
                  </a:lnTo>
                  <a:lnTo>
                    <a:pt x="40" y="0"/>
                  </a:lnTo>
                  <a:lnTo>
                    <a:pt x="19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3" name="Freeform 144">
              <a:extLst>
                <a:ext uri="{FF2B5EF4-FFF2-40B4-BE49-F238E27FC236}">
                  <a16:creationId xmlns:a16="http://schemas.microsoft.com/office/drawing/2014/main" xmlns="" id="{F1C1A3B6-BACA-41A4-8DAB-0ED7D1BC0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586" y="4257804"/>
              <a:ext cx="20210" cy="17838"/>
            </a:xfrm>
            <a:custGeom>
              <a:avLst/>
              <a:gdLst>
                <a:gd name="T0" fmla="*/ 7 w 15"/>
                <a:gd name="T1" fmla="*/ 12 h 13"/>
                <a:gd name="T2" fmla="*/ 4 w 15"/>
                <a:gd name="T3" fmla="*/ 11 h 13"/>
                <a:gd name="T4" fmla="*/ 2 w 15"/>
                <a:gd name="T5" fmla="*/ 11 h 13"/>
                <a:gd name="T6" fmla="*/ 0 w 15"/>
                <a:gd name="T7" fmla="*/ 10 h 13"/>
                <a:gd name="T8" fmla="*/ 0 w 15"/>
                <a:gd name="T9" fmla="*/ 8 h 13"/>
                <a:gd name="T10" fmla="*/ 0 w 15"/>
                <a:gd name="T11" fmla="*/ 6 h 13"/>
                <a:gd name="T12" fmla="*/ 0 w 15"/>
                <a:gd name="T13" fmla="*/ 5 h 13"/>
                <a:gd name="T14" fmla="*/ 0 w 15"/>
                <a:gd name="T15" fmla="*/ 4 h 13"/>
                <a:gd name="T16" fmla="*/ 0 w 15"/>
                <a:gd name="T17" fmla="*/ 3 h 13"/>
                <a:gd name="T18" fmla="*/ 0 w 15"/>
                <a:gd name="T19" fmla="*/ 2 h 13"/>
                <a:gd name="T20" fmla="*/ 0 w 15"/>
                <a:gd name="T21" fmla="*/ 1 h 13"/>
                <a:gd name="T22" fmla="*/ 2 w 15"/>
                <a:gd name="T23" fmla="*/ 0 h 13"/>
                <a:gd name="T24" fmla="*/ 4 w 15"/>
                <a:gd name="T25" fmla="*/ 0 h 13"/>
                <a:gd name="T26" fmla="*/ 7 w 15"/>
                <a:gd name="T27" fmla="*/ 0 h 13"/>
                <a:gd name="T28" fmla="*/ 9 w 15"/>
                <a:gd name="T29" fmla="*/ 0 h 13"/>
                <a:gd name="T30" fmla="*/ 11 w 15"/>
                <a:gd name="T31" fmla="*/ 1 h 13"/>
                <a:gd name="T32" fmla="*/ 11 w 15"/>
                <a:gd name="T33" fmla="*/ 2 h 13"/>
                <a:gd name="T34" fmla="*/ 11 w 15"/>
                <a:gd name="T35" fmla="*/ 3 h 13"/>
                <a:gd name="T36" fmla="*/ 11 w 15"/>
                <a:gd name="T37" fmla="*/ 4 h 13"/>
                <a:gd name="T38" fmla="*/ 14 w 15"/>
                <a:gd name="T39" fmla="*/ 5 h 13"/>
                <a:gd name="T40" fmla="*/ 11 w 15"/>
                <a:gd name="T41" fmla="*/ 5 h 13"/>
                <a:gd name="T42" fmla="*/ 11 w 15"/>
                <a:gd name="T43" fmla="*/ 6 h 13"/>
                <a:gd name="T44" fmla="*/ 11 w 15"/>
                <a:gd name="T45" fmla="*/ 8 h 13"/>
                <a:gd name="T46" fmla="*/ 11 w 15"/>
                <a:gd name="T47" fmla="*/ 10 h 13"/>
                <a:gd name="T48" fmla="*/ 9 w 15"/>
                <a:gd name="T49" fmla="*/ 11 h 13"/>
                <a:gd name="T50" fmla="*/ 7 w 15"/>
                <a:gd name="T51" fmla="*/ 11 h 13"/>
                <a:gd name="T52" fmla="*/ 7 w 15"/>
                <a:gd name="T5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" h="13">
                  <a:moveTo>
                    <a:pt x="7" y="12"/>
                  </a:moveTo>
                  <a:lnTo>
                    <a:pt x="4" y="11"/>
                  </a:lnTo>
                  <a:lnTo>
                    <a:pt x="2" y="11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8"/>
                  </a:lnTo>
                  <a:lnTo>
                    <a:pt x="11" y="10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4" name="Freeform 145">
              <a:extLst>
                <a:ext uri="{FF2B5EF4-FFF2-40B4-BE49-F238E27FC236}">
                  <a16:creationId xmlns:a16="http://schemas.microsoft.com/office/drawing/2014/main" xmlns="" id="{159E5433-4EA7-4760-95C9-A23A890BE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971" y="4260183"/>
              <a:ext cx="43987" cy="19027"/>
            </a:xfrm>
            <a:custGeom>
              <a:avLst/>
              <a:gdLst>
                <a:gd name="T0" fmla="*/ 0 w 33"/>
                <a:gd name="T1" fmla="*/ 2 h 15"/>
                <a:gd name="T2" fmla="*/ 17 w 33"/>
                <a:gd name="T3" fmla="*/ 0 h 15"/>
                <a:gd name="T4" fmla="*/ 32 w 33"/>
                <a:gd name="T5" fmla="*/ 6 h 15"/>
                <a:gd name="T6" fmla="*/ 21 w 33"/>
                <a:gd name="T7" fmla="*/ 14 h 15"/>
                <a:gd name="T8" fmla="*/ 3 w 33"/>
                <a:gd name="T9" fmla="*/ 11 h 15"/>
                <a:gd name="T10" fmla="*/ 0 w 33"/>
                <a:gd name="T1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5">
                  <a:moveTo>
                    <a:pt x="0" y="2"/>
                  </a:moveTo>
                  <a:lnTo>
                    <a:pt x="17" y="0"/>
                  </a:lnTo>
                  <a:lnTo>
                    <a:pt x="32" y="6"/>
                  </a:lnTo>
                  <a:lnTo>
                    <a:pt x="21" y="14"/>
                  </a:lnTo>
                  <a:lnTo>
                    <a:pt x="3" y="11"/>
                  </a:lnTo>
                  <a:lnTo>
                    <a:pt x="0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5" name="Freeform 146">
              <a:extLst>
                <a:ext uri="{FF2B5EF4-FFF2-40B4-BE49-F238E27FC236}">
                  <a16:creationId xmlns:a16="http://schemas.microsoft.com/office/drawing/2014/main" xmlns="" id="{89346338-A59E-44FB-87DF-7A590EAE2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8035" y="4285156"/>
              <a:ext cx="23777" cy="21405"/>
            </a:xfrm>
            <a:custGeom>
              <a:avLst/>
              <a:gdLst>
                <a:gd name="T0" fmla="*/ 16 w 17"/>
                <a:gd name="T1" fmla="*/ 0 h 15"/>
                <a:gd name="T2" fmla="*/ 6 w 17"/>
                <a:gd name="T3" fmla="*/ 2 h 15"/>
                <a:gd name="T4" fmla="*/ 0 w 17"/>
                <a:gd name="T5" fmla="*/ 14 h 15"/>
                <a:gd name="T6" fmla="*/ 8 w 17"/>
                <a:gd name="T7" fmla="*/ 14 h 15"/>
                <a:gd name="T8" fmla="*/ 16 w 17"/>
                <a:gd name="T9" fmla="*/ 5 h 15"/>
                <a:gd name="T10" fmla="*/ 16 w 17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5">
                  <a:moveTo>
                    <a:pt x="16" y="0"/>
                  </a:moveTo>
                  <a:lnTo>
                    <a:pt x="6" y="2"/>
                  </a:lnTo>
                  <a:lnTo>
                    <a:pt x="0" y="14"/>
                  </a:lnTo>
                  <a:lnTo>
                    <a:pt x="8" y="14"/>
                  </a:lnTo>
                  <a:lnTo>
                    <a:pt x="16" y="5"/>
                  </a:lnTo>
                  <a:lnTo>
                    <a:pt x="16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6" name="Freeform 147">
              <a:extLst>
                <a:ext uri="{FF2B5EF4-FFF2-40B4-BE49-F238E27FC236}">
                  <a16:creationId xmlns:a16="http://schemas.microsoft.com/office/drawing/2014/main" xmlns="" id="{22BDD18C-1585-425B-9D77-20FBCE09C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873" y="4036617"/>
              <a:ext cx="128393" cy="166486"/>
            </a:xfrm>
            <a:custGeom>
              <a:avLst/>
              <a:gdLst>
                <a:gd name="T0" fmla="*/ 24 w 97"/>
                <a:gd name="T1" fmla="*/ 17 h 124"/>
                <a:gd name="T2" fmla="*/ 21 w 97"/>
                <a:gd name="T3" fmla="*/ 36 h 124"/>
                <a:gd name="T4" fmla="*/ 14 w 97"/>
                <a:gd name="T5" fmla="*/ 46 h 124"/>
                <a:gd name="T6" fmla="*/ 11 w 97"/>
                <a:gd name="T7" fmla="*/ 60 h 124"/>
                <a:gd name="T8" fmla="*/ 0 w 97"/>
                <a:gd name="T9" fmla="*/ 68 h 124"/>
                <a:gd name="T10" fmla="*/ 0 w 97"/>
                <a:gd name="T11" fmla="*/ 94 h 124"/>
                <a:gd name="T12" fmla="*/ 13 w 97"/>
                <a:gd name="T13" fmla="*/ 100 h 124"/>
                <a:gd name="T14" fmla="*/ 15 w 97"/>
                <a:gd name="T15" fmla="*/ 118 h 124"/>
                <a:gd name="T16" fmla="*/ 27 w 97"/>
                <a:gd name="T17" fmla="*/ 120 h 124"/>
                <a:gd name="T18" fmla="*/ 32 w 97"/>
                <a:gd name="T19" fmla="*/ 92 h 124"/>
                <a:gd name="T20" fmla="*/ 42 w 97"/>
                <a:gd name="T21" fmla="*/ 89 h 124"/>
                <a:gd name="T22" fmla="*/ 42 w 97"/>
                <a:gd name="T23" fmla="*/ 112 h 124"/>
                <a:gd name="T24" fmla="*/ 53 w 97"/>
                <a:gd name="T25" fmla="*/ 115 h 124"/>
                <a:gd name="T26" fmla="*/ 56 w 97"/>
                <a:gd name="T27" fmla="*/ 123 h 124"/>
                <a:gd name="T28" fmla="*/ 69 w 97"/>
                <a:gd name="T29" fmla="*/ 120 h 124"/>
                <a:gd name="T30" fmla="*/ 68 w 97"/>
                <a:gd name="T31" fmla="*/ 104 h 124"/>
                <a:gd name="T32" fmla="*/ 49 w 97"/>
                <a:gd name="T33" fmla="*/ 72 h 124"/>
                <a:gd name="T34" fmla="*/ 59 w 97"/>
                <a:gd name="T35" fmla="*/ 64 h 124"/>
                <a:gd name="T36" fmla="*/ 68 w 97"/>
                <a:gd name="T37" fmla="*/ 48 h 124"/>
                <a:gd name="T38" fmla="*/ 61 w 97"/>
                <a:gd name="T39" fmla="*/ 42 h 124"/>
                <a:gd name="T40" fmla="*/ 51 w 97"/>
                <a:gd name="T41" fmla="*/ 47 h 124"/>
                <a:gd name="T42" fmla="*/ 42 w 97"/>
                <a:gd name="T43" fmla="*/ 52 h 124"/>
                <a:gd name="T44" fmla="*/ 35 w 97"/>
                <a:gd name="T45" fmla="*/ 33 h 124"/>
                <a:gd name="T46" fmla="*/ 32 w 97"/>
                <a:gd name="T47" fmla="*/ 15 h 124"/>
                <a:gd name="T48" fmla="*/ 40 w 97"/>
                <a:gd name="T49" fmla="*/ 18 h 124"/>
                <a:gd name="T50" fmla="*/ 49 w 97"/>
                <a:gd name="T51" fmla="*/ 25 h 124"/>
                <a:gd name="T52" fmla="*/ 64 w 97"/>
                <a:gd name="T53" fmla="*/ 21 h 124"/>
                <a:gd name="T54" fmla="*/ 71 w 97"/>
                <a:gd name="T55" fmla="*/ 26 h 124"/>
                <a:gd name="T56" fmla="*/ 88 w 97"/>
                <a:gd name="T57" fmla="*/ 21 h 124"/>
                <a:gd name="T58" fmla="*/ 96 w 97"/>
                <a:gd name="T59" fmla="*/ 17 h 124"/>
                <a:gd name="T60" fmla="*/ 93 w 97"/>
                <a:gd name="T61" fmla="*/ 0 h 124"/>
                <a:gd name="T62" fmla="*/ 83 w 97"/>
                <a:gd name="T63" fmla="*/ 0 h 124"/>
                <a:gd name="T64" fmla="*/ 77 w 97"/>
                <a:gd name="T65" fmla="*/ 12 h 124"/>
                <a:gd name="T66" fmla="*/ 45 w 97"/>
                <a:gd name="T67" fmla="*/ 9 h 124"/>
                <a:gd name="T68" fmla="*/ 26 w 97"/>
                <a:gd name="T69" fmla="*/ 10 h 124"/>
                <a:gd name="T70" fmla="*/ 24 w 97"/>
                <a:gd name="T71" fmla="*/ 1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124">
                  <a:moveTo>
                    <a:pt x="24" y="17"/>
                  </a:moveTo>
                  <a:lnTo>
                    <a:pt x="21" y="36"/>
                  </a:lnTo>
                  <a:lnTo>
                    <a:pt x="14" y="46"/>
                  </a:lnTo>
                  <a:lnTo>
                    <a:pt x="11" y="60"/>
                  </a:lnTo>
                  <a:lnTo>
                    <a:pt x="0" y="68"/>
                  </a:lnTo>
                  <a:lnTo>
                    <a:pt x="0" y="94"/>
                  </a:lnTo>
                  <a:lnTo>
                    <a:pt x="13" y="100"/>
                  </a:lnTo>
                  <a:lnTo>
                    <a:pt x="15" y="118"/>
                  </a:lnTo>
                  <a:lnTo>
                    <a:pt x="27" y="120"/>
                  </a:lnTo>
                  <a:lnTo>
                    <a:pt x="32" y="92"/>
                  </a:lnTo>
                  <a:lnTo>
                    <a:pt x="42" y="89"/>
                  </a:lnTo>
                  <a:lnTo>
                    <a:pt x="42" y="112"/>
                  </a:lnTo>
                  <a:lnTo>
                    <a:pt x="53" y="115"/>
                  </a:lnTo>
                  <a:lnTo>
                    <a:pt x="56" y="123"/>
                  </a:lnTo>
                  <a:lnTo>
                    <a:pt x="69" y="120"/>
                  </a:lnTo>
                  <a:lnTo>
                    <a:pt x="68" y="104"/>
                  </a:lnTo>
                  <a:lnTo>
                    <a:pt x="49" y="72"/>
                  </a:lnTo>
                  <a:lnTo>
                    <a:pt x="59" y="64"/>
                  </a:lnTo>
                  <a:lnTo>
                    <a:pt x="68" y="48"/>
                  </a:lnTo>
                  <a:lnTo>
                    <a:pt x="61" y="42"/>
                  </a:lnTo>
                  <a:lnTo>
                    <a:pt x="51" y="47"/>
                  </a:lnTo>
                  <a:lnTo>
                    <a:pt x="42" y="52"/>
                  </a:lnTo>
                  <a:lnTo>
                    <a:pt x="35" y="33"/>
                  </a:lnTo>
                  <a:lnTo>
                    <a:pt x="32" y="15"/>
                  </a:lnTo>
                  <a:lnTo>
                    <a:pt x="40" y="18"/>
                  </a:lnTo>
                  <a:lnTo>
                    <a:pt x="49" y="25"/>
                  </a:lnTo>
                  <a:lnTo>
                    <a:pt x="64" y="21"/>
                  </a:lnTo>
                  <a:lnTo>
                    <a:pt x="71" y="26"/>
                  </a:lnTo>
                  <a:lnTo>
                    <a:pt x="88" y="21"/>
                  </a:lnTo>
                  <a:lnTo>
                    <a:pt x="96" y="17"/>
                  </a:lnTo>
                  <a:lnTo>
                    <a:pt x="93" y="0"/>
                  </a:lnTo>
                  <a:lnTo>
                    <a:pt x="83" y="0"/>
                  </a:lnTo>
                  <a:lnTo>
                    <a:pt x="77" y="12"/>
                  </a:lnTo>
                  <a:lnTo>
                    <a:pt x="45" y="9"/>
                  </a:lnTo>
                  <a:lnTo>
                    <a:pt x="26" y="10"/>
                  </a:lnTo>
                  <a:lnTo>
                    <a:pt x="24" y="1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7" name="Freeform 148">
              <a:extLst>
                <a:ext uri="{FF2B5EF4-FFF2-40B4-BE49-F238E27FC236}">
                  <a16:creationId xmlns:a16="http://schemas.microsoft.com/office/drawing/2014/main" xmlns="" id="{46A3EA62-F76E-427D-A981-84009DC98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0757" y="3757159"/>
              <a:ext cx="109372" cy="95135"/>
            </a:xfrm>
            <a:custGeom>
              <a:avLst/>
              <a:gdLst>
                <a:gd name="T0" fmla="*/ 34 w 83"/>
                <a:gd name="T1" fmla="*/ 60 h 71"/>
                <a:gd name="T2" fmla="*/ 15 w 83"/>
                <a:gd name="T3" fmla="*/ 64 h 71"/>
                <a:gd name="T4" fmla="*/ 13 w 83"/>
                <a:gd name="T5" fmla="*/ 41 h 71"/>
                <a:gd name="T6" fmla="*/ 0 w 83"/>
                <a:gd name="T7" fmla="*/ 30 h 71"/>
                <a:gd name="T8" fmla="*/ 6 w 83"/>
                <a:gd name="T9" fmla="*/ 13 h 71"/>
                <a:gd name="T10" fmla="*/ 21 w 83"/>
                <a:gd name="T11" fmla="*/ 0 h 71"/>
                <a:gd name="T12" fmla="*/ 34 w 83"/>
                <a:gd name="T13" fmla="*/ 8 h 71"/>
                <a:gd name="T14" fmla="*/ 50 w 83"/>
                <a:gd name="T15" fmla="*/ 6 h 71"/>
                <a:gd name="T16" fmla="*/ 60 w 83"/>
                <a:gd name="T17" fmla="*/ 17 h 71"/>
                <a:gd name="T18" fmla="*/ 74 w 83"/>
                <a:gd name="T19" fmla="*/ 6 h 71"/>
                <a:gd name="T20" fmla="*/ 80 w 83"/>
                <a:gd name="T21" fmla="*/ 11 h 71"/>
                <a:gd name="T22" fmla="*/ 82 w 83"/>
                <a:gd name="T23" fmla="*/ 38 h 71"/>
                <a:gd name="T24" fmla="*/ 73 w 83"/>
                <a:gd name="T25" fmla="*/ 46 h 71"/>
                <a:gd name="T26" fmla="*/ 58 w 83"/>
                <a:gd name="T27" fmla="*/ 60 h 71"/>
                <a:gd name="T28" fmla="*/ 44 w 83"/>
                <a:gd name="T29" fmla="*/ 70 h 71"/>
                <a:gd name="T30" fmla="*/ 34 w 83"/>
                <a:gd name="T31" fmla="*/ 6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71">
                  <a:moveTo>
                    <a:pt x="34" y="60"/>
                  </a:moveTo>
                  <a:lnTo>
                    <a:pt x="15" y="64"/>
                  </a:lnTo>
                  <a:lnTo>
                    <a:pt x="13" y="41"/>
                  </a:lnTo>
                  <a:lnTo>
                    <a:pt x="0" y="30"/>
                  </a:lnTo>
                  <a:lnTo>
                    <a:pt x="6" y="13"/>
                  </a:lnTo>
                  <a:lnTo>
                    <a:pt x="21" y="0"/>
                  </a:lnTo>
                  <a:lnTo>
                    <a:pt x="34" y="8"/>
                  </a:lnTo>
                  <a:lnTo>
                    <a:pt x="50" y="6"/>
                  </a:lnTo>
                  <a:lnTo>
                    <a:pt x="60" y="17"/>
                  </a:lnTo>
                  <a:lnTo>
                    <a:pt x="74" y="6"/>
                  </a:lnTo>
                  <a:lnTo>
                    <a:pt x="80" y="11"/>
                  </a:lnTo>
                  <a:lnTo>
                    <a:pt x="82" y="38"/>
                  </a:lnTo>
                  <a:lnTo>
                    <a:pt x="73" y="46"/>
                  </a:lnTo>
                  <a:lnTo>
                    <a:pt x="58" y="60"/>
                  </a:lnTo>
                  <a:lnTo>
                    <a:pt x="44" y="70"/>
                  </a:lnTo>
                  <a:lnTo>
                    <a:pt x="34" y="6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8" name="Freeform 150">
              <a:extLst>
                <a:ext uri="{FF2B5EF4-FFF2-40B4-BE49-F238E27FC236}">
                  <a16:creationId xmlns:a16="http://schemas.microsoft.com/office/drawing/2014/main" xmlns="" id="{CBB57E79-01DC-4595-8166-77A0BF781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2931" y="4015211"/>
              <a:ext cx="34476" cy="71351"/>
            </a:xfrm>
            <a:custGeom>
              <a:avLst/>
              <a:gdLst>
                <a:gd name="T0" fmla="*/ 13 w 26"/>
                <a:gd name="T1" fmla="*/ 21 h 54"/>
                <a:gd name="T2" fmla="*/ 0 w 26"/>
                <a:gd name="T3" fmla="*/ 27 h 54"/>
                <a:gd name="T4" fmla="*/ 4 w 26"/>
                <a:gd name="T5" fmla="*/ 43 h 54"/>
                <a:gd name="T6" fmla="*/ 19 w 26"/>
                <a:gd name="T7" fmla="*/ 53 h 54"/>
                <a:gd name="T8" fmla="*/ 24 w 26"/>
                <a:gd name="T9" fmla="*/ 32 h 54"/>
                <a:gd name="T10" fmla="*/ 25 w 26"/>
                <a:gd name="T11" fmla="*/ 14 h 54"/>
                <a:gd name="T12" fmla="*/ 20 w 26"/>
                <a:gd name="T13" fmla="*/ 0 h 54"/>
                <a:gd name="T14" fmla="*/ 13 w 26"/>
                <a:gd name="T15" fmla="*/ 6 h 54"/>
                <a:gd name="T16" fmla="*/ 13 w 26"/>
                <a:gd name="T17" fmla="*/ 2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4">
                  <a:moveTo>
                    <a:pt x="13" y="21"/>
                  </a:moveTo>
                  <a:lnTo>
                    <a:pt x="0" y="27"/>
                  </a:lnTo>
                  <a:lnTo>
                    <a:pt x="4" y="43"/>
                  </a:lnTo>
                  <a:lnTo>
                    <a:pt x="19" y="53"/>
                  </a:lnTo>
                  <a:lnTo>
                    <a:pt x="24" y="32"/>
                  </a:lnTo>
                  <a:lnTo>
                    <a:pt x="25" y="14"/>
                  </a:lnTo>
                  <a:lnTo>
                    <a:pt x="20" y="0"/>
                  </a:lnTo>
                  <a:lnTo>
                    <a:pt x="13" y="6"/>
                  </a:lnTo>
                  <a:lnTo>
                    <a:pt x="13" y="2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9" name="Freeform 151">
              <a:extLst>
                <a:ext uri="{FF2B5EF4-FFF2-40B4-BE49-F238E27FC236}">
                  <a16:creationId xmlns:a16="http://schemas.microsoft.com/office/drawing/2014/main" xmlns="" id="{C73B31B5-698A-491E-B2D5-E9940C2AE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463" y="4134130"/>
              <a:ext cx="47553" cy="22594"/>
            </a:xfrm>
            <a:custGeom>
              <a:avLst/>
              <a:gdLst>
                <a:gd name="T0" fmla="*/ 4 w 35"/>
                <a:gd name="T1" fmla="*/ 3 h 18"/>
                <a:gd name="T2" fmla="*/ 16 w 35"/>
                <a:gd name="T3" fmla="*/ 0 h 18"/>
                <a:gd name="T4" fmla="*/ 27 w 35"/>
                <a:gd name="T5" fmla="*/ 0 h 18"/>
                <a:gd name="T6" fmla="*/ 33 w 35"/>
                <a:gd name="T7" fmla="*/ 9 h 18"/>
                <a:gd name="T8" fmla="*/ 34 w 35"/>
                <a:gd name="T9" fmla="*/ 17 h 18"/>
                <a:gd name="T10" fmla="*/ 23 w 35"/>
                <a:gd name="T11" fmla="*/ 12 h 18"/>
                <a:gd name="T12" fmla="*/ 12 w 35"/>
                <a:gd name="T13" fmla="*/ 9 h 18"/>
                <a:gd name="T14" fmla="*/ 0 w 35"/>
                <a:gd name="T15" fmla="*/ 12 h 18"/>
                <a:gd name="T16" fmla="*/ 4 w 35"/>
                <a:gd name="T17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8">
                  <a:moveTo>
                    <a:pt x="4" y="3"/>
                  </a:moveTo>
                  <a:lnTo>
                    <a:pt x="16" y="0"/>
                  </a:lnTo>
                  <a:lnTo>
                    <a:pt x="27" y="0"/>
                  </a:lnTo>
                  <a:lnTo>
                    <a:pt x="33" y="9"/>
                  </a:lnTo>
                  <a:lnTo>
                    <a:pt x="34" y="17"/>
                  </a:lnTo>
                  <a:lnTo>
                    <a:pt x="23" y="12"/>
                  </a:lnTo>
                  <a:lnTo>
                    <a:pt x="12" y="9"/>
                  </a:lnTo>
                  <a:lnTo>
                    <a:pt x="0" y="12"/>
                  </a:lnTo>
                  <a:lnTo>
                    <a:pt x="4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0" name="Freeform 195">
              <a:extLst>
                <a:ext uri="{FF2B5EF4-FFF2-40B4-BE49-F238E27FC236}">
                  <a16:creationId xmlns:a16="http://schemas.microsoft.com/office/drawing/2014/main" xmlns="" id="{585E4BF8-0F43-4AD8-AAEA-3AD0AF82D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714" y="3857050"/>
              <a:ext cx="96295" cy="184323"/>
            </a:xfrm>
            <a:custGeom>
              <a:avLst/>
              <a:gdLst>
                <a:gd name="T0" fmla="*/ 46 w 73"/>
                <a:gd name="T1" fmla="*/ 46 h 138"/>
                <a:gd name="T2" fmla="*/ 25 w 73"/>
                <a:gd name="T3" fmla="*/ 35 h 138"/>
                <a:gd name="T4" fmla="*/ 13 w 73"/>
                <a:gd name="T5" fmla="*/ 0 h 138"/>
                <a:gd name="T6" fmla="*/ 0 w 73"/>
                <a:gd name="T7" fmla="*/ 13 h 138"/>
                <a:gd name="T8" fmla="*/ 2 w 73"/>
                <a:gd name="T9" fmla="*/ 36 h 138"/>
                <a:gd name="T10" fmla="*/ 8 w 73"/>
                <a:gd name="T11" fmla="*/ 91 h 138"/>
                <a:gd name="T12" fmla="*/ 26 w 73"/>
                <a:gd name="T13" fmla="*/ 116 h 138"/>
                <a:gd name="T14" fmla="*/ 41 w 73"/>
                <a:gd name="T15" fmla="*/ 133 h 138"/>
                <a:gd name="T16" fmla="*/ 70 w 73"/>
                <a:gd name="T17" fmla="*/ 137 h 138"/>
                <a:gd name="T18" fmla="*/ 72 w 73"/>
                <a:gd name="T19" fmla="*/ 127 h 138"/>
                <a:gd name="T20" fmla="*/ 68 w 73"/>
                <a:gd name="T21" fmla="*/ 78 h 138"/>
                <a:gd name="T22" fmla="*/ 46 w 73"/>
                <a:gd name="T23" fmla="*/ 4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138">
                  <a:moveTo>
                    <a:pt x="46" y="46"/>
                  </a:moveTo>
                  <a:lnTo>
                    <a:pt x="25" y="35"/>
                  </a:lnTo>
                  <a:lnTo>
                    <a:pt x="13" y="0"/>
                  </a:lnTo>
                  <a:lnTo>
                    <a:pt x="0" y="13"/>
                  </a:lnTo>
                  <a:lnTo>
                    <a:pt x="2" y="36"/>
                  </a:lnTo>
                  <a:lnTo>
                    <a:pt x="8" y="91"/>
                  </a:lnTo>
                  <a:lnTo>
                    <a:pt x="26" y="116"/>
                  </a:lnTo>
                  <a:lnTo>
                    <a:pt x="41" y="133"/>
                  </a:lnTo>
                  <a:lnTo>
                    <a:pt x="70" y="137"/>
                  </a:lnTo>
                  <a:lnTo>
                    <a:pt x="72" y="127"/>
                  </a:lnTo>
                  <a:lnTo>
                    <a:pt x="68" y="78"/>
                  </a:lnTo>
                  <a:lnTo>
                    <a:pt x="46" y="4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1" name="Freeform 202">
              <a:extLst>
                <a:ext uri="{FF2B5EF4-FFF2-40B4-BE49-F238E27FC236}">
                  <a16:creationId xmlns:a16="http://schemas.microsoft.com/office/drawing/2014/main" xmlns="" id="{D11B3447-C36A-4F95-A1A1-746893C20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6419" y="3959320"/>
              <a:ext cx="225877" cy="249728"/>
            </a:xfrm>
            <a:custGeom>
              <a:avLst/>
              <a:gdLst>
                <a:gd name="T0" fmla="*/ 65 w 170"/>
                <a:gd name="T1" fmla="*/ 29 h 187"/>
                <a:gd name="T2" fmla="*/ 43 w 170"/>
                <a:gd name="T3" fmla="*/ 20 h 187"/>
                <a:gd name="T4" fmla="*/ 25 w 170"/>
                <a:gd name="T5" fmla="*/ 0 h 187"/>
                <a:gd name="T6" fmla="*/ 3 w 170"/>
                <a:gd name="T7" fmla="*/ 3 h 187"/>
                <a:gd name="T8" fmla="*/ 0 w 170"/>
                <a:gd name="T9" fmla="*/ 11 h 187"/>
                <a:gd name="T10" fmla="*/ 26 w 170"/>
                <a:gd name="T11" fmla="*/ 29 h 187"/>
                <a:gd name="T12" fmla="*/ 49 w 170"/>
                <a:gd name="T13" fmla="*/ 49 h 187"/>
                <a:gd name="T14" fmla="*/ 65 w 170"/>
                <a:gd name="T15" fmla="*/ 63 h 187"/>
                <a:gd name="T16" fmla="*/ 69 w 170"/>
                <a:gd name="T17" fmla="*/ 84 h 187"/>
                <a:gd name="T18" fmla="*/ 78 w 170"/>
                <a:gd name="T19" fmla="*/ 103 h 187"/>
                <a:gd name="T20" fmla="*/ 108 w 170"/>
                <a:gd name="T21" fmla="*/ 143 h 187"/>
                <a:gd name="T22" fmla="*/ 134 w 170"/>
                <a:gd name="T23" fmla="*/ 174 h 187"/>
                <a:gd name="T24" fmla="*/ 143 w 170"/>
                <a:gd name="T25" fmla="*/ 186 h 187"/>
                <a:gd name="T26" fmla="*/ 169 w 170"/>
                <a:gd name="T27" fmla="*/ 174 h 187"/>
                <a:gd name="T28" fmla="*/ 166 w 170"/>
                <a:gd name="T29" fmla="*/ 158 h 187"/>
                <a:gd name="T30" fmla="*/ 166 w 170"/>
                <a:gd name="T31" fmla="*/ 138 h 187"/>
                <a:gd name="T32" fmla="*/ 158 w 170"/>
                <a:gd name="T33" fmla="*/ 127 h 187"/>
                <a:gd name="T34" fmla="*/ 135 w 170"/>
                <a:gd name="T35" fmla="*/ 119 h 187"/>
                <a:gd name="T36" fmla="*/ 135 w 170"/>
                <a:gd name="T37" fmla="*/ 110 h 187"/>
                <a:gd name="T38" fmla="*/ 127 w 170"/>
                <a:gd name="T39" fmla="*/ 97 h 187"/>
                <a:gd name="T40" fmla="*/ 127 w 170"/>
                <a:gd name="T41" fmla="*/ 79 h 187"/>
                <a:gd name="T42" fmla="*/ 112 w 170"/>
                <a:gd name="T43" fmla="*/ 65 h 187"/>
                <a:gd name="T44" fmla="*/ 92 w 170"/>
                <a:gd name="T45" fmla="*/ 53 h 187"/>
                <a:gd name="T46" fmla="*/ 65 w 170"/>
                <a:gd name="T47" fmla="*/ 2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0" h="187">
                  <a:moveTo>
                    <a:pt x="65" y="29"/>
                  </a:moveTo>
                  <a:lnTo>
                    <a:pt x="43" y="20"/>
                  </a:lnTo>
                  <a:lnTo>
                    <a:pt x="25" y="0"/>
                  </a:lnTo>
                  <a:lnTo>
                    <a:pt x="3" y="3"/>
                  </a:lnTo>
                  <a:lnTo>
                    <a:pt x="0" y="11"/>
                  </a:lnTo>
                  <a:lnTo>
                    <a:pt x="26" y="29"/>
                  </a:lnTo>
                  <a:lnTo>
                    <a:pt x="49" y="49"/>
                  </a:lnTo>
                  <a:lnTo>
                    <a:pt x="65" y="63"/>
                  </a:lnTo>
                  <a:lnTo>
                    <a:pt x="69" y="84"/>
                  </a:lnTo>
                  <a:lnTo>
                    <a:pt x="78" y="103"/>
                  </a:lnTo>
                  <a:lnTo>
                    <a:pt x="108" y="143"/>
                  </a:lnTo>
                  <a:lnTo>
                    <a:pt x="134" y="174"/>
                  </a:lnTo>
                  <a:lnTo>
                    <a:pt x="143" y="186"/>
                  </a:lnTo>
                  <a:lnTo>
                    <a:pt x="169" y="174"/>
                  </a:lnTo>
                  <a:lnTo>
                    <a:pt x="166" y="158"/>
                  </a:lnTo>
                  <a:lnTo>
                    <a:pt x="166" y="138"/>
                  </a:lnTo>
                  <a:lnTo>
                    <a:pt x="158" y="127"/>
                  </a:lnTo>
                  <a:lnTo>
                    <a:pt x="135" y="119"/>
                  </a:lnTo>
                  <a:lnTo>
                    <a:pt x="135" y="110"/>
                  </a:lnTo>
                  <a:lnTo>
                    <a:pt x="127" y="97"/>
                  </a:lnTo>
                  <a:lnTo>
                    <a:pt x="127" y="79"/>
                  </a:lnTo>
                  <a:lnTo>
                    <a:pt x="112" y="65"/>
                  </a:lnTo>
                  <a:lnTo>
                    <a:pt x="92" y="53"/>
                  </a:lnTo>
                  <a:lnTo>
                    <a:pt x="65" y="2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2" name="Freeform 203">
              <a:extLst>
                <a:ext uri="{FF2B5EF4-FFF2-40B4-BE49-F238E27FC236}">
                  <a16:creationId xmlns:a16="http://schemas.microsoft.com/office/drawing/2014/main" xmlns="" id="{63CF068A-4372-4DE7-A09E-94A3CB177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905" y="3924833"/>
              <a:ext cx="217555" cy="244972"/>
            </a:xfrm>
            <a:custGeom>
              <a:avLst/>
              <a:gdLst>
                <a:gd name="T0" fmla="*/ 35 w 163"/>
                <a:gd name="T1" fmla="*/ 89 h 184"/>
                <a:gd name="T2" fmla="*/ 4 w 163"/>
                <a:gd name="T3" fmla="*/ 89 h 184"/>
                <a:gd name="T4" fmla="*/ 0 w 163"/>
                <a:gd name="T5" fmla="*/ 112 h 184"/>
                <a:gd name="T6" fmla="*/ 11 w 163"/>
                <a:gd name="T7" fmla="*/ 118 h 184"/>
                <a:gd name="T8" fmla="*/ 12 w 163"/>
                <a:gd name="T9" fmla="*/ 136 h 184"/>
                <a:gd name="T10" fmla="*/ 25 w 163"/>
                <a:gd name="T11" fmla="*/ 139 h 184"/>
                <a:gd name="T12" fmla="*/ 26 w 163"/>
                <a:gd name="T13" fmla="*/ 160 h 184"/>
                <a:gd name="T14" fmla="*/ 34 w 163"/>
                <a:gd name="T15" fmla="*/ 161 h 184"/>
                <a:gd name="T16" fmla="*/ 41 w 163"/>
                <a:gd name="T17" fmla="*/ 170 h 184"/>
                <a:gd name="T18" fmla="*/ 62 w 163"/>
                <a:gd name="T19" fmla="*/ 175 h 184"/>
                <a:gd name="T20" fmla="*/ 70 w 163"/>
                <a:gd name="T21" fmla="*/ 164 h 184"/>
                <a:gd name="T22" fmla="*/ 81 w 163"/>
                <a:gd name="T23" fmla="*/ 168 h 184"/>
                <a:gd name="T24" fmla="*/ 89 w 163"/>
                <a:gd name="T25" fmla="*/ 183 h 184"/>
                <a:gd name="T26" fmla="*/ 108 w 163"/>
                <a:gd name="T27" fmla="*/ 181 h 184"/>
                <a:gd name="T28" fmla="*/ 112 w 163"/>
                <a:gd name="T29" fmla="*/ 169 h 184"/>
                <a:gd name="T30" fmla="*/ 120 w 163"/>
                <a:gd name="T31" fmla="*/ 157 h 184"/>
                <a:gd name="T32" fmla="*/ 120 w 163"/>
                <a:gd name="T33" fmla="*/ 142 h 184"/>
                <a:gd name="T34" fmla="*/ 132 w 163"/>
                <a:gd name="T35" fmla="*/ 131 h 184"/>
                <a:gd name="T36" fmla="*/ 138 w 163"/>
                <a:gd name="T37" fmla="*/ 107 h 184"/>
                <a:gd name="T38" fmla="*/ 151 w 163"/>
                <a:gd name="T39" fmla="*/ 102 h 184"/>
                <a:gd name="T40" fmla="*/ 151 w 163"/>
                <a:gd name="T41" fmla="*/ 88 h 184"/>
                <a:gd name="T42" fmla="*/ 137 w 163"/>
                <a:gd name="T43" fmla="*/ 77 h 184"/>
                <a:gd name="T44" fmla="*/ 137 w 163"/>
                <a:gd name="T45" fmla="*/ 52 h 184"/>
                <a:gd name="T46" fmla="*/ 148 w 163"/>
                <a:gd name="T47" fmla="*/ 43 h 184"/>
                <a:gd name="T48" fmla="*/ 162 w 163"/>
                <a:gd name="T49" fmla="*/ 32 h 184"/>
                <a:gd name="T50" fmla="*/ 159 w 163"/>
                <a:gd name="T51" fmla="*/ 17 h 184"/>
                <a:gd name="T52" fmla="*/ 141 w 163"/>
                <a:gd name="T53" fmla="*/ 13 h 184"/>
                <a:gd name="T54" fmla="*/ 131 w 163"/>
                <a:gd name="T55" fmla="*/ 9 h 184"/>
                <a:gd name="T56" fmla="*/ 114 w 163"/>
                <a:gd name="T57" fmla="*/ 0 h 184"/>
                <a:gd name="T58" fmla="*/ 110 w 163"/>
                <a:gd name="T59" fmla="*/ 14 h 184"/>
                <a:gd name="T60" fmla="*/ 99 w 163"/>
                <a:gd name="T61" fmla="*/ 20 h 184"/>
                <a:gd name="T62" fmla="*/ 96 w 163"/>
                <a:gd name="T63" fmla="*/ 37 h 184"/>
                <a:gd name="T64" fmla="*/ 84 w 163"/>
                <a:gd name="T65" fmla="*/ 43 h 184"/>
                <a:gd name="T66" fmla="*/ 70 w 163"/>
                <a:gd name="T67" fmla="*/ 53 h 184"/>
                <a:gd name="T68" fmla="*/ 63 w 163"/>
                <a:gd name="T69" fmla="*/ 68 h 184"/>
                <a:gd name="T70" fmla="*/ 44 w 163"/>
                <a:gd name="T71" fmla="*/ 66 h 184"/>
                <a:gd name="T72" fmla="*/ 41 w 163"/>
                <a:gd name="T73" fmla="*/ 80 h 184"/>
                <a:gd name="T74" fmla="*/ 35 w 163"/>
                <a:gd name="T75" fmla="*/ 8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3" h="184">
                  <a:moveTo>
                    <a:pt x="35" y="89"/>
                  </a:moveTo>
                  <a:lnTo>
                    <a:pt x="4" y="89"/>
                  </a:lnTo>
                  <a:lnTo>
                    <a:pt x="0" y="112"/>
                  </a:lnTo>
                  <a:lnTo>
                    <a:pt x="11" y="118"/>
                  </a:lnTo>
                  <a:lnTo>
                    <a:pt x="12" y="136"/>
                  </a:lnTo>
                  <a:lnTo>
                    <a:pt x="25" y="139"/>
                  </a:lnTo>
                  <a:lnTo>
                    <a:pt x="26" y="160"/>
                  </a:lnTo>
                  <a:lnTo>
                    <a:pt x="34" y="161"/>
                  </a:lnTo>
                  <a:lnTo>
                    <a:pt x="41" y="170"/>
                  </a:lnTo>
                  <a:lnTo>
                    <a:pt x="62" y="175"/>
                  </a:lnTo>
                  <a:lnTo>
                    <a:pt x="70" y="164"/>
                  </a:lnTo>
                  <a:lnTo>
                    <a:pt x="81" y="168"/>
                  </a:lnTo>
                  <a:lnTo>
                    <a:pt x="89" y="183"/>
                  </a:lnTo>
                  <a:lnTo>
                    <a:pt x="108" y="181"/>
                  </a:lnTo>
                  <a:lnTo>
                    <a:pt x="112" y="169"/>
                  </a:lnTo>
                  <a:lnTo>
                    <a:pt x="120" y="157"/>
                  </a:lnTo>
                  <a:lnTo>
                    <a:pt x="120" y="142"/>
                  </a:lnTo>
                  <a:lnTo>
                    <a:pt x="132" y="131"/>
                  </a:lnTo>
                  <a:lnTo>
                    <a:pt x="138" y="107"/>
                  </a:lnTo>
                  <a:lnTo>
                    <a:pt x="151" y="102"/>
                  </a:lnTo>
                  <a:lnTo>
                    <a:pt x="151" y="88"/>
                  </a:lnTo>
                  <a:lnTo>
                    <a:pt x="137" y="77"/>
                  </a:lnTo>
                  <a:lnTo>
                    <a:pt x="137" y="52"/>
                  </a:lnTo>
                  <a:lnTo>
                    <a:pt x="148" y="43"/>
                  </a:lnTo>
                  <a:lnTo>
                    <a:pt x="162" y="32"/>
                  </a:lnTo>
                  <a:lnTo>
                    <a:pt x="159" y="17"/>
                  </a:lnTo>
                  <a:lnTo>
                    <a:pt x="141" y="13"/>
                  </a:lnTo>
                  <a:lnTo>
                    <a:pt x="131" y="9"/>
                  </a:lnTo>
                  <a:lnTo>
                    <a:pt x="114" y="0"/>
                  </a:lnTo>
                  <a:lnTo>
                    <a:pt x="110" y="14"/>
                  </a:lnTo>
                  <a:lnTo>
                    <a:pt x="99" y="20"/>
                  </a:lnTo>
                  <a:lnTo>
                    <a:pt x="96" y="37"/>
                  </a:lnTo>
                  <a:lnTo>
                    <a:pt x="84" y="43"/>
                  </a:lnTo>
                  <a:lnTo>
                    <a:pt x="70" y="53"/>
                  </a:lnTo>
                  <a:lnTo>
                    <a:pt x="63" y="68"/>
                  </a:lnTo>
                  <a:lnTo>
                    <a:pt x="44" y="66"/>
                  </a:lnTo>
                  <a:lnTo>
                    <a:pt x="41" y="80"/>
                  </a:lnTo>
                  <a:lnTo>
                    <a:pt x="35" y="8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3" name="Freeform 205">
              <a:extLst>
                <a:ext uri="{FF2B5EF4-FFF2-40B4-BE49-F238E27FC236}">
                  <a16:creationId xmlns:a16="http://schemas.microsoft.com/office/drawing/2014/main" xmlns="" id="{EBAACED4-91E1-4C0E-A9FC-277D27C5E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324" y="4109157"/>
              <a:ext cx="191401" cy="170053"/>
            </a:xfrm>
            <a:custGeom>
              <a:avLst/>
              <a:gdLst>
                <a:gd name="T0" fmla="*/ 124 w 144"/>
                <a:gd name="T1" fmla="*/ 24 h 128"/>
                <a:gd name="T2" fmla="*/ 110 w 144"/>
                <a:gd name="T3" fmla="*/ 19 h 128"/>
                <a:gd name="T4" fmla="*/ 80 w 144"/>
                <a:gd name="T5" fmla="*/ 6 h 128"/>
                <a:gd name="T6" fmla="*/ 71 w 144"/>
                <a:gd name="T7" fmla="*/ 0 h 128"/>
                <a:gd name="T8" fmla="*/ 55 w 144"/>
                <a:gd name="T9" fmla="*/ 3 h 128"/>
                <a:gd name="T10" fmla="*/ 40 w 144"/>
                <a:gd name="T11" fmla="*/ 19 h 128"/>
                <a:gd name="T12" fmla="*/ 22 w 144"/>
                <a:gd name="T13" fmla="*/ 29 h 128"/>
                <a:gd name="T14" fmla="*/ 6 w 144"/>
                <a:gd name="T15" fmla="*/ 32 h 128"/>
                <a:gd name="T16" fmla="*/ 0 w 144"/>
                <a:gd name="T17" fmla="*/ 34 h 128"/>
                <a:gd name="T18" fmla="*/ 6 w 144"/>
                <a:gd name="T19" fmla="*/ 45 h 128"/>
                <a:gd name="T20" fmla="*/ 21 w 144"/>
                <a:gd name="T21" fmla="*/ 43 h 128"/>
                <a:gd name="T22" fmla="*/ 41 w 144"/>
                <a:gd name="T23" fmla="*/ 54 h 128"/>
                <a:gd name="T24" fmla="*/ 55 w 144"/>
                <a:gd name="T25" fmla="*/ 62 h 128"/>
                <a:gd name="T26" fmla="*/ 69 w 144"/>
                <a:gd name="T27" fmla="*/ 75 h 128"/>
                <a:gd name="T28" fmla="*/ 69 w 144"/>
                <a:gd name="T29" fmla="*/ 92 h 128"/>
                <a:gd name="T30" fmla="*/ 66 w 144"/>
                <a:gd name="T31" fmla="*/ 98 h 128"/>
                <a:gd name="T32" fmla="*/ 53 w 144"/>
                <a:gd name="T33" fmla="*/ 103 h 128"/>
                <a:gd name="T34" fmla="*/ 56 w 144"/>
                <a:gd name="T35" fmla="*/ 116 h 128"/>
                <a:gd name="T36" fmla="*/ 74 w 144"/>
                <a:gd name="T37" fmla="*/ 114 h 128"/>
                <a:gd name="T38" fmla="*/ 92 w 144"/>
                <a:gd name="T39" fmla="*/ 114 h 128"/>
                <a:gd name="T40" fmla="*/ 99 w 144"/>
                <a:gd name="T41" fmla="*/ 122 h 128"/>
                <a:gd name="T42" fmla="*/ 111 w 144"/>
                <a:gd name="T43" fmla="*/ 127 h 128"/>
                <a:gd name="T44" fmla="*/ 128 w 144"/>
                <a:gd name="T45" fmla="*/ 120 h 128"/>
                <a:gd name="T46" fmla="*/ 135 w 144"/>
                <a:gd name="T47" fmla="*/ 107 h 128"/>
                <a:gd name="T48" fmla="*/ 143 w 144"/>
                <a:gd name="T49" fmla="*/ 97 h 128"/>
                <a:gd name="T50" fmla="*/ 124 w 144"/>
                <a:gd name="T51" fmla="*/ 2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128">
                  <a:moveTo>
                    <a:pt x="124" y="24"/>
                  </a:moveTo>
                  <a:lnTo>
                    <a:pt x="110" y="19"/>
                  </a:lnTo>
                  <a:lnTo>
                    <a:pt x="80" y="6"/>
                  </a:lnTo>
                  <a:lnTo>
                    <a:pt x="71" y="0"/>
                  </a:lnTo>
                  <a:lnTo>
                    <a:pt x="55" y="3"/>
                  </a:lnTo>
                  <a:lnTo>
                    <a:pt x="40" y="19"/>
                  </a:lnTo>
                  <a:lnTo>
                    <a:pt x="22" y="29"/>
                  </a:lnTo>
                  <a:lnTo>
                    <a:pt x="6" y="32"/>
                  </a:lnTo>
                  <a:lnTo>
                    <a:pt x="0" y="34"/>
                  </a:lnTo>
                  <a:lnTo>
                    <a:pt x="6" y="45"/>
                  </a:lnTo>
                  <a:lnTo>
                    <a:pt x="21" y="43"/>
                  </a:lnTo>
                  <a:lnTo>
                    <a:pt x="41" y="54"/>
                  </a:lnTo>
                  <a:lnTo>
                    <a:pt x="55" y="62"/>
                  </a:lnTo>
                  <a:lnTo>
                    <a:pt x="69" y="75"/>
                  </a:lnTo>
                  <a:lnTo>
                    <a:pt x="69" y="92"/>
                  </a:lnTo>
                  <a:lnTo>
                    <a:pt x="66" y="98"/>
                  </a:lnTo>
                  <a:lnTo>
                    <a:pt x="53" y="103"/>
                  </a:lnTo>
                  <a:lnTo>
                    <a:pt x="56" y="116"/>
                  </a:lnTo>
                  <a:lnTo>
                    <a:pt x="74" y="114"/>
                  </a:lnTo>
                  <a:lnTo>
                    <a:pt x="92" y="114"/>
                  </a:lnTo>
                  <a:lnTo>
                    <a:pt x="99" y="122"/>
                  </a:lnTo>
                  <a:lnTo>
                    <a:pt x="111" y="127"/>
                  </a:lnTo>
                  <a:lnTo>
                    <a:pt x="128" y="120"/>
                  </a:lnTo>
                  <a:lnTo>
                    <a:pt x="135" y="107"/>
                  </a:lnTo>
                  <a:lnTo>
                    <a:pt x="143" y="97"/>
                  </a:lnTo>
                  <a:lnTo>
                    <a:pt x="124" y="2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4" name="Freeform 206">
              <a:extLst>
                <a:ext uri="{FF2B5EF4-FFF2-40B4-BE49-F238E27FC236}">
                  <a16:creationId xmlns:a16="http://schemas.microsoft.com/office/drawing/2014/main" xmlns="" id="{E2D6C1EF-D9A9-4FDD-A716-8630F96B5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457" y="4091319"/>
              <a:ext cx="51120" cy="34486"/>
            </a:xfrm>
            <a:custGeom>
              <a:avLst/>
              <a:gdLst>
                <a:gd name="T0" fmla="*/ 14 w 38"/>
                <a:gd name="T1" fmla="*/ 24 h 26"/>
                <a:gd name="T2" fmla="*/ 0 w 38"/>
                <a:gd name="T3" fmla="*/ 25 h 26"/>
                <a:gd name="T4" fmla="*/ 3 w 38"/>
                <a:gd name="T5" fmla="*/ 13 h 26"/>
                <a:gd name="T6" fmla="*/ 9 w 38"/>
                <a:gd name="T7" fmla="*/ 0 h 26"/>
                <a:gd name="T8" fmla="*/ 24 w 38"/>
                <a:gd name="T9" fmla="*/ 3 h 26"/>
                <a:gd name="T10" fmla="*/ 37 w 38"/>
                <a:gd name="T11" fmla="*/ 6 h 26"/>
                <a:gd name="T12" fmla="*/ 33 w 38"/>
                <a:gd name="T13" fmla="*/ 16 h 26"/>
                <a:gd name="T14" fmla="*/ 23 w 38"/>
                <a:gd name="T15" fmla="*/ 25 h 26"/>
                <a:gd name="T16" fmla="*/ 14 w 38"/>
                <a:gd name="T17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26">
                  <a:moveTo>
                    <a:pt x="14" y="24"/>
                  </a:moveTo>
                  <a:lnTo>
                    <a:pt x="0" y="25"/>
                  </a:lnTo>
                  <a:lnTo>
                    <a:pt x="3" y="13"/>
                  </a:lnTo>
                  <a:lnTo>
                    <a:pt x="9" y="0"/>
                  </a:lnTo>
                  <a:lnTo>
                    <a:pt x="24" y="3"/>
                  </a:lnTo>
                  <a:lnTo>
                    <a:pt x="37" y="6"/>
                  </a:lnTo>
                  <a:lnTo>
                    <a:pt x="33" y="16"/>
                  </a:lnTo>
                  <a:lnTo>
                    <a:pt x="23" y="25"/>
                  </a:lnTo>
                  <a:lnTo>
                    <a:pt x="14" y="2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5" name="Freeform 220">
              <a:extLst>
                <a:ext uri="{FF2B5EF4-FFF2-40B4-BE49-F238E27FC236}">
                  <a16:creationId xmlns:a16="http://schemas.microsoft.com/office/drawing/2014/main" xmlns="" id="{C44CDD6D-B26E-49E5-A552-DA7890FB6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285" y="3822564"/>
              <a:ext cx="41609" cy="79675"/>
            </a:xfrm>
            <a:custGeom>
              <a:avLst/>
              <a:gdLst>
                <a:gd name="T0" fmla="*/ 23 w 33"/>
                <a:gd name="T1" fmla="*/ 6 h 60"/>
                <a:gd name="T2" fmla="*/ 21 w 33"/>
                <a:gd name="T3" fmla="*/ 17 h 60"/>
                <a:gd name="T4" fmla="*/ 8 w 33"/>
                <a:gd name="T5" fmla="*/ 27 h 60"/>
                <a:gd name="T6" fmla="*/ 0 w 33"/>
                <a:gd name="T7" fmla="*/ 39 h 60"/>
                <a:gd name="T8" fmla="*/ 2 w 33"/>
                <a:gd name="T9" fmla="*/ 59 h 60"/>
                <a:gd name="T10" fmla="*/ 17 w 33"/>
                <a:gd name="T11" fmla="*/ 44 h 60"/>
                <a:gd name="T12" fmla="*/ 27 w 33"/>
                <a:gd name="T13" fmla="*/ 24 h 60"/>
                <a:gd name="T14" fmla="*/ 32 w 33"/>
                <a:gd name="T15" fmla="*/ 11 h 60"/>
                <a:gd name="T16" fmla="*/ 27 w 33"/>
                <a:gd name="T17" fmla="*/ 0 h 60"/>
                <a:gd name="T18" fmla="*/ 23 w 33"/>
                <a:gd name="T19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60">
                  <a:moveTo>
                    <a:pt x="23" y="6"/>
                  </a:moveTo>
                  <a:lnTo>
                    <a:pt x="21" y="17"/>
                  </a:lnTo>
                  <a:lnTo>
                    <a:pt x="8" y="27"/>
                  </a:lnTo>
                  <a:lnTo>
                    <a:pt x="0" y="39"/>
                  </a:lnTo>
                  <a:lnTo>
                    <a:pt x="2" y="59"/>
                  </a:lnTo>
                  <a:lnTo>
                    <a:pt x="17" y="44"/>
                  </a:lnTo>
                  <a:lnTo>
                    <a:pt x="27" y="24"/>
                  </a:lnTo>
                  <a:lnTo>
                    <a:pt x="32" y="11"/>
                  </a:lnTo>
                  <a:lnTo>
                    <a:pt x="27" y="0"/>
                  </a:lnTo>
                  <a:lnTo>
                    <a:pt x="23" y="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6" name="Freeform 221">
              <a:extLst>
                <a:ext uri="{FF2B5EF4-FFF2-40B4-BE49-F238E27FC236}">
                  <a16:creationId xmlns:a16="http://schemas.microsoft.com/office/drawing/2014/main" xmlns="" id="{94D8F999-23A3-45AD-8974-BBB95BCDE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439" y="3660835"/>
              <a:ext cx="66574" cy="104648"/>
            </a:xfrm>
            <a:custGeom>
              <a:avLst/>
              <a:gdLst>
                <a:gd name="T0" fmla="*/ 24 w 51"/>
                <a:gd name="T1" fmla="*/ 0 h 78"/>
                <a:gd name="T2" fmla="*/ 14 w 51"/>
                <a:gd name="T3" fmla="*/ 16 h 78"/>
                <a:gd name="T4" fmla="*/ 10 w 51"/>
                <a:gd name="T5" fmla="*/ 37 h 78"/>
                <a:gd name="T6" fmla="*/ 0 w 51"/>
                <a:gd name="T7" fmla="*/ 46 h 78"/>
                <a:gd name="T8" fmla="*/ 3 w 51"/>
                <a:gd name="T9" fmla="*/ 66 h 78"/>
                <a:gd name="T10" fmla="*/ 14 w 51"/>
                <a:gd name="T11" fmla="*/ 69 h 78"/>
                <a:gd name="T12" fmla="*/ 20 w 51"/>
                <a:gd name="T13" fmla="*/ 77 h 78"/>
                <a:gd name="T14" fmla="*/ 36 w 51"/>
                <a:gd name="T15" fmla="*/ 76 h 78"/>
                <a:gd name="T16" fmla="*/ 50 w 51"/>
                <a:gd name="T17" fmla="*/ 71 h 78"/>
                <a:gd name="T18" fmla="*/ 45 w 51"/>
                <a:gd name="T19" fmla="*/ 52 h 78"/>
                <a:gd name="T20" fmla="*/ 47 w 51"/>
                <a:gd name="T21" fmla="*/ 37 h 78"/>
                <a:gd name="T22" fmla="*/ 47 w 51"/>
                <a:gd name="T23" fmla="*/ 27 h 78"/>
                <a:gd name="T24" fmla="*/ 42 w 51"/>
                <a:gd name="T25" fmla="*/ 10 h 78"/>
                <a:gd name="T26" fmla="*/ 39 w 51"/>
                <a:gd name="T27" fmla="*/ 1 h 78"/>
                <a:gd name="T28" fmla="*/ 24 w 51"/>
                <a:gd name="T2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" h="78">
                  <a:moveTo>
                    <a:pt x="24" y="0"/>
                  </a:moveTo>
                  <a:lnTo>
                    <a:pt x="14" y="16"/>
                  </a:lnTo>
                  <a:lnTo>
                    <a:pt x="10" y="37"/>
                  </a:lnTo>
                  <a:lnTo>
                    <a:pt x="0" y="46"/>
                  </a:lnTo>
                  <a:lnTo>
                    <a:pt x="3" y="66"/>
                  </a:lnTo>
                  <a:lnTo>
                    <a:pt x="14" y="69"/>
                  </a:lnTo>
                  <a:lnTo>
                    <a:pt x="20" y="77"/>
                  </a:lnTo>
                  <a:lnTo>
                    <a:pt x="36" y="76"/>
                  </a:lnTo>
                  <a:lnTo>
                    <a:pt x="50" y="71"/>
                  </a:lnTo>
                  <a:lnTo>
                    <a:pt x="45" y="52"/>
                  </a:lnTo>
                  <a:lnTo>
                    <a:pt x="47" y="37"/>
                  </a:lnTo>
                  <a:lnTo>
                    <a:pt x="47" y="27"/>
                  </a:lnTo>
                  <a:lnTo>
                    <a:pt x="42" y="10"/>
                  </a:lnTo>
                  <a:lnTo>
                    <a:pt x="39" y="1"/>
                  </a:lnTo>
                  <a:lnTo>
                    <a:pt x="24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7" name="Freeform 222">
              <a:extLst>
                <a:ext uri="{FF2B5EF4-FFF2-40B4-BE49-F238E27FC236}">
                  <a16:creationId xmlns:a16="http://schemas.microsoft.com/office/drawing/2014/main" xmlns="" id="{75CA948D-0519-4153-A146-26D7445AF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601" y="3866564"/>
              <a:ext cx="64197" cy="86810"/>
            </a:xfrm>
            <a:custGeom>
              <a:avLst/>
              <a:gdLst>
                <a:gd name="T0" fmla="*/ 28 w 48"/>
                <a:gd name="T1" fmla="*/ 0 h 66"/>
                <a:gd name="T2" fmla="*/ 14 w 48"/>
                <a:gd name="T3" fmla="*/ 10 h 66"/>
                <a:gd name="T4" fmla="*/ 0 w 48"/>
                <a:gd name="T5" fmla="*/ 26 h 66"/>
                <a:gd name="T6" fmla="*/ 8 w 48"/>
                <a:gd name="T7" fmla="*/ 38 h 66"/>
                <a:gd name="T8" fmla="*/ 18 w 48"/>
                <a:gd name="T9" fmla="*/ 52 h 66"/>
                <a:gd name="T10" fmla="*/ 29 w 48"/>
                <a:gd name="T11" fmla="*/ 65 h 66"/>
                <a:gd name="T12" fmla="*/ 38 w 48"/>
                <a:gd name="T13" fmla="*/ 52 h 66"/>
                <a:gd name="T14" fmla="*/ 47 w 48"/>
                <a:gd name="T15" fmla="*/ 45 h 66"/>
                <a:gd name="T16" fmla="*/ 47 w 48"/>
                <a:gd name="T17" fmla="*/ 18 h 66"/>
                <a:gd name="T18" fmla="*/ 41 w 48"/>
                <a:gd name="T19" fmla="*/ 7 h 66"/>
                <a:gd name="T20" fmla="*/ 28 w 48"/>
                <a:gd name="T2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66">
                  <a:moveTo>
                    <a:pt x="28" y="0"/>
                  </a:moveTo>
                  <a:lnTo>
                    <a:pt x="14" y="10"/>
                  </a:lnTo>
                  <a:lnTo>
                    <a:pt x="0" y="26"/>
                  </a:lnTo>
                  <a:lnTo>
                    <a:pt x="8" y="38"/>
                  </a:lnTo>
                  <a:lnTo>
                    <a:pt x="18" y="52"/>
                  </a:lnTo>
                  <a:lnTo>
                    <a:pt x="29" y="65"/>
                  </a:lnTo>
                  <a:lnTo>
                    <a:pt x="38" y="52"/>
                  </a:lnTo>
                  <a:lnTo>
                    <a:pt x="47" y="45"/>
                  </a:lnTo>
                  <a:lnTo>
                    <a:pt x="47" y="18"/>
                  </a:lnTo>
                  <a:lnTo>
                    <a:pt x="41" y="7"/>
                  </a:lnTo>
                  <a:lnTo>
                    <a:pt x="2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EABD0FA5-3772-4A26-8CAE-81318B319289}"/>
              </a:ext>
            </a:extLst>
          </p:cNvPr>
          <p:cNvGrpSpPr/>
          <p:nvPr/>
        </p:nvGrpSpPr>
        <p:grpSpPr>
          <a:xfrm>
            <a:off x="7955438" y="620226"/>
            <a:ext cx="3191161" cy="2623901"/>
            <a:chOff x="3174643" y="1910359"/>
            <a:chExt cx="3599767" cy="2959874"/>
          </a:xfrm>
          <a:solidFill>
            <a:schemeClr val="tx2"/>
          </a:solidFill>
        </p:grpSpPr>
        <p:sp>
          <p:nvSpPr>
            <p:cNvPr id="19" name="Freeform 58">
              <a:extLst>
                <a:ext uri="{FF2B5EF4-FFF2-40B4-BE49-F238E27FC236}">
                  <a16:creationId xmlns:a16="http://schemas.microsoft.com/office/drawing/2014/main" xmlns="" id="{69BD8567-7E99-4C68-8A0D-269451FB2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461" y="1975764"/>
              <a:ext cx="222311" cy="130810"/>
            </a:xfrm>
            <a:custGeom>
              <a:avLst/>
              <a:gdLst>
                <a:gd name="T0" fmla="*/ 65 w 167"/>
                <a:gd name="T1" fmla="*/ 3 h 99"/>
                <a:gd name="T2" fmla="*/ 60 w 167"/>
                <a:gd name="T3" fmla="*/ 23 h 99"/>
                <a:gd name="T4" fmla="*/ 42 w 167"/>
                <a:gd name="T5" fmla="*/ 11 h 99"/>
                <a:gd name="T6" fmla="*/ 27 w 167"/>
                <a:gd name="T7" fmla="*/ 20 h 99"/>
                <a:gd name="T8" fmla="*/ 20 w 167"/>
                <a:gd name="T9" fmla="*/ 3 h 99"/>
                <a:gd name="T10" fmla="*/ 0 w 167"/>
                <a:gd name="T11" fmla="*/ 19 h 99"/>
                <a:gd name="T12" fmla="*/ 4 w 167"/>
                <a:gd name="T13" fmla="*/ 28 h 99"/>
                <a:gd name="T14" fmla="*/ 8 w 167"/>
                <a:gd name="T15" fmla="*/ 45 h 99"/>
                <a:gd name="T16" fmla="*/ 30 w 167"/>
                <a:gd name="T17" fmla="*/ 47 h 99"/>
                <a:gd name="T18" fmla="*/ 42 w 167"/>
                <a:gd name="T19" fmla="*/ 35 h 99"/>
                <a:gd name="T20" fmla="*/ 53 w 167"/>
                <a:gd name="T21" fmla="*/ 38 h 99"/>
                <a:gd name="T22" fmla="*/ 48 w 167"/>
                <a:gd name="T23" fmla="*/ 52 h 99"/>
                <a:gd name="T24" fmla="*/ 45 w 167"/>
                <a:gd name="T25" fmla="*/ 65 h 99"/>
                <a:gd name="T26" fmla="*/ 57 w 167"/>
                <a:gd name="T27" fmla="*/ 75 h 99"/>
                <a:gd name="T28" fmla="*/ 68 w 167"/>
                <a:gd name="T29" fmla="*/ 92 h 99"/>
                <a:gd name="T30" fmla="*/ 82 w 167"/>
                <a:gd name="T31" fmla="*/ 98 h 99"/>
                <a:gd name="T32" fmla="*/ 88 w 167"/>
                <a:gd name="T33" fmla="*/ 73 h 99"/>
                <a:gd name="T34" fmla="*/ 109 w 167"/>
                <a:gd name="T35" fmla="*/ 51 h 99"/>
                <a:gd name="T36" fmla="*/ 121 w 167"/>
                <a:gd name="T37" fmla="*/ 58 h 99"/>
                <a:gd name="T38" fmla="*/ 121 w 167"/>
                <a:gd name="T39" fmla="*/ 75 h 99"/>
                <a:gd name="T40" fmla="*/ 145 w 167"/>
                <a:gd name="T41" fmla="*/ 73 h 99"/>
                <a:gd name="T42" fmla="*/ 157 w 167"/>
                <a:gd name="T43" fmla="*/ 78 h 99"/>
                <a:gd name="T44" fmla="*/ 166 w 167"/>
                <a:gd name="T45" fmla="*/ 60 h 99"/>
                <a:gd name="T46" fmla="*/ 109 w 167"/>
                <a:gd name="T47" fmla="*/ 30 h 99"/>
                <a:gd name="T48" fmla="*/ 90 w 167"/>
                <a:gd name="T49" fmla="*/ 0 h 99"/>
                <a:gd name="T50" fmla="*/ 65 w 167"/>
                <a:gd name="T51" fmla="*/ 3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99">
                  <a:moveTo>
                    <a:pt x="65" y="3"/>
                  </a:moveTo>
                  <a:lnTo>
                    <a:pt x="60" y="23"/>
                  </a:lnTo>
                  <a:lnTo>
                    <a:pt x="42" y="11"/>
                  </a:lnTo>
                  <a:lnTo>
                    <a:pt x="27" y="20"/>
                  </a:lnTo>
                  <a:lnTo>
                    <a:pt x="20" y="3"/>
                  </a:lnTo>
                  <a:lnTo>
                    <a:pt x="0" y="19"/>
                  </a:lnTo>
                  <a:lnTo>
                    <a:pt x="4" y="28"/>
                  </a:lnTo>
                  <a:lnTo>
                    <a:pt x="8" y="45"/>
                  </a:lnTo>
                  <a:lnTo>
                    <a:pt x="30" y="47"/>
                  </a:lnTo>
                  <a:lnTo>
                    <a:pt x="42" y="35"/>
                  </a:lnTo>
                  <a:lnTo>
                    <a:pt x="53" y="38"/>
                  </a:lnTo>
                  <a:lnTo>
                    <a:pt x="48" y="52"/>
                  </a:lnTo>
                  <a:lnTo>
                    <a:pt x="45" y="65"/>
                  </a:lnTo>
                  <a:lnTo>
                    <a:pt x="57" y="75"/>
                  </a:lnTo>
                  <a:lnTo>
                    <a:pt x="68" y="92"/>
                  </a:lnTo>
                  <a:lnTo>
                    <a:pt x="82" y="98"/>
                  </a:lnTo>
                  <a:lnTo>
                    <a:pt x="88" y="73"/>
                  </a:lnTo>
                  <a:lnTo>
                    <a:pt x="109" y="51"/>
                  </a:lnTo>
                  <a:lnTo>
                    <a:pt x="121" y="58"/>
                  </a:lnTo>
                  <a:lnTo>
                    <a:pt x="121" y="75"/>
                  </a:lnTo>
                  <a:lnTo>
                    <a:pt x="145" y="73"/>
                  </a:lnTo>
                  <a:lnTo>
                    <a:pt x="157" y="78"/>
                  </a:lnTo>
                  <a:lnTo>
                    <a:pt x="166" y="60"/>
                  </a:lnTo>
                  <a:lnTo>
                    <a:pt x="109" y="30"/>
                  </a:lnTo>
                  <a:lnTo>
                    <a:pt x="90" y="0"/>
                  </a:lnTo>
                  <a:lnTo>
                    <a:pt x="65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" name="Freeform 59">
              <a:extLst>
                <a:ext uri="{FF2B5EF4-FFF2-40B4-BE49-F238E27FC236}">
                  <a16:creationId xmlns:a16="http://schemas.microsoft.com/office/drawing/2014/main" xmlns="" id="{0E78B31A-4346-4977-A38B-6D2236090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8498" y="1960304"/>
              <a:ext cx="127204" cy="49946"/>
            </a:xfrm>
            <a:custGeom>
              <a:avLst/>
              <a:gdLst>
                <a:gd name="T0" fmla="*/ 0 w 95"/>
                <a:gd name="T1" fmla="*/ 3 h 38"/>
                <a:gd name="T2" fmla="*/ 5 w 95"/>
                <a:gd name="T3" fmla="*/ 27 h 38"/>
                <a:gd name="T4" fmla="*/ 43 w 95"/>
                <a:gd name="T5" fmla="*/ 37 h 38"/>
                <a:gd name="T6" fmla="*/ 71 w 95"/>
                <a:gd name="T7" fmla="*/ 27 h 38"/>
                <a:gd name="T8" fmla="*/ 94 w 95"/>
                <a:gd name="T9" fmla="*/ 5 h 38"/>
                <a:gd name="T10" fmla="*/ 54 w 95"/>
                <a:gd name="T11" fmla="*/ 5 h 38"/>
                <a:gd name="T12" fmla="*/ 31 w 95"/>
                <a:gd name="T13" fmla="*/ 0 h 38"/>
                <a:gd name="T14" fmla="*/ 0 w 95"/>
                <a:gd name="T15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38">
                  <a:moveTo>
                    <a:pt x="0" y="3"/>
                  </a:moveTo>
                  <a:lnTo>
                    <a:pt x="5" y="27"/>
                  </a:lnTo>
                  <a:lnTo>
                    <a:pt x="43" y="37"/>
                  </a:lnTo>
                  <a:lnTo>
                    <a:pt x="71" y="27"/>
                  </a:lnTo>
                  <a:lnTo>
                    <a:pt x="94" y="5"/>
                  </a:lnTo>
                  <a:lnTo>
                    <a:pt x="54" y="5"/>
                  </a:lnTo>
                  <a:lnTo>
                    <a:pt x="31" y="0"/>
                  </a:lnTo>
                  <a:lnTo>
                    <a:pt x="0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" name="Freeform 96">
              <a:extLst>
                <a:ext uri="{FF2B5EF4-FFF2-40B4-BE49-F238E27FC236}">
                  <a16:creationId xmlns:a16="http://schemas.microsoft.com/office/drawing/2014/main" xmlns="" id="{B0C812FE-A0F8-4401-BD7D-ABBE5721B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722" y="2292086"/>
              <a:ext cx="30909" cy="39243"/>
            </a:xfrm>
            <a:custGeom>
              <a:avLst/>
              <a:gdLst>
                <a:gd name="T0" fmla="*/ 8 w 24"/>
                <a:gd name="T1" fmla="*/ 0 h 29"/>
                <a:gd name="T2" fmla="*/ 0 w 24"/>
                <a:gd name="T3" fmla="*/ 28 h 29"/>
                <a:gd name="T4" fmla="*/ 23 w 24"/>
                <a:gd name="T5" fmla="*/ 10 h 29"/>
                <a:gd name="T6" fmla="*/ 8 w 24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9">
                  <a:moveTo>
                    <a:pt x="8" y="0"/>
                  </a:moveTo>
                  <a:lnTo>
                    <a:pt x="0" y="28"/>
                  </a:lnTo>
                  <a:lnTo>
                    <a:pt x="23" y="10"/>
                  </a:lnTo>
                  <a:lnTo>
                    <a:pt x="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" name="Freeform 104">
              <a:extLst>
                <a:ext uri="{FF2B5EF4-FFF2-40B4-BE49-F238E27FC236}">
                  <a16:creationId xmlns:a16="http://schemas.microsoft.com/office/drawing/2014/main" xmlns="" id="{9A269114-5691-46C9-A633-5050AA1DA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2761" y="2689273"/>
              <a:ext cx="27343" cy="19027"/>
            </a:xfrm>
            <a:custGeom>
              <a:avLst/>
              <a:gdLst>
                <a:gd name="T0" fmla="*/ 0 w 20"/>
                <a:gd name="T1" fmla="*/ 14 h 15"/>
                <a:gd name="T2" fmla="*/ 4 w 20"/>
                <a:gd name="T3" fmla="*/ 0 h 15"/>
                <a:gd name="T4" fmla="*/ 13 w 20"/>
                <a:gd name="T5" fmla="*/ 0 h 15"/>
                <a:gd name="T6" fmla="*/ 19 w 20"/>
                <a:gd name="T7" fmla="*/ 0 h 15"/>
                <a:gd name="T8" fmla="*/ 0 w 20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">
                  <a:moveTo>
                    <a:pt x="0" y="14"/>
                  </a:moveTo>
                  <a:lnTo>
                    <a:pt x="4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0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" name="Freeform 105">
              <a:extLst>
                <a:ext uri="{FF2B5EF4-FFF2-40B4-BE49-F238E27FC236}">
                  <a16:creationId xmlns:a16="http://schemas.microsoft.com/office/drawing/2014/main" xmlns="" id="{DE7E79EE-D982-4B2D-BD80-18CFD43F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7105" y="2334897"/>
              <a:ext cx="30909" cy="33297"/>
            </a:xfrm>
            <a:custGeom>
              <a:avLst/>
              <a:gdLst>
                <a:gd name="T0" fmla="*/ 11 w 23"/>
                <a:gd name="T1" fmla="*/ 0 h 25"/>
                <a:gd name="T2" fmla="*/ 0 w 23"/>
                <a:gd name="T3" fmla="*/ 12 h 25"/>
                <a:gd name="T4" fmla="*/ 5 w 23"/>
                <a:gd name="T5" fmla="*/ 24 h 25"/>
                <a:gd name="T6" fmla="*/ 14 w 23"/>
                <a:gd name="T7" fmla="*/ 22 h 25"/>
                <a:gd name="T8" fmla="*/ 22 w 23"/>
                <a:gd name="T9" fmla="*/ 9 h 25"/>
                <a:gd name="T10" fmla="*/ 11 w 23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5">
                  <a:moveTo>
                    <a:pt x="11" y="0"/>
                  </a:moveTo>
                  <a:lnTo>
                    <a:pt x="0" y="12"/>
                  </a:lnTo>
                  <a:lnTo>
                    <a:pt x="5" y="24"/>
                  </a:lnTo>
                  <a:lnTo>
                    <a:pt x="14" y="22"/>
                  </a:lnTo>
                  <a:lnTo>
                    <a:pt x="22" y="9"/>
                  </a:lnTo>
                  <a:lnTo>
                    <a:pt x="1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" name="Freeform 106">
              <a:extLst>
                <a:ext uri="{FF2B5EF4-FFF2-40B4-BE49-F238E27FC236}">
                  <a16:creationId xmlns:a16="http://schemas.microsoft.com/office/drawing/2014/main" xmlns="" id="{BF639688-188C-4FC2-B467-1A815B4FEA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6897" y="2305167"/>
              <a:ext cx="43987" cy="23784"/>
            </a:xfrm>
            <a:custGeom>
              <a:avLst/>
              <a:gdLst>
                <a:gd name="T0" fmla="*/ 27 w 33"/>
                <a:gd name="T1" fmla="*/ 4 h 17"/>
                <a:gd name="T2" fmla="*/ 13 w 33"/>
                <a:gd name="T3" fmla="*/ 0 h 17"/>
                <a:gd name="T4" fmla="*/ 0 w 33"/>
                <a:gd name="T5" fmla="*/ 12 h 17"/>
                <a:gd name="T6" fmla="*/ 9 w 33"/>
                <a:gd name="T7" fmla="*/ 14 h 17"/>
                <a:gd name="T8" fmla="*/ 32 w 33"/>
                <a:gd name="T9" fmla="*/ 16 h 17"/>
                <a:gd name="T10" fmla="*/ 27 w 33"/>
                <a:gd name="T11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27" y="4"/>
                  </a:moveTo>
                  <a:lnTo>
                    <a:pt x="13" y="0"/>
                  </a:lnTo>
                  <a:lnTo>
                    <a:pt x="0" y="12"/>
                  </a:lnTo>
                  <a:lnTo>
                    <a:pt x="9" y="14"/>
                  </a:lnTo>
                  <a:lnTo>
                    <a:pt x="32" y="16"/>
                  </a:lnTo>
                  <a:lnTo>
                    <a:pt x="27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" name="Freeform 107">
              <a:extLst>
                <a:ext uri="{FF2B5EF4-FFF2-40B4-BE49-F238E27FC236}">
                  <a16:creationId xmlns:a16="http://schemas.microsoft.com/office/drawing/2014/main" xmlns="" id="{CF4F90FF-0A5A-4BE3-9DB2-1215285F6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243" y="2164844"/>
              <a:ext cx="17832" cy="21405"/>
            </a:xfrm>
            <a:custGeom>
              <a:avLst/>
              <a:gdLst>
                <a:gd name="T0" fmla="*/ 6 w 14"/>
                <a:gd name="T1" fmla="*/ 15 h 16"/>
                <a:gd name="T2" fmla="*/ 7 w 14"/>
                <a:gd name="T3" fmla="*/ 15 h 16"/>
                <a:gd name="T4" fmla="*/ 8 w 14"/>
                <a:gd name="T5" fmla="*/ 15 h 16"/>
                <a:gd name="T6" fmla="*/ 9 w 14"/>
                <a:gd name="T7" fmla="*/ 14 h 16"/>
                <a:gd name="T8" fmla="*/ 11 w 14"/>
                <a:gd name="T9" fmla="*/ 14 h 16"/>
                <a:gd name="T10" fmla="*/ 11 w 14"/>
                <a:gd name="T11" fmla="*/ 13 h 16"/>
                <a:gd name="T12" fmla="*/ 11 w 14"/>
                <a:gd name="T13" fmla="*/ 12 h 16"/>
                <a:gd name="T14" fmla="*/ 11 w 14"/>
                <a:gd name="T15" fmla="*/ 11 h 16"/>
                <a:gd name="T16" fmla="*/ 11 w 14"/>
                <a:gd name="T17" fmla="*/ 10 h 16"/>
                <a:gd name="T18" fmla="*/ 11 w 14"/>
                <a:gd name="T19" fmla="*/ 9 h 16"/>
                <a:gd name="T20" fmla="*/ 13 w 14"/>
                <a:gd name="T21" fmla="*/ 8 h 16"/>
                <a:gd name="T22" fmla="*/ 11 w 14"/>
                <a:gd name="T23" fmla="*/ 8 h 16"/>
                <a:gd name="T24" fmla="*/ 11 w 14"/>
                <a:gd name="T25" fmla="*/ 7 h 16"/>
                <a:gd name="T26" fmla="*/ 11 w 14"/>
                <a:gd name="T27" fmla="*/ 5 h 16"/>
                <a:gd name="T28" fmla="*/ 11 w 14"/>
                <a:gd name="T29" fmla="*/ 4 h 16"/>
                <a:gd name="T30" fmla="*/ 11 w 14"/>
                <a:gd name="T31" fmla="*/ 3 h 16"/>
                <a:gd name="T32" fmla="*/ 11 w 14"/>
                <a:gd name="T33" fmla="*/ 2 h 16"/>
                <a:gd name="T34" fmla="*/ 9 w 14"/>
                <a:gd name="T35" fmla="*/ 1 h 16"/>
                <a:gd name="T36" fmla="*/ 8 w 14"/>
                <a:gd name="T37" fmla="*/ 1 h 16"/>
                <a:gd name="T38" fmla="*/ 7 w 14"/>
                <a:gd name="T39" fmla="*/ 0 h 16"/>
                <a:gd name="T40" fmla="*/ 6 w 14"/>
                <a:gd name="T41" fmla="*/ 0 h 16"/>
                <a:gd name="T42" fmla="*/ 4 w 14"/>
                <a:gd name="T43" fmla="*/ 0 h 16"/>
                <a:gd name="T44" fmla="*/ 3 w 14"/>
                <a:gd name="T45" fmla="*/ 1 h 16"/>
                <a:gd name="T46" fmla="*/ 2 w 14"/>
                <a:gd name="T47" fmla="*/ 2 h 16"/>
                <a:gd name="T48" fmla="*/ 1 w 14"/>
                <a:gd name="T49" fmla="*/ 3 h 16"/>
                <a:gd name="T50" fmla="*/ 0 w 14"/>
                <a:gd name="T51" fmla="*/ 4 h 16"/>
                <a:gd name="T52" fmla="*/ 0 w 14"/>
                <a:gd name="T53" fmla="*/ 5 h 16"/>
                <a:gd name="T54" fmla="*/ 0 w 14"/>
                <a:gd name="T55" fmla="*/ 7 h 16"/>
                <a:gd name="T56" fmla="*/ 0 w 14"/>
                <a:gd name="T57" fmla="*/ 8 h 16"/>
                <a:gd name="T58" fmla="*/ 0 w 14"/>
                <a:gd name="T59" fmla="*/ 9 h 16"/>
                <a:gd name="T60" fmla="*/ 0 w 14"/>
                <a:gd name="T61" fmla="*/ 10 h 16"/>
                <a:gd name="T62" fmla="*/ 0 w 14"/>
                <a:gd name="T63" fmla="*/ 11 h 16"/>
                <a:gd name="T64" fmla="*/ 0 w 14"/>
                <a:gd name="T65" fmla="*/ 12 h 16"/>
                <a:gd name="T66" fmla="*/ 1 w 14"/>
                <a:gd name="T67" fmla="*/ 13 h 16"/>
                <a:gd name="T68" fmla="*/ 2 w 14"/>
                <a:gd name="T69" fmla="*/ 14 h 16"/>
                <a:gd name="T70" fmla="*/ 3 w 14"/>
                <a:gd name="T71" fmla="*/ 14 h 16"/>
                <a:gd name="T72" fmla="*/ 3 w 14"/>
                <a:gd name="T73" fmla="*/ 15 h 16"/>
                <a:gd name="T74" fmla="*/ 4 w 14"/>
                <a:gd name="T75" fmla="*/ 15 h 16"/>
                <a:gd name="T76" fmla="*/ 6 w 14"/>
                <a:gd name="T7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" h="16">
                  <a:moveTo>
                    <a:pt x="6" y="15"/>
                  </a:moveTo>
                  <a:lnTo>
                    <a:pt x="7" y="15"/>
                  </a:lnTo>
                  <a:lnTo>
                    <a:pt x="8" y="15"/>
                  </a:lnTo>
                  <a:lnTo>
                    <a:pt x="9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9" y="1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1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6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6" name="Freeform 108">
              <a:extLst>
                <a:ext uri="{FF2B5EF4-FFF2-40B4-BE49-F238E27FC236}">
                  <a16:creationId xmlns:a16="http://schemas.microsoft.com/office/drawing/2014/main" xmlns="" id="{98F2CA4B-3727-450F-93F9-8488D90A8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24" y="2346789"/>
              <a:ext cx="23777" cy="21405"/>
            </a:xfrm>
            <a:custGeom>
              <a:avLst/>
              <a:gdLst>
                <a:gd name="T0" fmla="*/ 6 w 18"/>
                <a:gd name="T1" fmla="*/ 0 h 16"/>
                <a:gd name="T2" fmla="*/ 0 w 18"/>
                <a:gd name="T3" fmla="*/ 11 h 16"/>
                <a:gd name="T4" fmla="*/ 12 w 18"/>
                <a:gd name="T5" fmla="*/ 15 h 16"/>
                <a:gd name="T6" fmla="*/ 17 w 18"/>
                <a:gd name="T7" fmla="*/ 0 h 16"/>
                <a:gd name="T8" fmla="*/ 6 w 1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6">
                  <a:moveTo>
                    <a:pt x="6" y="0"/>
                  </a:moveTo>
                  <a:lnTo>
                    <a:pt x="0" y="11"/>
                  </a:lnTo>
                  <a:lnTo>
                    <a:pt x="12" y="15"/>
                  </a:lnTo>
                  <a:lnTo>
                    <a:pt x="17" y="0"/>
                  </a:lnTo>
                  <a:lnTo>
                    <a:pt x="6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7" name="Freeform 109">
              <a:extLst>
                <a:ext uri="{FF2B5EF4-FFF2-40B4-BE49-F238E27FC236}">
                  <a16:creationId xmlns:a16="http://schemas.microsoft.com/office/drawing/2014/main" xmlns="" id="{8BA8C667-552B-47EC-95DD-1AC33CCE4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9266" y="2328951"/>
              <a:ext cx="21399" cy="44000"/>
            </a:xfrm>
            <a:custGeom>
              <a:avLst/>
              <a:gdLst>
                <a:gd name="T0" fmla="*/ 0 w 16"/>
                <a:gd name="T1" fmla="*/ 0 h 33"/>
                <a:gd name="T2" fmla="*/ 2 w 16"/>
                <a:gd name="T3" fmla="*/ 13 h 33"/>
                <a:gd name="T4" fmla="*/ 9 w 16"/>
                <a:gd name="T5" fmla="*/ 16 h 33"/>
                <a:gd name="T6" fmla="*/ 12 w 16"/>
                <a:gd name="T7" fmla="*/ 32 h 33"/>
                <a:gd name="T8" fmla="*/ 15 w 16"/>
                <a:gd name="T9" fmla="*/ 20 h 33"/>
                <a:gd name="T10" fmla="*/ 15 w 16"/>
                <a:gd name="T11" fmla="*/ 11 h 33"/>
                <a:gd name="T12" fmla="*/ 14 w 16"/>
                <a:gd name="T13" fmla="*/ 0 h 33"/>
                <a:gd name="T14" fmla="*/ 0 w 16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3">
                  <a:moveTo>
                    <a:pt x="0" y="0"/>
                  </a:moveTo>
                  <a:lnTo>
                    <a:pt x="2" y="13"/>
                  </a:lnTo>
                  <a:lnTo>
                    <a:pt x="9" y="16"/>
                  </a:lnTo>
                  <a:lnTo>
                    <a:pt x="12" y="32"/>
                  </a:lnTo>
                  <a:lnTo>
                    <a:pt x="15" y="20"/>
                  </a:lnTo>
                  <a:lnTo>
                    <a:pt x="15" y="11"/>
                  </a:lnTo>
                  <a:lnTo>
                    <a:pt x="14" y="0"/>
                  </a:lnTo>
                  <a:lnTo>
                    <a:pt x="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8" name="Freeform 110">
              <a:extLst>
                <a:ext uri="{FF2B5EF4-FFF2-40B4-BE49-F238E27FC236}">
                  <a16:creationId xmlns:a16="http://schemas.microsoft.com/office/drawing/2014/main" xmlns="" id="{A5198751-FF5F-49AA-B59B-2778FF380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553" y="2331329"/>
              <a:ext cx="21399" cy="17838"/>
            </a:xfrm>
            <a:custGeom>
              <a:avLst/>
              <a:gdLst>
                <a:gd name="T0" fmla="*/ 0 w 15"/>
                <a:gd name="T1" fmla="*/ 4 h 14"/>
                <a:gd name="T2" fmla="*/ 7 w 15"/>
                <a:gd name="T3" fmla="*/ 13 h 14"/>
                <a:gd name="T4" fmla="*/ 14 w 15"/>
                <a:gd name="T5" fmla="*/ 0 h 14"/>
                <a:gd name="T6" fmla="*/ 0 w 15"/>
                <a:gd name="T7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0" y="4"/>
                  </a:moveTo>
                  <a:lnTo>
                    <a:pt x="7" y="13"/>
                  </a:lnTo>
                  <a:lnTo>
                    <a:pt x="14" y="0"/>
                  </a:lnTo>
                  <a:lnTo>
                    <a:pt x="0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9" name="Freeform 111">
              <a:extLst>
                <a:ext uri="{FF2B5EF4-FFF2-40B4-BE49-F238E27FC236}">
                  <a16:creationId xmlns:a16="http://schemas.microsoft.com/office/drawing/2014/main" xmlns="" id="{AF39D037-4B40-417D-BB4D-75AC0B0C0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9295" y="3326675"/>
              <a:ext cx="23777" cy="22594"/>
            </a:xfrm>
            <a:custGeom>
              <a:avLst/>
              <a:gdLst>
                <a:gd name="T0" fmla="*/ 1 w 18"/>
                <a:gd name="T1" fmla="*/ 6 h 17"/>
                <a:gd name="T2" fmla="*/ 0 w 18"/>
                <a:gd name="T3" fmla="*/ 16 h 17"/>
                <a:gd name="T4" fmla="*/ 9 w 18"/>
                <a:gd name="T5" fmla="*/ 16 h 17"/>
                <a:gd name="T6" fmla="*/ 17 w 18"/>
                <a:gd name="T7" fmla="*/ 6 h 17"/>
                <a:gd name="T8" fmla="*/ 7 w 18"/>
                <a:gd name="T9" fmla="*/ 0 h 17"/>
                <a:gd name="T10" fmla="*/ 1 w 18"/>
                <a:gd name="T1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7">
                  <a:moveTo>
                    <a:pt x="1" y="6"/>
                  </a:moveTo>
                  <a:lnTo>
                    <a:pt x="0" y="16"/>
                  </a:lnTo>
                  <a:lnTo>
                    <a:pt x="9" y="16"/>
                  </a:lnTo>
                  <a:lnTo>
                    <a:pt x="17" y="6"/>
                  </a:lnTo>
                  <a:lnTo>
                    <a:pt x="7" y="0"/>
                  </a:lnTo>
                  <a:lnTo>
                    <a:pt x="1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" name="Freeform 112">
              <a:extLst>
                <a:ext uri="{FF2B5EF4-FFF2-40B4-BE49-F238E27FC236}">
                  <a16:creationId xmlns:a16="http://schemas.microsoft.com/office/drawing/2014/main" xmlns="" id="{34D8542F-C676-40CB-B8AD-F0CA5F40D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116" y="3275540"/>
              <a:ext cx="43987" cy="21405"/>
            </a:xfrm>
            <a:custGeom>
              <a:avLst/>
              <a:gdLst>
                <a:gd name="T0" fmla="*/ 16 w 32"/>
                <a:gd name="T1" fmla="*/ 11 h 16"/>
                <a:gd name="T2" fmla="*/ 15 w 32"/>
                <a:gd name="T3" fmla="*/ 11 h 16"/>
                <a:gd name="T4" fmla="*/ 14 w 32"/>
                <a:gd name="T5" fmla="*/ 11 h 16"/>
                <a:gd name="T6" fmla="*/ 12 w 32"/>
                <a:gd name="T7" fmla="*/ 11 h 16"/>
                <a:gd name="T8" fmla="*/ 12 w 32"/>
                <a:gd name="T9" fmla="*/ 12 h 16"/>
                <a:gd name="T10" fmla="*/ 11 w 32"/>
                <a:gd name="T11" fmla="*/ 12 h 16"/>
                <a:gd name="T12" fmla="*/ 9 w 32"/>
                <a:gd name="T13" fmla="*/ 13 h 16"/>
                <a:gd name="T14" fmla="*/ 8 w 32"/>
                <a:gd name="T15" fmla="*/ 13 h 16"/>
                <a:gd name="T16" fmla="*/ 6 w 32"/>
                <a:gd name="T17" fmla="*/ 14 h 16"/>
                <a:gd name="T18" fmla="*/ 5 w 32"/>
                <a:gd name="T19" fmla="*/ 14 h 16"/>
                <a:gd name="T20" fmla="*/ 4 w 32"/>
                <a:gd name="T21" fmla="*/ 15 h 16"/>
                <a:gd name="T22" fmla="*/ 3 w 32"/>
                <a:gd name="T23" fmla="*/ 14 h 16"/>
                <a:gd name="T24" fmla="*/ 1 w 32"/>
                <a:gd name="T25" fmla="*/ 14 h 16"/>
                <a:gd name="T26" fmla="*/ 0 w 32"/>
                <a:gd name="T27" fmla="*/ 13 h 16"/>
                <a:gd name="T28" fmla="*/ 0 w 32"/>
                <a:gd name="T29" fmla="*/ 12 h 16"/>
                <a:gd name="T30" fmla="*/ 0 w 32"/>
                <a:gd name="T31" fmla="*/ 11 h 16"/>
                <a:gd name="T32" fmla="*/ 0 w 32"/>
                <a:gd name="T33" fmla="*/ 10 h 16"/>
                <a:gd name="T34" fmla="*/ 0 w 32"/>
                <a:gd name="T35" fmla="*/ 9 h 16"/>
                <a:gd name="T36" fmla="*/ 0 w 32"/>
                <a:gd name="T37" fmla="*/ 8 h 16"/>
                <a:gd name="T38" fmla="*/ 0 w 32"/>
                <a:gd name="T39" fmla="*/ 7 h 16"/>
                <a:gd name="T40" fmla="*/ 0 w 32"/>
                <a:gd name="T41" fmla="*/ 6 h 16"/>
                <a:gd name="T42" fmla="*/ 0 w 32"/>
                <a:gd name="T43" fmla="*/ 5 h 16"/>
                <a:gd name="T44" fmla="*/ 1 w 32"/>
                <a:gd name="T45" fmla="*/ 4 h 16"/>
                <a:gd name="T46" fmla="*/ 2 w 32"/>
                <a:gd name="T47" fmla="*/ 4 h 16"/>
                <a:gd name="T48" fmla="*/ 3 w 32"/>
                <a:gd name="T49" fmla="*/ 4 h 16"/>
                <a:gd name="T50" fmla="*/ 4 w 32"/>
                <a:gd name="T51" fmla="*/ 4 h 16"/>
                <a:gd name="T52" fmla="*/ 5 w 32"/>
                <a:gd name="T53" fmla="*/ 4 h 16"/>
                <a:gd name="T54" fmla="*/ 7 w 32"/>
                <a:gd name="T55" fmla="*/ 4 h 16"/>
                <a:gd name="T56" fmla="*/ 8 w 32"/>
                <a:gd name="T57" fmla="*/ 4 h 16"/>
                <a:gd name="T58" fmla="*/ 10 w 32"/>
                <a:gd name="T59" fmla="*/ 4 h 16"/>
                <a:gd name="T60" fmla="*/ 12 w 32"/>
                <a:gd name="T61" fmla="*/ 4 h 16"/>
                <a:gd name="T62" fmla="*/ 14 w 32"/>
                <a:gd name="T63" fmla="*/ 4 h 16"/>
                <a:gd name="T64" fmla="*/ 15 w 32"/>
                <a:gd name="T65" fmla="*/ 4 h 16"/>
                <a:gd name="T66" fmla="*/ 16 w 32"/>
                <a:gd name="T67" fmla="*/ 4 h 16"/>
                <a:gd name="T68" fmla="*/ 18 w 32"/>
                <a:gd name="T69" fmla="*/ 4 h 16"/>
                <a:gd name="T70" fmla="*/ 19 w 32"/>
                <a:gd name="T71" fmla="*/ 3 h 16"/>
                <a:gd name="T72" fmla="*/ 20 w 32"/>
                <a:gd name="T73" fmla="*/ 2 h 16"/>
                <a:gd name="T74" fmla="*/ 23 w 32"/>
                <a:gd name="T75" fmla="*/ 2 h 16"/>
                <a:gd name="T76" fmla="*/ 24 w 32"/>
                <a:gd name="T77" fmla="*/ 1 h 16"/>
                <a:gd name="T78" fmla="*/ 26 w 32"/>
                <a:gd name="T79" fmla="*/ 0 h 16"/>
                <a:gd name="T80" fmla="*/ 27 w 32"/>
                <a:gd name="T81" fmla="*/ 0 h 16"/>
                <a:gd name="T82" fmla="*/ 28 w 32"/>
                <a:gd name="T83" fmla="*/ 0 h 16"/>
                <a:gd name="T84" fmla="*/ 29 w 32"/>
                <a:gd name="T85" fmla="*/ 0 h 16"/>
                <a:gd name="T86" fmla="*/ 31 w 32"/>
                <a:gd name="T87" fmla="*/ 0 h 16"/>
                <a:gd name="T88" fmla="*/ 31 w 32"/>
                <a:gd name="T89" fmla="*/ 1 h 16"/>
                <a:gd name="T90" fmla="*/ 31 w 32"/>
                <a:gd name="T91" fmla="*/ 2 h 16"/>
                <a:gd name="T92" fmla="*/ 31 w 32"/>
                <a:gd name="T93" fmla="*/ 3 h 16"/>
                <a:gd name="T94" fmla="*/ 30 w 32"/>
                <a:gd name="T95" fmla="*/ 4 h 16"/>
                <a:gd name="T96" fmla="*/ 29 w 32"/>
                <a:gd name="T97" fmla="*/ 4 h 16"/>
                <a:gd name="T98" fmla="*/ 28 w 32"/>
                <a:gd name="T99" fmla="*/ 4 h 16"/>
                <a:gd name="T100" fmla="*/ 27 w 32"/>
                <a:gd name="T101" fmla="*/ 6 h 16"/>
                <a:gd name="T102" fmla="*/ 27 w 32"/>
                <a:gd name="T103" fmla="*/ 7 h 16"/>
                <a:gd name="T104" fmla="*/ 27 w 32"/>
                <a:gd name="T105" fmla="*/ 8 h 16"/>
                <a:gd name="T106" fmla="*/ 27 w 32"/>
                <a:gd name="T107" fmla="*/ 9 h 16"/>
                <a:gd name="T108" fmla="*/ 26 w 32"/>
                <a:gd name="T109" fmla="*/ 9 h 16"/>
                <a:gd name="T110" fmla="*/ 26 w 32"/>
                <a:gd name="T111" fmla="*/ 10 h 16"/>
                <a:gd name="T112" fmla="*/ 24 w 32"/>
                <a:gd name="T113" fmla="*/ 11 h 16"/>
                <a:gd name="T114" fmla="*/ 23 w 32"/>
                <a:gd name="T115" fmla="*/ 11 h 16"/>
                <a:gd name="T116" fmla="*/ 21 w 32"/>
                <a:gd name="T117" fmla="*/ 11 h 16"/>
                <a:gd name="T118" fmla="*/ 19 w 32"/>
                <a:gd name="T119" fmla="*/ 11 h 16"/>
                <a:gd name="T120" fmla="*/ 18 w 32"/>
                <a:gd name="T121" fmla="*/ 11 h 16"/>
                <a:gd name="T122" fmla="*/ 16 w 32"/>
                <a:gd name="T123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" h="16">
                  <a:moveTo>
                    <a:pt x="16" y="11"/>
                  </a:moveTo>
                  <a:lnTo>
                    <a:pt x="15" y="11"/>
                  </a:lnTo>
                  <a:lnTo>
                    <a:pt x="14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4" y="15"/>
                  </a:lnTo>
                  <a:lnTo>
                    <a:pt x="3" y="14"/>
                  </a:lnTo>
                  <a:lnTo>
                    <a:pt x="1" y="14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9" y="3"/>
                  </a:lnTo>
                  <a:lnTo>
                    <a:pt x="20" y="2"/>
                  </a:lnTo>
                  <a:lnTo>
                    <a:pt x="23" y="2"/>
                  </a:lnTo>
                  <a:lnTo>
                    <a:pt x="24" y="1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1" y="2"/>
                  </a:lnTo>
                  <a:lnTo>
                    <a:pt x="31" y="3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8" y="4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4" y="11"/>
                  </a:lnTo>
                  <a:lnTo>
                    <a:pt x="23" y="11"/>
                  </a:lnTo>
                  <a:lnTo>
                    <a:pt x="21" y="11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6" y="1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1" name="Freeform 113">
              <a:extLst>
                <a:ext uri="{FF2B5EF4-FFF2-40B4-BE49-F238E27FC236}">
                  <a16:creationId xmlns:a16="http://schemas.microsoft.com/office/drawing/2014/main" xmlns="" id="{60FFC268-1A32-4B8A-8624-550EADC3F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528" y="2660733"/>
              <a:ext cx="17832" cy="17838"/>
            </a:xfrm>
            <a:custGeom>
              <a:avLst/>
              <a:gdLst>
                <a:gd name="T0" fmla="*/ 0 w 14"/>
                <a:gd name="T1" fmla="*/ 0 h 14"/>
                <a:gd name="T2" fmla="*/ 2 w 14"/>
                <a:gd name="T3" fmla="*/ 13 h 14"/>
                <a:gd name="T4" fmla="*/ 13 w 14"/>
                <a:gd name="T5" fmla="*/ 0 h 14"/>
                <a:gd name="T6" fmla="*/ 0 w 14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0" y="0"/>
                  </a:moveTo>
                  <a:lnTo>
                    <a:pt x="2" y="13"/>
                  </a:ln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2" name="Freeform 114">
              <a:extLst>
                <a:ext uri="{FF2B5EF4-FFF2-40B4-BE49-F238E27FC236}">
                  <a16:creationId xmlns:a16="http://schemas.microsoft.com/office/drawing/2014/main" xmlns="" id="{54F3A48A-8C3C-4A00-9E7A-EA2746D2E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499" y="2682138"/>
              <a:ext cx="20210" cy="29730"/>
            </a:xfrm>
            <a:custGeom>
              <a:avLst/>
              <a:gdLst>
                <a:gd name="T0" fmla="*/ 11 w 15"/>
                <a:gd name="T1" fmla="*/ 0 h 23"/>
                <a:gd name="T2" fmla="*/ 2 w 15"/>
                <a:gd name="T3" fmla="*/ 6 h 23"/>
                <a:gd name="T4" fmla="*/ 0 w 15"/>
                <a:gd name="T5" fmla="*/ 17 h 23"/>
                <a:gd name="T6" fmla="*/ 5 w 15"/>
                <a:gd name="T7" fmla="*/ 22 h 23"/>
                <a:gd name="T8" fmla="*/ 14 w 15"/>
                <a:gd name="T9" fmla="*/ 11 h 23"/>
                <a:gd name="T10" fmla="*/ 11 w 15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3">
                  <a:moveTo>
                    <a:pt x="11" y="0"/>
                  </a:moveTo>
                  <a:lnTo>
                    <a:pt x="2" y="6"/>
                  </a:lnTo>
                  <a:lnTo>
                    <a:pt x="0" y="17"/>
                  </a:lnTo>
                  <a:lnTo>
                    <a:pt x="5" y="22"/>
                  </a:lnTo>
                  <a:lnTo>
                    <a:pt x="14" y="11"/>
                  </a:lnTo>
                  <a:lnTo>
                    <a:pt x="1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3" name="Freeform 115">
              <a:extLst>
                <a:ext uri="{FF2B5EF4-FFF2-40B4-BE49-F238E27FC236}">
                  <a16:creationId xmlns:a16="http://schemas.microsoft.com/office/drawing/2014/main" xmlns="" id="{7EDE5D6C-FF83-4C87-BD16-BE22820AF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912" y="3124514"/>
              <a:ext cx="40420" cy="26162"/>
            </a:xfrm>
            <a:custGeom>
              <a:avLst/>
              <a:gdLst>
                <a:gd name="T0" fmla="*/ 6 w 30"/>
                <a:gd name="T1" fmla="*/ 19 h 20"/>
                <a:gd name="T2" fmla="*/ 18 w 30"/>
                <a:gd name="T3" fmla="*/ 19 h 20"/>
                <a:gd name="T4" fmla="*/ 29 w 30"/>
                <a:gd name="T5" fmla="*/ 10 h 20"/>
                <a:gd name="T6" fmla="*/ 13 w 30"/>
                <a:gd name="T7" fmla="*/ 0 h 20"/>
                <a:gd name="T8" fmla="*/ 0 w 30"/>
                <a:gd name="T9" fmla="*/ 2 h 20"/>
                <a:gd name="T10" fmla="*/ 0 w 30"/>
                <a:gd name="T11" fmla="*/ 14 h 20"/>
                <a:gd name="T12" fmla="*/ 6 w 30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0">
                  <a:moveTo>
                    <a:pt x="6" y="19"/>
                  </a:moveTo>
                  <a:lnTo>
                    <a:pt x="18" y="19"/>
                  </a:lnTo>
                  <a:lnTo>
                    <a:pt x="29" y="10"/>
                  </a:lnTo>
                  <a:lnTo>
                    <a:pt x="13" y="0"/>
                  </a:lnTo>
                  <a:lnTo>
                    <a:pt x="0" y="2"/>
                  </a:lnTo>
                  <a:lnTo>
                    <a:pt x="0" y="14"/>
                  </a:lnTo>
                  <a:lnTo>
                    <a:pt x="6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4" name="Freeform 118">
              <a:extLst>
                <a:ext uri="{FF2B5EF4-FFF2-40B4-BE49-F238E27FC236}">
                  <a16:creationId xmlns:a16="http://schemas.microsoft.com/office/drawing/2014/main" xmlns="" id="{E391BB11-C649-4CF7-9063-C059D2979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873" y="3519322"/>
              <a:ext cx="34476" cy="67783"/>
            </a:xfrm>
            <a:custGeom>
              <a:avLst/>
              <a:gdLst>
                <a:gd name="T0" fmla="*/ 12 w 25"/>
                <a:gd name="T1" fmla="*/ 0 h 51"/>
                <a:gd name="T2" fmla="*/ 2 w 25"/>
                <a:gd name="T3" fmla="*/ 15 h 51"/>
                <a:gd name="T4" fmla="*/ 0 w 25"/>
                <a:gd name="T5" fmla="*/ 34 h 51"/>
                <a:gd name="T6" fmla="*/ 16 w 25"/>
                <a:gd name="T7" fmla="*/ 50 h 51"/>
                <a:gd name="T8" fmla="*/ 24 w 25"/>
                <a:gd name="T9" fmla="*/ 26 h 51"/>
                <a:gd name="T10" fmla="*/ 12 w 25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51">
                  <a:moveTo>
                    <a:pt x="12" y="0"/>
                  </a:moveTo>
                  <a:lnTo>
                    <a:pt x="2" y="15"/>
                  </a:lnTo>
                  <a:lnTo>
                    <a:pt x="0" y="34"/>
                  </a:lnTo>
                  <a:lnTo>
                    <a:pt x="16" y="50"/>
                  </a:lnTo>
                  <a:lnTo>
                    <a:pt x="24" y="26"/>
                  </a:lnTo>
                  <a:lnTo>
                    <a:pt x="12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5" name="Freeform 131">
              <a:extLst>
                <a:ext uri="{FF2B5EF4-FFF2-40B4-BE49-F238E27FC236}">
                  <a16:creationId xmlns:a16="http://schemas.microsoft.com/office/drawing/2014/main" xmlns="" id="{997A65EC-0D1C-41C7-A8B7-CE7B7C415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066" y="4420722"/>
              <a:ext cx="145037" cy="166486"/>
            </a:xfrm>
            <a:custGeom>
              <a:avLst/>
              <a:gdLst>
                <a:gd name="T0" fmla="*/ 65 w 108"/>
                <a:gd name="T1" fmla="*/ 0 h 125"/>
                <a:gd name="T2" fmla="*/ 59 w 108"/>
                <a:gd name="T3" fmla="*/ 7 h 125"/>
                <a:gd name="T4" fmla="*/ 47 w 108"/>
                <a:gd name="T5" fmla="*/ 9 h 125"/>
                <a:gd name="T6" fmla="*/ 45 w 108"/>
                <a:gd name="T7" fmla="*/ 20 h 125"/>
                <a:gd name="T8" fmla="*/ 40 w 108"/>
                <a:gd name="T9" fmla="*/ 23 h 125"/>
                <a:gd name="T10" fmla="*/ 32 w 108"/>
                <a:gd name="T11" fmla="*/ 25 h 125"/>
                <a:gd name="T12" fmla="*/ 30 w 108"/>
                <a:gd name="T13" fmla="*/ 36 h 125"/>
                <a:gd name="T14" fmla="*/ 22 w 108"/>
                <a:gd name="T15" fmla="*/ 39 h 125"/>
                <a:gd name="T16" fmla="*/ 8 w 108"/>
                <a:gd name="T17" fmla="*/ 39 h 125"/>
                <a:gd name="T18" fmla="*/ 0 w 108"/>
                <a:gd name="T19" fmla="*/ 42 h 125"/>
                <a:gd name="T20" fmla="*/ 6 w 108"/>
                <a:gd name="T21" fmla="*/ 64 h 125"/>
                <a:gd name="T22" fmla="*/ 8 w 108"/>
                <a:gd name="T23" fmla="*/ 75 h 125"/>
                <a:gd name="T24" fmla="*/ 15 w 108"/>
                <a:gd name="T25" fmla="*/ 79 h 125"/>
                <a:gd name="T26" fmla="*/ 19 w 108"/>
                <a:gd name="T27" fmla="*/ 91 h 125"/>
                <a:gd name="T28" fmla="*/ 27 w 108"/>
                <a:gd name="T29" fmla="*/ 92 h 125"/>
                <a:gd name="T30" fmla="*/ 31 w 108"/>
                <a:gd name="T31" fmla="*/ 107 h 125"/>
                <a:gd name="T32" fmla="*/ 37 w 108"/>
                <a:gd name="T33" fmla="*/ 109 h 125"/>
                <a:gd name="T34" fmla="*/ 52 w 108"/>
                <a:gd name="T35" fmla="*/ 115 h 125"/>
                <a:gd name="T36" fmla="*/ 62 w 108"/>
                <a:gd name="T37" fmla="*/ 119 h 125"/>
                <a:gd name="T38" fmla="*/ 66 w 108"/>
                <a:gd name="T39" fmla="*/ 124 h 125"/>
                <a:gd name="T40" fmla="*/ 82 w 108"/>
                <a:gd name="T41" fmla="*/ 124 h 125"/>
                <a:gd name="T42" fmla="*/ 85 w 108"/>
                <a:gd name="T43" fmla="*/ 113 h 125"/>
                <a:gd name="T44" fmla="*/ 93 w 108"/>
                <a:gd name="T45" fmla="*/ 108 h 125"/>
                <a:gd name="T46" fmla="*/ 92 w 108"/>
                <a:gd name="T47" fmla="*/ 87 h 125"/>
                <a:gd name="T48" fmla="*/ 102 w 108"/>
                <a:gd name="T49" fmla="*/ 82 h 125"/>
                <a:gd name="T50" fmla="*/ 107 w 108"/>
                <a:gd name="T51" fmla="*/ 75 h 125"/>
                <a:gd name="T52" fmla="*/ 101 w 108"/>
                <a:gd name="T53" fmla="*/ 61 h 125"/>
                <a:gd name="T54" fmla="*/ 100 w 108"/>
                <a:gd name="T55" fmla="*/ 51 h 125"/>
                <a:gd name="T56" fmla="*/ 105 w 108"/>
                <a:gd name="T57" fmla="*/ 31 h 125"/>
                <a:gd name="T58" fmla="*/ 98 w 108"/>
                <a:gd name="T59" fmla="*/ 16 h 125"/>
                <a:gd name="T60" fmla="*/ 77 w 108"/>
                <a:gd name="T61" fmla="*/ 13 h 125"/>
                <a:gd name="T62" fmla="*/ 70 w 108"/>
                <a:gd name="T63" fmla="*/ 1 h 125"/>
                <a:gd name="T64" fmla="*/ 65 w 108"/>
                <a:gd name="T6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" h="125">
                  <a:moveTo>
                    <a:pt x="65" y="0"/>
                  </a:moveTo>
                  <a:lnTo>
                    <a:pt x="59" y="7"/>
                  </a:lnTo>
                  <a:lnTo>
                    <a:pt x="47" y="9"/>
                  </a:lnTo>
                  <a:lnTo>
                    <a:pt x="45" y="20"/>
                  </a:lnTo>
                  <a:lnTo>
                    <a:pt x="40" y="23"/>
                  </a:lnTo>
                  <a:lnTo>
                    <a:pt x="32" y="25"/>
                  </a:lnTo>
                  <a:lnTo>
                    <a:pt x="30" y="36"/>
                  </a:lnTo>
                  <a:lnTo>
                    <a:pt x="22" y="39"/>
                  </a:lnTo>
                  <a:lnTo>
                    <a:pt x="8" y="39"/>
                  </a:lnTo>
                  <a:lnTo>
                    <a:pt x="0" y="42"/>
                  </a:lnTo>
                  <a:lnTo>
                    <a:pt x="6" y="64"/>
                  </a:lnTo>
                  <a:lnTo>
                    <a:pt x="8" y="75"/>
                  </a:lnTo>
                  <a:lnTo>
                    <a:pt x="15" y="79"/>
                  </a:lnTo>
                  <a:lnTo>
                    <a:pt x="19" y="91"/>
                  </a:lnTo>
                  <a:lnTo>
                    <a:pt x="27" y="92"/>
                  </a:lnTo>
                  <a:lnTo>
                    <a:pt x="31" y="107"/>
                  </a:lnTo>
                  <a:lnTo>
                    <a:pt x="37" y="109"/>
                  </a:lnTo>
                  <a:lnTo>
                    <a:pt x="52" y="115"/>
                  </a:lnTo>
                  <a:lnTo>
                    <a:pt x="62" y="119"/>
                  </a:lnTo>
                  <a:lnTo>
                    <a:pt x="66" y="124"/>
                  </a:lnTo>
                  <a:lnTo>
                    <a:pt x="82" y="124"/>
                  </a:lnTo>
                  <a:lnTo>
                    <a:pt x="85" y="113"/>
                  </a:lnTo>
                  <a:lnTo>
                    <a:pt x="93" y="108"/>
                  </a:lnTo>
                  <a:lnTo>
                    <a:pt x="92" y="87"/>
                  </a:lnTo>
                  <a:lnTo>
                    <a:pt x="102" y="82"/>
                  </a:lnTo>
                  <a:lnTo>
                    <a:pt x="107" y="75"/>
                  </a:lnTo>
                  <a:lnTo>
                    <a:pt x="101" y="61"/>
                  </a:lnTo>
                  <a:lnTo>
                    <a:pt x="100" y="51"/>
                  </a:lnTo>
                  <a:lnTo>
                    <a:pt x="105" y="31"/>
                  </a:lnTo>
                  <a:lnTo>
                    <a:pt x="98" y="16"/>
                  </a:lnTo>
                  <a:lnTo>
                    <a:pt x="77" y="13"/>
                  </a:lnTo>
                  <a:lnTo>
                    <a:pt x="70" y="1"/>
                  </a:lnTo>
                  <a:lnTo>
                    <a:pt x="6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6" name="Freeform 132">
              <a:extLst>
                <a:ext uri="{FF2B5EF4-FFF2-40B4-BE49-F238E27FC236}">
                  <a16:creationId xmlns:a16="http://schemas.microsoft.com/office/drawing/2014/main" xmlns="" id="{665DB87E-E6EE-4D21-831C-B8231553D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1014" y="4451641"/>
              <a:ext cx="189023" cy="283025"/>
            </a:xfrm>
            <a:custGeom>
              <a:avLst/>
              <a:gdLst>
                <a:gd name="T0" fmla="*/ 1 w 141"/>
                <a:gd name="T1" fmla="*/ 6 h 212"/>
                <a:gd name="T2" fmla="*/ 15 w 141"/>
                <a:gd name="T3" fmla="*/ 0 h 212"/>
                <a:gd name="T4" fmla="*/ 31 w 141"/>
                <a:gd name="T5" fmla="*/ 7 h 212"/>
                <a:gd name="T6" fmla="*/ 56 w 141"/>
                <a:gd name="T7" fmla="*/ 9 h 212"/>
                <a:gd name="T8" fmla="*/ 93 w 141"/>
                <a:gd name="T9" fmla="*/ 8 h 212"/>
                <a:gd name="T10" fmla="*/ 98 w 141"/>
                <a:gd name="T11" fmla="*/ 16 h 212"/>
                <a:gd name="T12" fmla="*/ 129 w 141"/>
                <a:gd name="T13" fmla="*/ 20 h 212"/>
                <a:gd name="T14" fmla="*/ 140 w 141"/>
                <a:gd name="T15" fmla="*/ 22 h 212"/>
                <a:gd name="T16" fmla="*/ 133 w 141"/>
                <a:gd name="T17" fmla="*/ 35 h 212"/>
                <a:gd name="T18" fmla="*/ 132 w 141"/>
                <a:gd name="T19" fmla="*/ 87 h 212"/>
                <a:gd name="T20" fmla="*/ 126 w 141"/>
                <a:gd name="T21" fmla="*/ 91 h 212"/>
                <a:gd name="T22" fmla="*/ 118 w 141"/>
                <a:gd name="T23" fmla="*/ 95 h 212"/>
                <a:gd name="T24" fmla="*/ 119 w 141"/>
                <a:gd name="T25" fmla="*/ 146 h 212"/>
                <a:gd name="T26" fmla="*/ 115 w 141"/>
                <a:gd name="T27" fmla="*/ 202 h 212"/>
                <a:gd name="T28" fmla="*/ 107 w 141"/>
                <a:gd name="T29" fmla="*/ 211 h 212"/>
                <a:gd name="T30" fmla="*/ 87 w 141"/>
                <a:gd name="T31" fmla="*/ 208 h 212"/>
                <a:gd name="T32" fmla="*/ 81 w 141"/>
                <a:gd name="T33" fmla="*/ 197 h 212"/>
                <a:gd name="T34" fmla="*/ 77 w 141"/>
                <a:gd name="T35" fmla="*/ 202 h 212"/>
                <a:gd name="T36" fmla="*/ 67 w 141"/>
                <a:gd name="T37" fmla="*/ 203 h 212"/>
                <a:gd name="T38" fmla="*/ 63 w 141"/>
                <a:gd name="T39" fmla="*/ 190 h 212"/>
                <a:gd name="T40" fmla="*/ 55 w 141"/>
                <a:gd name="T41" fmla="*/ 181 h 212"/>
                <a:gd name="T42" fmla="*/ 45 w 141"/>
                <a:gd name="T43" fmla="*/ 179 h 212"/>
                <a:gd name="T44" fmla="*/ 46 w 141"/>
                <a:gd name="T45" fmla="*/ 160 h 212"/>
                <a:gd name="T46" fmla="*/ 42 w 141"/>
                <a:gd name="T47" fmla="*/ 138 h 212"/>
                <a:gd name="T48" fmla="*/ 41 w 141"/>
                <a:gd name="T49" fmla="*/ 123 h 212"/>
                <a:gd name="T50" fmla="*/ 40 w 141"/>
                <a:gd name="T51" fmla="*/ 103 h 212"/>
                <a:gd name="T52" fmla="*/ 35 w 141"/>
                <a:gd name="T53" fmla="*/ 89 h 212"/>
                <a:gd name="T54" fmla="*/ 30 w 141"/>
                <a:gd name="T55" fmla="*/ 78 h 212"/>
                <a:gd name="T56" fmla="*/ 25 w 141"/>
                <a:gd name="T57" fmla="*/ 68 h 212"/>
                <a:gd name="T58" fmla="*/ 16 w 141"/>
                <a:gd name="T59" fmla="*/ 50 h 212"/>
                <a:gd name="T60" fmla="*/ 11 w 141"/>
                <a:gd name="T61" fmla="*/ 40 h 212"/>
                <a:gd name="T62" fmla="*/ 0 w 141"/>
                <a:gd name="T63" fmla="*/ 25 h 212"/>
                <a:gd name="T64" fmla="*/ 1 w 141"/>
                <a:gd name="T65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212">
                  <a:moveTo>
                    <a:pt x="1" y="6"/>
                  </a:moveTo>
                  <a:lnTo>
                    <a:pt x="15" y="0"/>
                  </a:lnTo>
                  <a:lnTo>
                    <a:pt x="31" y="7"/>
                  </a:lnTo>
                  <a:lnTo>
                    <a:pt x="56" y="9"/>
                  </a:lnTo>
                  <a:lnTo>
                    <a:pt x="93" y="8"/>
                  </a:lnTo>
                  <a:lnTo>
                    <a:pt x="98" y="16"/>
                  </a:lnTo>
                  <a:lnTo>
                    <a:pt x="129" y="20"/>
                  </a:lnTo>
                  <a:lnTo>
                    <a:pt x="140" y="22"/>
                  </a:lnTo>
                  <a:lnTo>
                    <a:pt x="133" y="35"/>
                  </a:lnTo>
                  <a:lnTo>
                    <a:pt x="132" y="87"/>
                  </a:lnTo>
                  <a:lnTo>
                    <a:pt x="126" y="91"/>
                  </a:lnTo>
                  <a:lnTo>
                    <a:pt x="118" y="95"/>
                  </a:lnTo>
                  <a:lnTo>
                    <a:pt x="119" y="146"/>
                  </a:lnTo>
                  <a:lnTo>
                    <a:pt x="115" y="202"/>
                  </a:lnTo>
                  <a:lnTo>
                    <a:pt x="107" y="211"/>
                  </a:lnTo>
                  <a:lnTo>
                    <a:pt x="87" y="208"/>
                  </a:lnTo>
                  <a:lnTo>
                    <a:pt x="81" y="197"/>
                  </a:lnTo>
                  <a:lnTo>
                    <a:pt x="77" y="202"/>
                  </a:lnTo>
                  <a:lnTo>
                    <a:pt x="67" y="203"/>
                  </a:lnTo>
                  <a:lnTo>
                    <a:pt x="63" y="190"/>
                  </a:lnTo>
                  <a:lnTo>
                    <a:pt x="55" y="181"/>
                  </a:lnTo>
                  <a:lnTo>
                    <a:pt x="45" y="179"/>
                  </a:lnTo>
                  <a:lnTo>
                    <a:pt x="46" y="160"/>
                  </a:lnTo>
                  <a:lnTo>
                    <a:pt x="42" y="138"/>
                  </a:lnTo>
                  <a:lnTo>
                    <a:pt x="41" y="123"/>
                  </a:lnTo>
                  <a:lnTo>
                    <a:pt x="40" y="103"/>
                  </a:lnTo>
                  <a:lnTo>
                    <a:pt x="35" y="89"/>
                  </a:lnTo>
                  <a:lnTo>
                    <a:pt x="30" y="78"/>
                  </a:lnTo>
                  <a:lnTo>
                    <a:pt x="25" y="68"/>
                  </a:lnTo>
                  <a:lnTo>
                    <a:pt x="16" y="50"/>
                  </a:lnTo>
                  <a:lnTo>
                    <a:pt x="11" y="40"/>
                  </a:lnTo>
                  <a:lnTo>
                    <a:pt x="0" y="25"/>
                  </a:lnTo>
                  <a:lnTo>
                    <a:pt x="1" y="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7" name="Freeform 133">
              <a:extLst>
                <a:ext uri="{FF2B5EF4-FFF2-40B4-BE49-F238E27FC236}">
                  <a16:creationId xmlns:a16="http://schemas.microsoft.com/office/drawing/2014/main" xmlns="" id="{069B1029-5D2D-4561-8D05-EAB7791D5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5427" y="4337480"/>
              <a:ext cx="154547" cy="318701"/>
            </a:xfrm>
            <a:custGeom>
              <a:avLst/>
              <a:gdLst>
                <a:gd name="T0" fmla="*/ 88 w 116"/>
                <a:gd name="T1" fmla="*/ 3 h 238"/>
                <a:gd name="T2" fmla="*/ 87 w 116"/>
                <a:gd name="T3" fmla="*/ 23 h 238"/>
                <a:gd name="T4" fmla="*/ 81 w 116"/>
                <a:gd name="T5" fmla="*/ 26 h 238"/>
                <a:gd name="T6" fmla="*/ 79 w 116"/>
                <a:gd name="T7" fmla="*/ 41 h 238"/>
                <a:gd name="T8" fmla="*/ 70 w 116"/>
                <a:gd name="T9" fmla="*/ 41 h 238"/>
                <a:gd name="T10" fmla="*/ 66 w 116"/>
                <a:gd name="T11" fmla="*/ 47 h 238"/>
                <a:gd name="T12" fmla="*/ 64 w 116"/>
                <a:gd name="T13" fmla="*/ 55 h 238"/>
                <a:gd name="T14" fmla="*/ 56 w 116"/>
                <a:gd name="T15" fmla="*/ 62 h 238"/>
                <a:gd name="T16" fmla="*/ 53 w 116"/>
                <a:gd name="T17" fmla="*/ 70 h 238"/>
                <a:gd name="T18" fmla="*/ 48 w 116"/>
                <a:gd name="T19" fmla="*/ 69 h 238"/>
                <a:gd name="T20" fmla="*/ 46 w 116"/>
                <a:gd name="T21" fmla="*/ 61 h 238"/>
                <a:gd name="T22" fmla="*/ 37 w 116"/>
                <a:gd name="T23" fmla="*/ 61 h 238"/>
                <a:gd name="T24" fmla="*/ 35 w 116"/>
                <a:gd name="T25" fmla="*/ 67 h 238"/>
                <a:gd name="T26" fmla="*/ 26 w 116"/>
                <a:gd name="T27" fmla="*/ 71 h 238"/>
                <a:gd name="T28" fmla="*/ 23 w 116"/>
                <a:gd name="T29" fmla="*/ 84 h 238"/>
                <a:gd name="T30" fmla="*/ 17 w 116"/>
                <a:gd name="T31" fmla="*/ 85 h 238"/>
                <a:gd name="T32" fmla="*/ 20 w 116"/>
                <a:gd name="T33" fmla="*/ 127 h 238"/>
                <a:gd name="T34" fmla="*/ 24 w 116"/>
                <a:gd name="T35" fmla="*/ 128 h 238"/>
                <a:gd name="T36" fmla="*/ 26 w 116"/>
                <a:gd name="T37" fmla="*/ 139 h 238"/>
                <a:gd name="T38" fmla="*/ 20 w 116"/>
                <a:gd name="T39" fmla="*/ 143 h 238"/>
                <a:gd name="T40" fmla="*/ 17 w 116"/>
                <a:gd name="T41" fmla="*/ 157 h 238"/>
                <a:gd name="T42" fmla="*/ 10 w 116"/>
                <a:gd name="T43" fmla="*/ 160 h 238"/>
                <a:gd name="T44" fmla="*/ 9 w 116"/>
                <a:gd name="T45" fmla="*/ 167 h 238"/>
                <a:gd name="T46" fmla="*/ 0 w 116"/>
                <a:gd name="T47" fmla="*/ 170 h 238"/>
                <a:gd name="T48" fmla="*/ 1 w 116"/>
                <a:gd name="T49" fmla="*/ 189 h 238"/>
                <a:gd name="T50" fmla="*/ 11 w 116"/>
                <a:gd name="T51" fmla="*/ 189 h 238"/>
                <a:gd name="T52" fmla="*/ 11 w 116"/>
                <a:gd name="T53" fmla="*/ 228 h 238"/>
                <a:gd name="T54" fmla="*/ 20 w 116"/>
                <a:gd name="T55" fmla="*/ 228 h 238"/>
                <a:gd name="T56" fmla="*/ 26 w 116"/>
                <a:gd name="T57" fmla="*/ 234 h 238"/>
                <a:gd name="T58" fmla="*/ 33 w 116"/>
                <a:gd name="T59" fmla="*/ 237 h 238"/>
                <a:gd name="T60" fmla="*/ 42 w 116"/>
                <a:gd name="T61" fmla="*/ 228 h 238"/>
                <a:gd name="T62" fmla="*/ 52 w 116"/>
                <a:gd name="T63" fmla="*/ 227 h 238"/>
                <a:gd name="T64" fmla="*/ 59 w 116"/>
                <a:gd name="T65" fmla="*/ 222 h 238"/>
                <a:gd name="T66" fmla="*/ 66 w 116"/>
                <a:gd name="T67" fmla="*/ 217 h 238"/>
                <a:gd name="T68" fmla="*/ 70 w 116"/>
                <a:gd name="T69" fmla="*/ 198 h 238"/>
                <a:gd name="T70" fmla="*/ 78 w 116"/>
                <a:gd name="T71" fmla="*/ 195 h 238"/>
                <a:gd name="T72" fmla="*/ 78 w 116"/>
                <a:gd name="T73" fmla="*/ 170 h 238"/>
                <a:gd name="T74" fmla="*/ 83 w 116"/>
                <a:gd name="T75" fmla="*/ 167 h 238"/>
                <a:gd name="T76" fmla="*/ 82 w 116"/>
                <a:gd name="T77" fmla="*/ 132 h 238"/>
                <a:gd name="T78" fmla="*/ 92 w 116"/>
                <a:gd name="T79" fmla="*/ 125 h 238"/>
                <a:gd name="T80" fmla="*/ 98 w 116"/>
                <a:gd name="T81" fmla="*/ 119 h 238"/>
                <a:gd name="T82" fmla="*/ 98 w 116"/>
                <a:gd name="T83" fmla="*/ 91 h 238"/>
                <a:gd name="T84" fmla="*/ 106 w 116"/>
                <a:gd name="T85" fmla="*/ 86 h 238"/>
                <a:gd name="T86" fmla="*/ 107 w 116"/>
                <a:gd name="T87" fmla="*/ 64 h 238"/>
                <a:gd name="T88" fmla="*/ 114 w 116"/>
                <a:gd name="T89" fmla="*/ 64 h 238"/>
                <a:gd name="T90" fmla="*/ 115 w 116"/>
                <a:gd name="T91" fmla="*/ 28 h 238"/>
                <a:gd name="T92" fmla="*/ 106 w 116"/>
                <a:gd name="T93" fmla="*/ 23 h 238"/>
                <a:gd name="T94" fmla="*/ 105 w 116"/>
                <a:gd name="T95" fmla="*/ 6 h 238"/>
                <a:gd name="T96" fmla="*/ 96 w 116"/>
                <a:gd name="T97" fmla="*/ 0 h 238"/>
                <a:gd name="T98" fmla="*/ 88 w 116"/>
                <a:gd name="T99" fmla="*/ 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6" h="238">
                  <a:moveTo>
                    <a:pt x="88" y="3"/>
                  </a:moveTo>
                  <a:lnTo>
                    <a:pt x="87" y="23"/>
                  </a:lnTo>
                  <a:lnTo>
                    <a:pt x="81" y="26"/>
                  </a:lnTo>
                  <a:lnTo>
                    <a:pt x="79" y="41"/>
                  </a:lnTo>
                  <a:lnTo>
                    <a:pt x="70" y="41"/>
                  </a:lnTo>
                  <a:lnTo>
                    <a:pt x="66" y="47"/>
                  </a:lnTo>
                  <a:lnTo>
                    <a:pt x="64" y="55"/>
                  </a:lnTo>
                  <a:lnTo>
                    <a:pt x="56" y="62"/>
                  </a:lnTo>
                  <a:lnTo>
                    <a:pt x="53" y="70"/>
                  </a:lnTo>
                  <a:lnTo>
                    <a:pt x="48" y="69"/>
                  </a:lnTo>
                  <a:lnTo>
                    <a:pt x="46" y="61"/>
                  </a:lnTo>
                  <a:lnTo>
                    <a:pt x="37" y="61"/>
                  </a:lnTo>
                  <a:lnTo>
                    <a:pt x="35" y="67"/>
                  </a:lnTo>
                  <a:lnTo>
                    <a:pt x="26" y="71"/>
                  </a:lnTo>
                  <a:lnTo>
                    <a:pt x="23" y="84"/>
                  </a:lnTo>
                  <a:lnTo>
                    <a:pt x="17" y="85"/>
                  </a:lnTo>
                  <a:lnTo>
                    <a:pt x="20" y="127"/>
                  </a:lnTo>
                  <a:lnTo>
                    <a:pt x="24" y="128"/>
                  </a:lnTo>
                  <a:lnTo>
                    <a:pt x="26" y="139"/>
                  </a:lnTo>
                  <a:lnTo>
                    <a:pt x="20" y="143"/>
                  </a:lnTo>
                  <a:lnTo>
                    <a:pt x="17" y="157"/>
                  </a:lnTo>
                  <a:lnTo>
                    <a:pt x="10" y="160"/>
                  </a:lnTo>
                  <a:lnTo>
                    <a:pt x="9" y="167"/>
                  </a:lnTo>
                  <a:lnTo>
                    <a:pt x="0" y="170"/>
                  </a:lnTo>
                  <a:lnTo>
                    <a:pt x="1" y="189"/>
                  </a:lnTo>
                  <a:lnTo>
                    <a:pt x="11" y="189"/>
                  </a:lnTo>
                  <a:lnTo>
                    <a:pt x="11" y="228"/>
                  </a:lnTo>
                  <a:lnTo>
                    <a:pt x="20" y="228"/>
                  </a:lnTo>
                  <a:lnTo>
                    <a:pt x="26" y="234"/>
                  </a:lnTo>
                  <a:lnTo>
                    <a:pt x="33" y="237"/>
                  </a:lnTo>
                  <a:lnTo>
                    <a:pt x="42" y="228"/>
                  </a:lnTo>
                  <a:lnTo>
                    <a:pt x="52" y="227"/>
                  </a:lnTo>
                  <a:lnTo>
                    <a:pt x="59" y="222"/>
                  </a:lnTo>
                  <a:lnTo>
                    <a:pt x="66" y="217"/>
                  </a:lnTo>
                  <a:lnTo>
                    <a:pt x="70" y="198"/>
                  </a:lnTo>
                  <a:lnTo>
                    <a:pt x="78" y="195"/>
                  </a:lnTo>
                  <a:lnTo>
                    <a:pt x="78" y="170"/>
                  </a:lnTo>
                  <a:lnTo>
                    <a:pt x="83" y="167"/>
                  </a:lnTo>
                  <a:lnTo>
                    <a:pt x="82" y="132"/>
                  </a:lnTo>
                  <a:lnTo>
                    <a:pt x="92" y="125"/>
                  </a:lnTo>
                  <a:lnTo>
                    <a:pt x="98" y="119"/>
                  </a:lnTo>
                  <a:lnTo>
                    <a:pt x="98" y="91"/>
                  </a:lnTo>
                  <a:lnTo>
                    <a:pt x="106" y="86"/>
                  </a:lnTo>
                  <a:lnTo>
                    <a:pt x="107" y="64"/>
                  </a:lnTo>
                  <a:lnTo>
                    <a:pt x="114" y="64"/>
                  </a:lnTo>
                  <a:lnTo>
                    <a:pt x="115" y="28"/>
                  </a:lnTo>
                  <a:lnTo>
                    <a:pt x="106" y="23"/>
                  </a:lnTo>
                  <a:lnTo>
                    <a:pt x="105" y="6"/>
                  </a:lnTo>
                  <a:lnTo>
                    <a:pt x="96" y="0"/>
                  </a:lnTo>
                  <a:lnTo>
                    <a:pt x="88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8" name="Freeform 134">
              <a:extLst>
                <a:ext uri="{FF2B5EF4-FFF2-40B4-BE49-F238E27FC236}">
                  <a16:creationId xmlns:a16="http://schemas.microsoft.com/office/drawing/2014/main" xmlns="" id="{598859F5-757C-478E-B682-026CAADBB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939" y="4471857"/>
              <a:ext cx="184268" cy="211674"/>
            </a:xfrm>
            <a:custGeom>
              <a:avLst/>
              <a:gdLst>
                <a:gd name="T0" fmla="*/ 47 w 139"/>
                <a:gd name="T1" fmla="*/ 3 h 159"/>
                <a:gd name="T2" fmla="*/ 86 w 139"/>
                <a:gd name="T3" fmla="*/ 4 h 159"/>
                <a:gd name="T4" fmla="*/ 92 w 139"/>
                <a:gd name="T5" fmla="*/ 26 h 159"/>
                <a:gd name="T6" fmla="*/ 93 w 139"/>
                <a:gd name="T7" fmla="*/ 37 h 159"/>
                <a:gd name="T8" fmla="*/ 101 w 139"/>
                <a:gd name="T9" fmla="*/ 42 h 159"/>
                <a:gd name="T10" fmla="*/ 105 w 139"/>
                <a:gd name="T11" fmla="*/ 54 h 159"/>
                <a:gd name="T12" fmla="*/ 113 w 139"/>
                <a:gd name="T13" fmla="*/ 54 h 159"/>
                <a:gd name="T14" fmla="*/ 117 w 139"/>
                <a:gd name="T15" fmla="*/ 70 h 159"/>
                <a:gd name="T16" fmla="*/ 123 w 139"/>
                <a:gd name="T17" fmla="*/ 71 h 159"/>
                <a:gd name="T18" fmla="*/ 138 w 139"/>
                <a:gd name="T19" fmla="*/ 77 h 159"/>
                <a:gd name="T20" fmla="*/ 135 w 139"/>
                <a:gd name="T21" fmla="*/ 86 h 159"/>
                <a:gd name="T22" fmla="*/ 126 w 139"/>
                <a:gd name="T23" fmla="*/ 93 h 159"/>
                <a:gd name="T24" fmla="*/ 117 w 139"/>
                <a:gd name="T25" fmla="*/ 102 h 159"/>
                <a:gd name="T26" fmla="*/ 106 w 139"/>
                <a:gd name="T27" fmla="*/ 107 h 159"/>
                <a:gd name="T28" fmla="*/ 102 w 139"/>
                <a:gd name="T29" fmla="*/ 121 h 159"/>
                <a:gd name="T30" fmla="*/ 93 w 139"/>
                <a:gd name="T31" fmla="*/ 124 h 159"/>
                <a:gd name="T32" fmla="*/ 87 w 139"/>
                <a:gd name="T33" fmla="*/ 133 h 159"/>
                <a:gd name="T34" fmla="*/ 78 w 139"/>
                <a:gd name="T35" fmla="*/ 142 h 159"/>
                <a:gd name="T36" fmla="*/ 64 w 139"/>
                <a:gd name="T37" fmla="*/ 142 h 159"/>
                <a:gd name="T38" fmla="*/ 55 w 139"/>
                <a:gd name="T39" fmla="*/ 136 h 159"/>
                <a:gd name="T40" fmla="*/ 46 w 139"/>
                <a:gd name="T41" fmla="*/ 136 h 159"/>
                <a:gd name="T42" fmla="*/ 41 w 139"/>
                <a:gd name="T43" fmla="*/ 144 h 159"/>
                <a:gd name="T44" fmla="*/ 38 w 139"/>
                <a:gd name="T45" fmla="*/ 153 h 159"/>
                <a:gd name="T46" fmla="*/ 30 w 139"/>
                <a:gd name="T47" fmla="*/ 158 h 159"/>
                <a:gd name="T48" fmla="*/ 10 w 139"/>
                <a:gd name="T49" fmla="*/ 153 h 159"/>
                <a:gd name="T50" fmla="*/ 6 w 139"/>
                <a:gd name="T51" fmla="*/ 138 h 159"/>
                <a:gd name="T52" fmla="*/ 1 w 139"/>
                <a:gd name="T53" fmla="*/ 132 h 159"/>
                <a:gd name="T54" fmla="*/ 0 w 139"/>
                <a:gd name="T55" fmla="*/ 80 h 159"/>
                <a:gd name="T56" fmla="*/ 8 w 139"/>
                <a:gd name="T57" fmla="*/ 76 h 159"/>
                <a:gd name="T58" fmla="*/ 15 w 139"/>
                <a:gd name="T59" fmla="*/ 72 h 159"/>
                <a:gd name="T60" fmla="*/ 15 w 139"/>
                <a:gd name="T61" fmla="*/ 20 h 159"/>
                <a:gd name="T62" fmla="*/ 22 w 139"/>
                <a:gd name="T63" fmla="*/ 7 h 159"/>
                <a:gd name="T64" fmla="*/ 40 w 139"/>
                <a:gd name="T65" fmla="*/ 0 h 159"/>
                <a:gd name="T66" fmla="*/ 47 w 139"/>
                <a:gd name="T67" fmla="*/ 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9" h="159">
                  <a:moveTo>
                    <a:pt x="47" y="3"/>
                  </a:moveTo>
                  <a:lnTo>
                    <a:pt x="86" y="4"/>
                  </a:lnTo>
                  <a:lnTo>
                    <a:pt x="92" y="26"/>
                  </a:lnTo>
                  <a:lnTo>
                    <a:pt x="93" y="37"/>
                  </a:lnTo>
                  <a:lnTo>
                    <a:pt x="101" y="42"/>
                  </a:lnTo>
                  <a:lnTo>
                    <a:pt x="105" y="54"/>
                  </a:lnTo>
                  <a:lnTo>
                    <a:pt x="113" y="54"/>
                  </a:lnTo>
                  <a:lnTo>
                    <a:pt x="117" y="70"/>
                  </a:lnTo>
                  <a:lnTo>
                    <a:pt x="123" y="71"/>
                  </a:lnTo>
                  <a:lnTo>
                    <a:pt x="138" y="77"/>
                  </a:lnTo>
                  <a:lnTo>
                    <a:pt x="135" y="86"/>
                  </a:lnTo>
                  <a:lnTo>
                    <a:pt x="126" y="93"/>
                  </a:lnTo>
                  <a:lnTo>
                    <a:pt x="117" y="102"/>
                  </a:lnTo>
                  <a:lnTo>
                    <a:pt x="106" y="107"/>
                  </a:lnTo>
                  <a:lnTo>
                    <a:pt x="102" y="121"/>
                  </a:lnTo>
                  <a:lnTo>
                    <a:pt x="93" y="124"/>
                  </a:lnTo>
                  <a:lnTo>
                    <a:pt x="87" y="133"/>
                  </a:lnTo>
                  <a:lnTo>
                    <a:pt x="78" y="142"/>
                  </a:lnTo>
                  <a:lnTo>
                    <a:pt x="64" y="142"/>
                  </a:lnTo>
                  <a:lnTo>
                    <a:pt x="55" y="136"/>
                  </a:lnTo>
                  <a:lnTo>
                    <a:pt x="46" y="136"/>
                  </a:lnTo>
                  <a:lnTo>
                    <a:pt x="41" y="144"/>
                  </a:lnTo>
                  <a:lnTo>
                    <a:pt x="38" y="153"/>
                  </a:lnTo>
                  <a:lnTo>
                    <a:pt x="30" y="158"/>
                  </a:lnTo>
                  <a:lnTo>
                    <a:pt x="10" y="153"/>
                  </a:lnTo>
                  <a:lnTo>
                    <a:pt x="6" y="138"/>
                  </a:lnTo>
                  <a:lnTo>
                    <a:pt x="1" y="132"/>
                  </a:lnTo>
                  <a:lnTo>
                    <a:pt x="0" y="80"/>
                  </a:lnTo>
                  <a:lnTo>
                    <a:pt x="8" y="76"/>
                  </a:lnTo>
                  <a:lnTo>
                    <a:pt x="15" y="72"/>
                  </a:lnTo>
                  <a:lnTo>
                    <a:pt x="15" y="20"/>
                  </a:lnTo>
                  <a:lnTo>
                    <a:pt x="22" y="7"/>
                  </a:lnTo>
                  <a:lnTo>
                    <a:pt x="40" y="0"/>
                  </a:lnTo>
                  <a:lnTo>
                    <a:pt x="47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9" name="Freeform 149">
              <a:extLst>
                <a:ext uri="{FF2B5EF4-FFF2-40B4-BE49-F238E27FC236}">
                  <a16:creationId xmlns:a16="http://schemas.microsoft.com/office/drawing/2014/main" xmlns="" id="{3759D1E7-A3DB-4187-A543-8313CFD88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770" y="3579971"/>
              <a:ext cx="141470" cy="202161"/>
            </a:xfrm>
            <a:custGeom>
              <a:avLst/>
              <a:gdLst>
                <a:gd name="T0" fmla="*/ 0 w 106"/>
                <a:gd name="T1" fmla="*/ 23 h 152"/>
                <a:gd name="T2" fmla="*/ 3 w 106"/>
                <a:gd name="T3" fmla="*/ 36 h 152"/>
                <a:gd name="T4" fmla="*/ 6 w 106"/>
                <a:gd name="T5" fmla="*/ 50 h 152"/>
                <a:gd name="T6" fmla="*/ 13 w 106"/>
                <a:gd name="T7" fmla="*/ 57 h 152"/>
                <a:gd name="T8" fmla="*/ 24 w 106"/>
                <a:gd name="T9" fmla="*/ 61 h 152"/>
                <a:gd name="T10" fmla="*/ 38 w 106"/>
                <a:gd name="T11" fmla="*/ 81 h 152"/>
                <a:gd name="T12" fmla="*/ 50 w 106"/>
                <a:gd name="T13" fmla="*/ 71 h 152"/>
                <a:gd name="T14" fmla="*/ 60 w 106"/>
                <a:gd name="T15" fmla="*/ 84 h 152"/>
                <a:gd name="T16" fmla="*/ 68 w 106"/>
                <a:gd name="T17" fmla="*/ 103 h 152"/>
                <a:gd name="T18" fmla="*/ 73 w 106"/>
                <a:gd name="T19" fmla="*/ 114 h 152"/>
                <a:gd name="T20" fmla="*/ 81 w 106"/>
                <a:gd name="T21" fmla="*/ 116 h 152"/>
                <a:gd name="T22" fmla="*/ 81 w 106"/>
                <a:gd name="T23" fmla="*/ 140 h 152"/>
                <a:gd name="T24" fmla="*/ 91 w 106"/>
                <a:gd name="T25" fmla="*/ 151 h 152"/>
                <a:gd name="T26" fmla="*/ 105 w 106"/>
                <a:gd name="T27" fmla="*/ 140 h 152"/>
                <a:gd name="T28" fmla="*/ 105 w 106"/>
                <a:gd name="T29" fmla="*/ 111 h 152"/>
                <a:gd name="T30" fmla="*/ 92 w 106"/>
                <a:gd name="T31" fmla="*/ 102 h 152"/>
                <a:gd name="T32" fmla="*/ 71 w 106"/>
                <a:gd name="T33" fmla="*/ 69 h 152"/>
                <a:gd name="T34" fmla="*/ 60 w 106"/>
                <a:gd name="T35" fmla="*/ 58 h 152"/>
                <a:gd name="T36" fmla="*/ 65 w 106"/>
                <a:gd name="T37" fmla="*/ 42 h 152"/>
                <a:gd name="T38" fmla="*/ 62 w 106"/>
                <a:gd name="T39" fmla="*/ 32 h 152"/>
                <a:gd name="T40" fmla="*/ 37 w 106"/>
                <a:gd name="T41" fmla="*/ 23 h 152"/>
                <a:gd name="T42" fmla="*/ 29 w 106"/>
                <a:gd name="T43" fmla="*/ 0 h 152"/>
                <a:gd name="T44" fmla="*/ 18 w 106"/>
                <a:gd name="T45" fmla="*/ 6 h 152"/>
                <a:gd name="T46" fmla="*/ 19 w 106"/>
                <a:gd name="T47" fmla="*/ 20 h 152"/>
                <a:gd name="T48" fmla="*/ 0 w 106"/>
                <a:gd name="T49" fmla="*/ 2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" h="152">
                  <a:moveTo>
                    <a:pt x="0" y="23"/>
                  </a:moveTo>
                  <a:lnTo>
                    <a:pt x="3" y="36"/>
                  </a:lnTo>
                  <a:lnTo>
                    <a:pt x="6" y="50"/>
                  </a:lnTo>
                  <a:lnTo>
                    <a:pt x="13" y="57"/>
                  </a:lnTo>
                  <a:lnTo>
                    <a:pt x="24" y="61"/>
                  </a:lnTo>
                  <a:lnTo>
                    <a:pt x="38" y="81"/>
                  </a:lnTo>
                  <a:lnTo>
                    <a:pt x="50" y="71"/>
                  </a:lnTo>
                  <a:lnTo>
                    <a:pt x="60" y="84"/>
                  </a:lnTo>
                  <a:lnTo>
                    <a:pt x="68" y="103"/>
                  </a:lnTo>
                  <a:lnTo>
                    <a:pt x="73" y="114"/>
                  </a:lnTo>
                  <a:lnTo>
                    <a:pt x="81" y="116"/>
                  </a:lnTo>
                  <a:lnTo>
                    <a:pt x="81" y="140"/>
                  </a:lnTo>
                  <a:lnTo>
                    <a:pt x="91" y="151"/>
                  </a:lnTo>
                  <a:lnTo>
                    <a:pt x="105" y="140"/>
                  </a:lnTo>
                  <a:lnTo>
                    <a:pt x="105" y="111"/>
                  </a:lnTo>
                  <a:lnTo>
                    <a:pt x="92" y="102"/>
                  </a:lnTo>
                  <a:lnTo>
                    <a:pt x="71" y="69"/>
                  </a:lnTo>
                  <a:lnTo>
                    <a:pt x="60" y="58"/>
                  </a:lnTo>
                  <a:lnTo>
                    <a:pt x="65" y="42"/>
                  </a:lnTo>
                  <a:lnTo>
                    <a:pt x="62" y="32"/>
                  </a:lnTo>
                  <a:lnTo>
                    <a:pt x="37" y="23"/>
                  </a:lnTo>
                  <a:lnTo>
                    <a:pt x="29" y="0"/>
                  </a:lnTo>
                  <a:lnTo>
                    <a:pt x="18" y="6"/>
                  </a:lnTo>
                  <a:lnTo>
                    <a:pt x="19" y="20"/>
                  </a:lnTo>
                  <a:lnTo>
                    <a:pt x="0" y="2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0" name="Freeform 152">
              <a:extLst>
                <a:ext uri="{FF2B5EF4-FFF2-40B4-BE49-F238E27FC236}">
                  <a16:creationId xmlns:a16="http://schemas.microsoft.com/office/drawing/2014/main" xmlns="" id="{9B752119-E8F6-44F0-A7DC-27C7BC0FC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1365" y="4574127"/>
              <a:ext cx="316228" cy="296106"/>
            </a:xfrm>
            <a:custGeom>
              <a:avLst/>
              <a:gdLst>
                <a:gd name="T0" fmla="*/ 217 w 237"/>
                <a:gd name="T1" fmla="*/ 9 h 221"/>
                <a:gd name="T2" fmla="*/ 201 w 237"/>
                <a:gd name="T3" fmla="*/ 9 h 221"/>
                <a:gd name="T4" fmla="*/ 197 w 237"/>
                <a:gd name="T5" fmla="*/ 4 h 221"/>
                <a:gd name="T6" fmla="*/ 187 w 237"/>
                <a:gd name="T7" fmla="*/ 0 h 221"/>
                <a:gd name="T8" fmla="*/ 184 w 237"/>
                <a:gd name="T9" fmla="*/ 8 h 221"/>
                <a:gd name="T10" fmla="*/ 175 w 237"/>
                <a:gd name="T11" fmla="*/ 15 h 221"/>
                <a:gd name="T12" fmla="*/ 167 w 237"/>
                <a:gd name="T13" fmla="*/ 25 h 221"/>
                <a:gd name="T14" fmla="*/ 156 w 237"/>
                <a:gd name="T15" fmla="*/ 30 h 221"/>
                <a:gd name="T16" fmla="*/ 151 w 237"/>
                <a:gd name="T17" fmla="*/ 44 h 221"/>
                <a:gd name="T18" fmla="*/ 143 w 237"/>
                <a:gd name="T19" fmla="*/ 47 h 221"/>
                <a:gd name="T20" fmla="*/ 137 w 237"/>
                <a:gd name="T21" fmla="*/ 55 h 221"/>
                <a:gd name="T22" fmla="*/ 128 w 237"/>
                <a:gd name="T23" fmla="*/ 65 h 221"/>
                <a:gd name="T24" fmla="*/ 114 w 237"/>
                <a:gd name="T25" fmla="*/ 65 h 221"/>
                <a:gd name="T26" fmla="*/ 105 w 237"/>
                <a:gd name="T27" fmla="*/ 59 h 221"/>
                <a:gd name="T28" fmla="*/ 96 w 237"/>
                <a:gd name="T29" fmla="*/ 59 h 221"/>
                <a:gd name="T30" fmla="*/ 91 w 237"/>
                <a:gd name="T31" fmla="*/ 66 h 221"/>
                <a:gd name="T32" fmla="*/ 88 w 237"/>
                <a:gd name="T33" fmla="*/ 76 h 221"/>
                <a:gd name="T34" fmla="*/ 80 w 237"/>
                <a:gd name="T35" fmla="*/ 81 h 221"/>
                <a:gd name="T36" fmla="*/ 61 w 237"/>
                <a:gd name="T37" fmla="*/ 76 h 221"/>
                <a:gd name="T38" fmla="*/ 57 w 237"/>
                <a:gd name="T39" fmla="*/ 61 h 221"/>
                <a:gd name="T40" fmla="*/ 52 w 237"/>
                <a:gd name="T41" fmla="*/ 54 h 221"/>
                <a:gd name="T42" fmla="*/ 47 w 237"/>
                <a:gd name="T43" fmla="*/ 110 h 221"/>
                <a:gd name="T44" fmla="*/ 40 w 237"/>
                <a:gd name="T45" fmla="*/ 120 h 221"/>
                <a:gd name="T46" fmla="*/ 20 w 237"/>
                <a:gd name="T47" fmla="*/ 117 h 221"/>
                <a:gd name="T48" fmla="*/ 14 w 237"/>
                <a:gd name="T49" fmla="*/ 105 h 221"/>
                <a:gd name="T50" fmla="*/ 10 w 237"/>
                <a:gd name="T51" fmla="*/ 110 h 221"/>
                <a:gd name="T52" fmla="*/ 0 w 237"/>
                <a:gd name="T53" fmla="*/ 111 h 221"/>
                <a:gd name="T54" fmla="*/ 3 w 237"/>
                <a:gd name="T55" fmla="*/ 118 h 221"/>
                <a:gd name="T56" fmla="*/ 3 w 237"/>
                <a:gd name="T57" fmla="*/ 134 h 221"/>
                <a:gd name="T58" fmla="*/ 13 w 237"/>
                <a:gd name="T59" fmla="*/ 138 h 221"/>
                <a:gd name="T60" fmla="*/ 14 w 237"/>
                <a:gd name="T61" fmla="*/ 157 h 221"/>
                <a:gd name="T62" fmla="*/ 20 w 237"/>
                <a:gd name="T63" fmla="*/ 160 h 221"/>
                <a:gd name="T64" fmla="*/ 20 w 237"/>
                <a:gd name="T65" fmla="*/ 166 h 221"/>
                <a:gd name="T66" fmla="*/ 27 w 237"/>
                <a:gd name="T67" fmla="*/ 166 h 221"/>
                <a:gd name="T68" fmla="*/ 25 w 237"/>
                <a:gd name="T69" fmla="*/ 178 h 221"/>
                <a:gd name="T70" fmla="*/ 17 w 237"/>
                <a:gd name="T71" fmla="*/ 184 h 221"/>
                <a:gd name="T72" fmla="*/ 43 w 237"/>
                <a:gd name="T73" fmla="*/ 218 h 221"/>
                <a:gd name="T74" fmla="*/ 61 w 237"/>
                <a:gd name="T75" fmla="*/ 220 h 221"/>
                <a:gd name="T76" fmla="*/ 70 w 237"/>
                <a:gd name="T77" fmla="*/ 214 h 221"/>
                <a:gd name="T78" fmla="*/ 78 w 237"/>
                <a:gd name="T79" fmla="*/ 203 h 221"/>
                <a:gd name="T80" fmla="*/ 108 w 237"/>
                <a:gd name="T81" fmla="*/ 204 h 221"/>
                <a:gd name="T82" fmla="*/ 111 w 237"/>
                <a:gd name="T83" fmla="*/ 209 h 221"/>
                <a:gd name="T84" fmla="*/ 128 w 237"/>
                <a:gd name="T85" fmla="*/ 202 h 221"/>
                <a:gd name="T86" fmla="*/ 135 w 237"/>
                <a:gd name="T87" fmla="*/ 196 h 221"/>
                <a:gd name="T88" fmla="*/ 156 w 237"/>
                <a:gd name="T89" fmla="*/ 193 h 221"/>
                <a:gd name="T90" fmla="*/ 167 w 237"/>
                <a:gd name="T91" fmla="*/ 186 h 221"/>
                <a:gd name="T92" fmla="*/ 178 w 237"/>
                <a:gd name="T93" fmla="*/ 167 h 221"/>
                <a:gd name="T94" fmla="*/ 190 w 237"/>
                <a:gd name="T95" fmla="*/ 158 h 221"/>
                <a:gd name="T96" fmla="*/ 209 w 237"/>
                <a:gd name="T97" fmla="*/ 142 h 221"/>
                <a:gd name="T98" fmla="*/ 212 w 237"/>
                <a:gd name="T99" fmla="*/ 125 h 221"/>
                <a:gd name="T100" fmla="*/ 217 w 237"/>
                <a:gd name="T101" fmla="*/ 110 h 221"/>
                <a:gd name="T102" fmla="*/ 228 w 237"/>
                <a:gd name="T103" fmla="*/ 109 h 221"/>
                <a:gd name="T104" fmla="*/ 236 w 237"/>
                <a:gd name="T105" fmla="*/ 93 h 221"/>
                <a:gd name="T106" fmla="*/ 224 w 237"/>
                <a:gd name="T107" fmla="*/ 88 h 221"/>
                <a:gd name="T108" fmla="*/ 222 w 237"/>
                <a:gd name="T109" fmla="*/ 76 h 221"/>
                <a:gd name="T110" fmla="*/ 216 w 237"/>
                <a:gd name="T111" fmla="*/ 66 h 221"/>
                <a:gd name="T112" fmla="*/ 217 w 237"/>
                <a:gd name="T113" fmla="*/ 52 h 221"/>
                <a:gd name="T114" fmla="*/ 217 w 237"/>
                <a:gd name="T115" fmla="*/ 34 h 221"/>
                <a:gd name="T116" fmla="*/ 217 w 237"/>
                <a:gd name="T117" fmla="*/ 9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7" h="221">
                  <a:moveTo>
                    <a:pt x="217" y="9"/>
                  </a:moveTo>
                  <a:lnTo>
                    <a:pt x="201" y="9"/>
                  </a:lnTo>
                  <a:lnTo>
                    <a:pt x="197" y="4"/>
                  </a:lnTo>
                  <a:lnTo>
                    <a:pt x="187" y="0"/>
                  </a:lnTo>
                  <a:lnTo>
                    <a:pt x="184" y="8"/>
                  </a:lnTo>
                  <a:lnTo>
                    <a:pt x="175" y="15"/>
                  </a:lnTo>
                  <a:lnTo>
                    <a:pt x="167" y="25"/>
                  </a:lnTo>
                  <a:lnTo>
                    <a:pt x="156" y="30"/>
                  </a:lnTo>
                  <a:lnTo>
                    <a:pt x="151" y="44"/>
                  </a:lnTo>
                  <a:lnTo>
                    <a:pt x="143" y="47"/>
                  </a:lnTo>
                  <a:lnTo>
                    <a:pt x="137" y="55"/>
                  </a:lnTo>
                  <a:lnTo>
                    <a:pt x="128" y="65"/>
                  </a:lnTo>
                  <a:lnTo>
                    <a:pt x="114" y="65"/>
                  </a:lnTo>
                  <a:lnTo>
                    <a:pt x="105" y="59"/>
                  </a:lnTo>
                  <a:lnTo>
                    <a:pt x="96" y="59"/>
                  </a:lnTo>
                  <a:lnTo>
                    <a:pt x="91" y="66"/>
                  </a:lnTo>
                  <a:lnTo>
                    <a:pt x="88" y="76"/>
                  </a:lnTo>
                  <a:lnTo>
                    <a:pt x="80" y="81"/>
                  </a:lnTo>
                  <a:lnTo>
                    <a:pt x="61" y="76"/>
                  </a:lnTo>
                  <a:lnTo>
                    <a:pt x="57" y="61"/>
                  </a:lnTo>
                  <a:lnTo>
                    <a:pt x="52" y="54"/>
                  </a:lnTo>
                  <a:lnTo>
                    <a:pt x="47" y="110"/>
                  </a:lnTo>
                  <a:lnTo>
                    <a:pt x="40" y="120"/>
                  </a:lnTo>
                  <a:lnTo>
                    <a:pt x="20" y="117"/>
                  </a:lnTo>
                  <a:lnTo>
                    <a:pt x="14" y="105"/>
                  </a:lnTo>
                  <a:lnTo>
                    <a:pt x="10" y="110"/>
                  </a:lnTo>
                  <a:lnTo>
                    <a:pt x="0" y="111"/>
                  </a:lnTo>
                  <a:lnTo>
                    <a:pt x="3" y="118"/>
                  </a:lnTo>
                  <a:lnTo>
                    <a:pt x="3" y="134"/>
                  </a:lnTo>
                  <a:lnTo>
                    <a:pt x="13" y="138"/>
                  </a:lnTo>
                  <a:lnTo>
                    <a:pt x="14" y="157"/>
                  </a:lnTo>
                  <a:lnTo>
                    <a:pt x="20" y="160"/>
                  </a:lnTo>
                  <a:lnTo>
                    <a:pt x="20" y="166"/>
                  </a:lnTo>
                  <a:lnTo>
                    <a:pt x="27" y="166"/>
                  </a:lnTo>
                  <a:lnTo>
                    <a:pt x="25" y="178"/>
                  </a:lnTo>
                  <a:lnTo>
                    <a:pt x="17" y="184"/>
                  </a:lnTo>
                  <a:lnTo>
                    <a:pt x="43" y="218"/>
                  </a:lnTo>
                  <a:lnTo>
                    <a:pt x="61" y="220"/>
                  </a:lnTo>
                  <a:lnTo>
                    <a:pt x="70" y="214"/>
                  </a:lnTo>
                  <a:lnTo>
                    <a:pt x="78" y="203"/>
                  </a:lnTo>
                  <a:lnTo>
                    <a:pt x="108" y="204"/>
                  </a:lnTo>
                  <a:lnTo>
                    <a:pt x="111" y="209"/>
                  </a:lnTo>
                  <a:lnTo>
                    <a:pt x="128" y="202"/>
                  </a:lnTo>
                  <a:lnTo>
                    <a:pt x="135" y="196"/>
                  </a:lnTo>
                  <a:lnTo>
                    <a:pt x="156" y="193"/>
                  </a:lnTo>
                  <a:lnTo>
                    <a:pt x="167" y="186"/>
                  </a:lnTo>
                  <a:lnTo>
                    <a:pt x="178" y="167"/>
                  </a:lnTo>
                  <a:lnTo>
                    <a:pt x="190" y="158"/>
                  </a:lnTo>
                  <a:lnTo>
                    <a:pt x="209" y="142"/>
                  </a:lnTo>
                  <a:lnTo>
                    <a:pt x="212" y="125"/>
                  </a:lnTo>
                  <a:lnTo>
                    <a:pt x="217" y="110"/>
                  </a:lnTo>
                  <a:lnTo>
                    <a:pt x="228" y="109"/>
                  </a:lnTo>
                  <a:lnTo>
                    <a:pt x="236" y="93"/>
                  </a:lnTo>
                  <a:lnTo>
                    <a:pt x="224" y="88"/>
                  </a:lnTo>
                  <a:lnTo>
                    <a:pt x="222" y="76"/>
                  </a:lnTo>
                  <a:lnTo>
                    <a:pt x="216" y="66"/>
                  </a:lnTo>
                  <a:lnTo>
                    <a:pt x="217" y="52"/>
                  </a:lnTo>
                  <a:lnTo>
                    <a:pt x="217" y="34"/>
                  </a:lnTo>
                  <a:lnTo>
                    <a:pt x="217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1" name="Freeform 153">
              <a:extLst>
                <a:ext uri="{FF2B5EF4-FFF2-40B4-BE49-F238E27FC236}">
                  <a16:creationId xmlns:a16="http://schemas.microsoft.com/office/drawing/2014/main" xmlns="" id="{A201DD85-53C9-4C05-A853-2F85E1D1E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8851" y="4314885"/>
              <a:ext cx="199723" cy="385295"/>
            </a:xfrm>
            <a:custGeom>
              <a:avLst/>
              <a:gdLst>
                <a:gd name="T0" fmla="*/ 24 w 150"/>
                <a:gd name="T1" fmla="*/ 284 h 289"/>
                <a:gd name="T2" fmla="*/ 15 w 150"/>
                <a:gd name="T3" fmla="*/ 262 h 289"/>
                <a:gd name="T4" fmla="*/ 16 w 150"/>
                <a:gd name="T5" fmla="*/ 229 h 289"/>
                <a:gd name="T6" fmla="*/ 19 w 150"/>
                <a:gd name="T7" fmla="*/ 194 h 289"/>
                <a:gd name="T8" fmla="*/ 26 w 150"/>
                <a:gd name="T9" fmla="*/ 168 h 289"/>
                <a:gd name="T10" fmla="*/ 41 w 150"/>
                <a:gd name="T11" fmla="*/ 155 h 289"/>
                <a:gd name="T12" fmla="*/ 35 w 150"/>
                <a:gd name="T13" fmla="*/ 132 h 289"/>
                <a:gd name="T14" fmla="*/ 32 w 150"/>
                <a:gd name="T15" fmla="*/ 97 h 289"/>
                <a:gd name="T16" fmla="*/ 5 w 150"/>
                <a:gd name="T17" fmla="*/ 82 h 289"/>
                <a:gd name="T18" fmla="*/ 23 w 150"/>
                <a:gd name="T19" fmla="*/ 75 h 289"/>
                <a:gd name="T20" fmla="*/ 38 w 150"/>
                <a:gd name="T21" fmla="*/ 60 h 289"/>
                <a:gd name="T22" fmla="*/ 60 w 150"/>
                <a:gd name="T23" fmla="*/ 68 h 289"/>
                <a:gd name="T24" fmla="*/ 55 w 150"/>
                <a:gd name="T25" fmla="*/ 94 h 289"/>
                <a:gd name="T26" fmla="*/ 71 w 150"/>
                <a:gd name="T27" fmla="*/ 99 h 289"/>
                <a:gd name="T28" fmla="*/ 85 w 150"/>
                <a:gd name="T29" fmla="*/ 81 h 289"/>
                <a:gd name="T30" fmla="*/ 78 w 150"/>
                <a:gd name="T31" fmla="*/ 59 h 289"/>
                <a:gd name="T32" fmla="*/ 69 w 150"/>
                <a:gd name="T33" fmla="*/ 44 h 289"/>
                <a:gd name="T34" fmla="*/ 64 w 150"/>
                <a:gd name="T35" fmla="*/ 26 h 289"/>
                <a:gd name="T36" fmla="*/ 64 w 150"/>
                <a:gd name="T37" fmla="*/ 0 h 289"/>
                <a:gd name="T38" fmla="*/ 80 w 150"/>
                <a:gd name="T39" fmla="*/ 18 h 289"/>
                <a:gd name="T40" fmla="*/ 112 w 150"/>
                <a:gd name="T41" fmla="*/ 11 h 289"/>
                <a:gd name="T42" fmla="*/ 132 w 150"/>
                <a:gd name="T43" fmla="*/ 4 h 289"/>
                <a:gd name="T44" fmla="*/ 149 w 150"/>
                <a:gd name="T45" fmla="*/ 30 h 289"/>
                <a:gd name="T46" fmla="*/ 140 w 150"/>
                <a:gd name="T47" fmla="*/ 93 h 289"/>
                <a:gd name="T48" fmla="*/ 113 w 150"/>
                <a:gd name="T49" fmla="*/ 106 h 289"/>
                <a:gd name="T50" fmla="*/ 101 w 150"/>
                <a:gd name="T51" fmla="*/ 117 h 289"/>
                <a:gd name="T52" fmla="*/ 93 w 150"/>
                <a:gd name="T53" fmla="*/ 139 h 289"/>
                <a:gd name="T54" fmla="*/ 73 w 150"/>
                <a:gd name="T55" fmla="*/ 149 h 289"/>
                <a:gd name="T56" fmla="*/ 68 w 150"/>
                <a:gd name="T57" fmla="*/ 189 h 289"/>
                <a:gd name="T58" fmla="*/ 71 w 150"/>
                <a:gd name="T59" fmla="*/ 220 h 289"/>
                <a:gd name="T60" fmla="*/ 68 w 150"/>
                <a:gd name="T61" fmla="*/ 234 h 289"/>
                <a:gd name="T62" fmla="*/ 56 w 150"/>
                <a:gd name="T63" fmla="*/ 242 h 289"/>
                <a:gd name="T64" fmla="*/ 39 w 150"/>
                <a:gd name="T65" fmla="*/ 248 h 289"/>
                <a:gd name="T66" fmla="*/ 37 w 150"/>
                <a:gd name="T67" fmla="*/ 269 h 289"/>
                <a:gd name="T68" fmla="*/ 36 w 150"/>
                <a:gd name="T69" fmla="*/ 288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289">
                  <a:moveTo>
                    <a:pt x="36" y="288"/>
                  </a:moveTo>
                  <a:lnTo>
                    <a:pt x="24" y="284"/>
                  </a:lnTo>
                  <a:lnTo>
                    <a:pt x="21" y="272"/>
                  </a:lnTo>
                  <a:lnTo>
                    <a:pt x="15" y="262"/>
                  </a:lnTo>
                  <a:lnTo>
                    <a:pt x="16" y="247"/>
                  </a:lnTo>
                  <a:lnTo>
                    <a:pt x="16" y="229"/>
                  </a:lnTo>
                  <a:lnTo>
                    <a:pt x="16" y="205"/>
                  </a:lnTo>
                  <a:lnTo>
                    <a:pt x="19" y="194"/>
                  </a:lnTo>
                  <a:lnTo>
                    <a:pt x="27" y="189"/>
                  </a:lnTo>
                  <a:lnTo>
                    <a:pt x="26" y="168"/>
                  </a:lnTo>
                  <a:lnTo>
                    <a:pt x="36" y="162"/>
                  </a:lnTo>
                  <a:lnTo>
                    <a:pt x="41" y="155"/>
                  </a:lnTo>
                  <a:lnTo>
                    <a:pt x="36" y="142"/>
                  </a:lnTo>
                  <a:lnTo>
                    <a:pt x="35" y="132"/>
                  </a:lnTo>
                  <a:lnTo>
                    <a:pt x="40" y="111"/>
                  </a:lnTo>
                  <a:lnTo>
                    <a:pt x="32" y="97"/>
                  </a:lnTo>
                  <a:lnTo>
                    <a:pt x="12" y="93"/>
                  </a:lnTo>
                  <a:lnTo>
                    <a:pt x="5" y="82"/>
                  </a:lnTo>
                  <a:lnTo>
                    <a:pt x="0" y="81"/>
                  </a:lnTo>
                  <a:lnTo>
                    <a:pt x="23" y="75"/>
                  </a:lnTo>
                  <a:lnTo>
                    <a:pt x="26" y="66"/>
                  </a:lnTo>
                  <a:lnTo>
                    <a:pt x="38" y="60"/>
                  </a:lnTo>
                  <a:lnTo>
                    <a:pt x="49" y="65"/>
                  </a:lnTo>
                  <a:lnTo>
                    <a:pt x="60" y="68"/>
                  </a:lnTo>
                  <a:lnTo>
                    <a:pt x="59" y="80"/>
                  </a:lnTo>
                  <a:lnTo>
                    <a:pt x="55" y="94"/>
                  </a:lnTo>
                  <a:lnTo>
                    <a:pt x="61" y="101"/>
                  </a:lnTo>
                  <a:lnTo>
                    <a:pt x="71" y="99"/>
                  </a:lnTo>
                  <a:lnTo>
                    <a:pt x="75" y="88"/>
                  </a:lnTo>
                  <a:lnTo>
                    <a:pt x="85" y="81"/>
                  </a:lnTo>
                  <a:lnTo>
                    <a:pt x="82" y="68"/>
                  </a:lnTo>
                  <a:lnTo>
                    <a:pt x="78" y="59"/>
                  </a:lnTo>
                  <a:lnTo>
                    <a:pt x="72" y="49"/>
                  </a:lnTo>
                  <a:lnTo>
                    <a:pt x="69" y="44"/>
                  </a:lnTo>
                  <a:lnTo>
                    <a:pt x="63" y="37"/>
                  </a:lnTo>
                  <a:lnTo>
                    <a:pt x="64" y="26"/>
                  </a:lnTo>
                  <a:lnTo>
                    <a:pt x="67" y="14"/>
                  </a:lnTo>
                  <a:lnTo>
                    <a:pt x="64" y="0"/>
                  </a:lnTo>
                  <a:lnTo>
                    <a:pt x="77" y="9"/>
                  </a:lnTo>
                  <a:lnTo>
                    <a:pt x="80" y="18"/>
                  </a:lnTo>
                  <a:lnTo>
                    <a:pt x="109" y="20"/>
                  </a:lnTo>
                  <a:lnTo>
                    <a:pt x="112" y="11"/>
                  </a:lnTo>
                  <a:lnTo>
                    <a:pt x="129" y="11"/>
                  </a:lnTo>
                  <a:lnTo>
                    <a:pt x="132" y="4"/>
                  </a:lnTo>
                  <a:lnTo>
                    <a:pt x="149" y="0"/>
                  </a:lnTo>
                  <a:lnTo>
                    <a:pt x="149" y="30"/>
                  </a:lnTo>
                  <a:lnTo>
                    <a:pt x="149" y="83"/>
                  </a:lnTo>
                  <a:lnTo>
                    <a:pt x="140" y="93"/>
                  </a:lnTo>
                  <a:lnTo>
                    <a:pt x="136" y="103"/>
                  </a:lnTo>
                  <a:lnTo>
                    <a:pt x="113" y="106"/>
                  </a:lnTo>
                  <a:lnTo>
                    <a:pt x="111" y="114"/>
                  </a:lnTo>
                  <a:lnTo>
                    <a:pt x="101" y="117"/>
                  </a:lnTo>
                  <a:lnTo>
                    <a:pt x="97" y="121"/>
                  </a:lnTo>
                  <a:lnTo>
                    <a:pt x="93" y="139"/>
                  </a:lnTo>
                  <a:lnTo>
                    <a:pt x="81" y="143"/>
                  </a:lnTo>
                  <a:lnTo>
                    <a:pt x="73" y="149"/>
                  </a:lnTo>
                  <a:lnTo>
                    <a:pt x="69" y="157"/>
                  </a:lnTo>
                  <a:lnTo>
                    <a:pt x="68" y="189"/>
                  </a:lnTo>
                  <a:lnTo>
                    <a:pt x="71" y="190"/>
                  </a:lnTo>
                  <a:lnTo>
                    <a:pt x="71" y="220"/>
                  </a:lnTo>
                  <a:lnTo>
                    <a:pt x="73" y="233"/>
                  </a:lnTo>
                  <a:lnTo>
                    <a:pt x="68" y="234"/>
                  </a:lnTo>
                  <a:lnTo>
                    <a:pt x="67" y="242"/>
                  </a:lnTo>
                  <a:lnTo>
                    <a:pt x="56" y="242"/>
                  </a:lnTo>
                  <a:lnTo>
                    <a:pt x="52" y="246"/>
                  </a:lnTo>
                  <a:lnTo>
                    <a:pt x="39" y="248"/>
                  </a:lnTo>
                  <a:lnTo>
                    <a:pt x="37" y="259"/>
                  </a:lnTo>
                  <a:lnTo>
                    <a:pt x="37" y="269"/>
                  </a:lnTo>
                  <a:lnTo>
                    <a:pt x="37" y="280"/>
                  </a:lnTo>
                  <a:lnTo>
                    <a:pt x="36" y="28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2" name="Freeform 154">
              <a:extLst>
                <a:ext uri="{FF2B5EF4-FFF2-40B4-BE49-F238E27FC236}">
                  <a16:creationId xmlns:a16="http://schemas.microsoft.com/office/drawing/2014/main" xmlns="" id="{EE7DAB6A-7C00-4516-995F-634C8B12C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143" y="4723964"/>
              <a:ext cx="49931" cy="51135"/>
            </a:xfrm>
            <a:custGeom>
              <a:avLst/>
              <a:gdLst>
                <a:gd name="T0" fmla="*/ 12 w 38"/>
                <a:gd name="T1" fmla="*/ 2 h 38"/>
                <a:gd name="T2" fmla="*/ 9 w 38"/>
                <a:gd name="T3" fmla="*/ 9 h 38"/>
                <a:gd name="T4" fmla="*/ 0 w 38"/>
                <a:gd name="T5" fmla="*/ 11 h 38"/>
                <a:gd name="T6" fmla="*/ 1 w 38"/>
                <a:gd name="T7" fmla="*/ 34 h 38"/>
                <a:gd name="T8" fmla="*/ 13 w 38"/>
                <a:gd name="T9" fmla="*/ 33 h 38"/>
                <a:gd name="T10" fmla="*/ 16 w 38"/>
                <a:gd name="T11" fmla="*/ 37 h 38"/>
                <a:gd name="T12" fmla="*/ 23 w 38"/>
                <a:gd name="T13" fmla="*/ 36 h 38"/>
                <a:gd name="T14" fmla="*/ 28 w 38"/>
                <a:gd name="T15" fmla="*/ 30 h 38"/>
                <a:gd name="T16" fmla="*/ 31 w 38"/>
                <a:gd name="T17" fmla="*/ 22 h 38"/>
                <a:gd name="T18" fmla="*/ 37 w 38"/>
                <a:gd name="T19" fmla="*/ 22 h 38"/>
                <a:gd name="T20" fmla="*/ 37 w 38"/>
                <a:gd name="T21" fmla="*/ 1 h 38"/>
                <a:gd name="T22" fmla="*/ 23 w 38"/>
                <a:gd name="T23" fmla="*/ 0 h 38"/>
                <a:gd name="T24" fmla="*/ 12 w 38"/>
                <a:gd name="T25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38">
                  <a:moveTo>
                    <a:pt x="12" y="2"/>
                  </a:moveTo>
                  <a:lnTo>
                    <a:pt x="9" y="9"/>
                  </a:lnTo>
                  <a:lnTo>
                    <a:pt x="0" y="11"/>
                  </a:lnTo>
                  <a:lnTo>
                    <a:pt x="1" y="34"/>
                  </a:lnTo>
                  <a:lnTo>
                    <a:pt x="13" y="33"/>
                  </a:lnTo>
                  <a:lnTo>
                    <a:pt x="16" y="37"/>
                  </a:lnTo>
                  <a:lnTo>
                    <a:pt x="23" y="36"/>
                  </a:lnTo>
                  <a:lnTo>
                    <a:pt x="28" y="30"/>
                  </a:lnTo>
                  <a:lnTo>
                    <a:pt x="31" y="22"/>
                  </a:lnTo>
                  <a:lnTo>
                    <a:pt x="37" y="22"/>
                  </a:lnTo>
                  <a:lnTo>
                    <a:pt x="37" y="1"/>
                  </a:lnTo>
                  <a:lnTo>
                    <a:pt x="23" y="0"/>
                  </a:lnTo>
                  <a:lnTo>
                    <a:pt x="12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3" name="Freeform 155">
              <a:extLst>
                <a:ext uri="{FF2B5EF4-FFF2-40B4-BE49-F238E27FC236}">
                  <a16:creationId xmlns:a16="http://schemas.microsoft.com/office/drawing/2014/main" xmlns="" id="{E856C15A-B25E-4B7E-8BFF-F9A05EFA0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415" y="4247102"/>
              <a:ext cx="231821" cy="230701"/>
            </a:xfrm>
            <a:custGeom>
              <a:avLst/>
              <a:gdLst>
                <a:gd name="T0" fmla="*/ 59 w 174"/>
                <a:gd name="T1" fmla="*/ 172 h 173"/>
                <a:gd name="T2" fmla="*/ 68 w 174"/>
                <a:gd name="T3" fmla="*/ 169 h 173"/>
                <a:gd name="T4" fmla="*/ 81 w 174"/>
                <a:gd name="T5" fmla="*/ 169 h 173"/>
                <a:gd name="T6" fmla="*/ 89 w 174"/>
                <a:gd name="T7" fmla="*/ 166 h 173"/>
                <a:gd name="T8" fmla="*/ 92 w 174"/>
                <a:gd name="T9" fmla="*/ 156 h 173"/>
                <a:gd name="T10" fmla="*/ 99 w 174"/>
                <a:gd name="T11" fmla="*/ 153 h 173"/>
                <a:gd name="T12" fmla="*/ 104 w 174"/>
                <a:gd name="T13" fmla="*/ 150 h 173"/>
                <a:gd name="T14" fmla="*/ 106 w 174"/>
                <a:gd name="T15" fmla="*/ 140 h 173"/>
                <a:gd name="T16" fmla="*/ 119 w 174"/>
                <a:gd name="T17" fmla="*/ 137 h 173"/>
                <a:gd name="T18" fmla="*/ 125 w 174"/>
                <a:gd name="T19" fmla="*/ 130 h 173"/>
                <a:gd name="T20" fmla="*/ 148 w 174"/>
                <a:gd name="T21" fmla="*/ 125 h 173"/>
                <a:gd name="T22" fmla="*/ 151 w 174"/>
                <a:gd name="T23" fmla="*/ 116 h 173"/>
                <a:gd name="T24" fmla="*/ 163 w 174"/>
                <a:gd name="T25" fmla="*/ 110 h 173"/>
                <a:gd name="T26" fmla="*/ 165 w 174"/>
                <a:gd name="T27" fmla="*/ 83 h 173"/>
                <a:gd name="T28" fmla="*/ 173 w 174"/>
                <a:gd name="T29" fmla="*/ 76 h 173"/>
                <a:gd name="T30" fmla="*/ 170 w 174"/>
                <a:gd name="T31" fmla="*/ 59 h 173"/>
                <a:gd name="T32" fmla="*/ 170 w 174"/>
                <a:gd name="T33" fmla="*/ 39 h 173"/>
                <a:gd name="T34" fmla="*/ 162 w 174"/>
                <a:gd name="T35" fmla="*/ 25 h 173"/>
                <a:gd name="T36" fmla="*/ 148 w 174"/>
                <a:gd name="T37" fmla="*/ 19 h 173"/>
                <a:gd name="T38" fmla="*/ 139 w 174"/>
                <a:gd name="T39" fmla="*/ 8 h 173"/>
                <a:gd name="T40" fmla="*/ 137 w 174"/>
                <a:gd name="T41" fmla="*/ 0 h 173"/>
                <a:gd name="T42" fmla="*/ 126 w 174"/>
                <a:gd name="T43" fmla="*/ 1 h 173"/>
                <a:gd name="T44" fmla="*/ 123 w 174"/>
                <a:gd name="T45" fmla="*/ 10 h 173"/>
                <a:gd name="T46" fmla="*/ 112 w 174"/>
                <a:gd name="T47" fmla="*/ 14 h 173"/>
                <a:gd name="T48" fmla="*/ 107 w 174"/>
                <a:gd name="T49" fmla="*/ 25 h 173"/>
                <a:gd name="T50" fmla="*/ 103 w 174"/>
                <a:gd name="T51" fmla="*/ 69 h 173"/>
                <a:gd name="T52" fmla="*/ 109 w 174"/>
                <a:gd name="T53" fmla="*/ 75 h 173"/>
                <a:gd name="T54" fmla="*/ 119 w 174"/>
                <a:gd name="T55" fmla="*/ 75 h 173"/>
                <a:gd name="T56" fmla="*/ 122 w 174"/>
                <a:gd name="T57" fmla="*/ 93 h 173"/>
                <a:gd name="T58" fmla="*/ 118 w 174"/>
                <a:gd name="T59" fmla="*/ 103 h 173"/>
                <a:gd name="T60" fmla="*/ 102 w 174"/>
                <a:gd name="T61" fmla="*/ 103 h 173"/>
                <a:gd name="T62" fmla="*/ 96 w 174"/>
                <a:gd name="T63" fmla="*/ 96 h 173"/>
                <a:gd name="T64" fmla="*/ 92 w 174"/>
                <a:gd name="T65" fmla="*/ 80 h 173"/>
                <a:gd name="T66" fmla="*/ 81 w 174"/>
                <a:gd name="T67" fmla="*/ 74 h 173"/>
                <a:gd name="T68" fmla="*/ 80 w 174"/>
                <a:gd name="T69" fmla="*/ 69 h 173"/>
                <a:gd name="T70" fmla="*/ 68 w 174"/>
                <a:gd name="T71" fmla="*/ 70 h 173"/>
                <a:gd name="T72" fmla="*/ 64 w 174"/>
                <a:gd name="T73" fmla="*/ 80 h 173"/>
                <a:gd name="T74" fmla="*/ 57 w 174"/>
                <a:gd name="T75" fmla="*/ 77 h 173"/>
                <a:gd name="T76" fmla="*/ 53 w 174"/>
                <a:gd name="T77" fmla="*/ 62 h 173"/>
                <a:gd name="T78" fmla="*/ 37 w 174"/>
                <a:gd name="T79" fmla="*/ 60 h 173"/>
                <a:gd name="T80" fmla="*/ 35 w 174"/>
                <a:gd name="T81" fmla="*/ 94 h 173"/>
                <a:gd name="T82" fmla="*/ 22 w 174"/>
                <a:gd name="T83" fmla="*/ 94 h 173"/>
                <a:gd name="T84" fmla="*/ 17 w 174"/>
                <a:gd name="T85" fmla="*/ 85 h 173"/>
                <a:gd name="T86" fmla="*/ 11 w 174"/>
                <a:gd name="T87" fmla="*/ 86 h 173"/>
                <a:gd name="T88" fmla="*/ 11 w 174"/>
                <a:gd name="T89" fmla="*/ 94 h 173"/>
                <a:gd name="T90" fmla="*/ 1 w 174"/>
                <a:gd name="T91" fmla="*/ 95 h 173"/>
                <a:gd name="T92" fmla="*/ 0 w 174"/>
                <a:gd name="T93" fmla="*/ 134 h 173"/>
                <a:gd name="T94" fmla="*/ 2 w 174"/>
                <a:gd name="T95" fmla="*/ 146 h 173"/>
                <a:gd name="T96" fmla="*/ 14 w 174"/>
                <a:gd name="T97" fmla="*/ 160 h 173"/>
                <a:gd name="T98" fmla="*/ 14 w 174"/>
                <a:gd name="T99" fmla="*/ 168 h 173"/>
                <a:gd name="T100" fmla="*/ 21 w 174"/>
                <a:gd name="T101" fmla="*/ 170 h 173"/>
                <a:gd name="T102" fmla="*/ 59 w 174"/>
                <a:gd name="T103" fmla="*/ 17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" h="173">
                  <a:moveTo>
                    <a:pt x="59" y="172"/>
                  </a:moveTo>
                  <a:lnTo>
                    <a:pt x="68" y="169"/>
                  </a:lnTo>
                  <a:lnTo>
                    <a:pt x="81" y="169"/>
                  </a:lnTo>
                  <a:lnTo>
                    <a:pt x="89" y="166"/>
                  </a:lnTo>
                  <a:lnTo>
                    <a:pt x="92" y="156"/>
                  </a:lnTo>
                  <a:lnTo>
                    <a:pt x="99" y="153"/>
                  </a:lnTo>
                  <a:lnTo>
                    <a:pt x="104" y="150"/>
                  </a:lnTo>
                  <a:lnTo>
                    <a:pt x="106" y="140"/>
                  </a:lnTo>
                  <a:lnTo>
                    <a:pt x="119" y="137"/>
                  </a:lnTo>
                  <a:lnTo>
                    <a:pt x="125" y="130"/>
                  </a:lnTo>
                  <a:lnTo>
                    <a:pt x="148" y="125"/>
                  </a:lnTo>
                  <a:lnTo>
                    <a:pt x="151" y="116"/>
                  </a:lnTo>
                  <a:lnTo>
                    <a:pt x="163" y="110"/>
                  </a:lnTo>
                  <a:lnTo>
                    <a:pt x="165" y="83"/>
                  </a:lnTo>
                  <a:lnTo>
                    <a:pt x="173" y="76"/>
                  </a:lnTo>
                  <a:lnTo>
                    <a:pt x="170" y="59"/>
                  </a:lnTo>
                  <a:lnTo>
                    <a:pt x="170" y="39"/>
                  </a:lnTo>
                  <a:lnTo>
                    <a:pt x="162" y="25"/>
                  </a:lnTo>
                  <a:lnTo>
                    <a:pt x="148" y="19"/>
                  </a:lnTo>
                  <a:lnTo>
                    <a:pt x="139" y="8"/>
                  </a:lnTo>
                  <a:lnTo>
                    <a:pt x="137" y="0"/>
                  </a:lnTo>
                  <a:lnTo>
                    <a:pt x="126" y="1"/>
                  </a:lnTo>
                  <a:lnTo>
                    <a:pt x="123" y="10"/>
                  </a:lnTo>
                  <a:lnTo>
                    <a:pt x="112" y="14"/>
                  </a:lnTo>
                  <a:lnTo>
                    <a:pt x="107" y="25"/>
                  </a:lnTo>
                  <a:lnTo>
                    <a:pt x="103" y="69"/>
                  </a:lnTo>
                  <a:lnTo>
                    <a:pt x="109" y="75"/>
                  </a:lnTo>
                  <a:lnTo>
                    <a:pt x="119" y="75"/>
                  </a:lnTo>
                  <a:lnTo>
                    <a:pt x="122" y="93"/>
                  </a:lnTo>
                  <a:lnTo>
                    <a:pt x="118" y="103"/>
                  </a:lnTo>
                  <a:lnTo>
                    <a:pt x="102" y="103"/>
                  </a:lnTo>
                  <a:lnTo>
                    <a:pt x="96" y="96"/>
                  </a:lnTo>
                  <a:lnTo>
                    <a:pt x="92" y="80"/>
                  </a:lnTo>
                  <a:lnTo>
                    <a:pt x="81" y="74"/>
                  </a:lnTo>
                  <a:lnTo>
                    <a:pt x="80" y="69"/>
                  </a:lnTo>
                  <a:lnTo>
                    <a:pt x="68" y="70"/>
                  </a:lnTo>
                  <a:lnTo>
                    <a:pt x="64" y="80"/>
                  </a:lnTo>
                  <a:lnTo>
                    <a:pt x="57" y="77"/>
                  </a:lnTo>
                  <a:lnTo>
                    <a:pt x="53" y="62"/>
                  </a:lnTo>
                  <a:lnTo>
                    <a:pt x="37" y="60"/>
                  </a:lnTo>
                  <a:lnTo>
                    <a:pt x="35" y="94"/>
                  </a:lnTo>
                  <a:lnTo>
                    <a:pt x="22" y="94"/>
                  </a:lnTo>
                  <a:lnTo>
                    <a:pt x="17" y="85"/>
                  </a:lnTo>
                  <a:lnTo>
                    <a:pt x="11" y="86"/>
                  </a:lnTo>
                  <a:lnTo>
                    <a:pt x="11" y="94"/>
                  </a:lnTo>
                  <a:lnTo>
                    <a:pt x="1" y="95"/>
                  </a:lnTo>
                  <a:lnTo>
                    <a:pt x="0" y="134"/>
                  </a:lnTo>
                  <a:lnTo>
                    <a:pt x="2" y="146"/>
                  </a:lnTo>
                  <a:lnTo>
                    <a:pt x="14" y="160"/>
                  </a:lnTo>
                  <a:lnTo>
                    <a:pt x="14" y="168"/>
                  </a:lnTo>
                  <a:lnTo>
                    <a:pt x="21" y="170"/>
                  </a:lnTo>
                  <a:lnTo>
                    <a:pt x="59" y="17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4" name="Freeform 156">
              <a:extLst>
                <a:ext uri="{FF2B5EF4-FFF2-40B4-BE49-F238E27FC236}">
                  <a16:creationId xmlns:a16="http://schemas.microsoft.com/office/drawing/2014/main" xmlns="" id="{7422FDEA-EA7D-41E5-90FB-F0096A396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415" y="2636949"/>
              <a:ext cx="92728" cy="41621"/>
            </a:xfrm>
            <a:custGeom>
              <a:avLst/>
              <a:gdLst>
                <a:gd name="T0" fmla="*/ 69 w 70"/>
                <a:gd name="T1" fmla="*/ 30 h 31"/>
                <a:gd name="T2" fmla="*/ 41 w 70"/>
                <a:gd name="T3" fmla="*/ 29 h 31"/>
                <a:gd name="T4" fmla="*/ 27 w 70"/>
                <a:gd name="T5" fmla="*/ 18 h 31"/>
                <a:gd name="T6" fmla="*/ 0 w 70"/>
                <a:gd name="T7" fmla="*/ 19 h 31"/>
                <a:gd name="T8" fmla="*/ 11 w 70"/>
                <a:gd name="T9" fmla="*/ 10 h 31"/>
                <a:gd name="T10" fmla="*/ 30 w 70"/>
                <a:gd name="T11" fmla="*/ 0 h 31"/>
                <a:gd name="T12" fmla="*/ 53 w 70"/>
                <a:gd name="T13" fmla="*/ 8 h 31"/>
                <a:gd name="T14" fmla="*/ 69 w 70"/>
                <a:gd name="T1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31">
                  <a:moveTo>
                    <a:pt x="69" y="30"/>
                  </a:moveTo>
                  <a:lnTo>
                    <a:pt x="41" y="29"/>
                  </a:lnTo>
                  <a:lnTo>
                    <a:pt x="27" y="18"/>
                  </a:lnTo>
                  <a:lnTo>
                    <a:pt x="0" y="19"/>
                  </a:lnTo>
                  <a:lnTo>
                    <a:pt x="11" y="10"/>
                  </a:lnTo>
                  <a:lnTo>
                    <a:pt x="30" y="0"/>
                  </a:lnTo>
                  <a:lnTo>
                    <a:pt x="53" y="8"/>
                  </a:lnTo>
                  <a:lnTo>
                    <a:pt x="69" y="3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5" name="Freeform 157">
              <a:extLst>
                <a:ext uri="{FF2B5EF4-FFF2-40B4-BE49-F238E27FC236}">
                  <a16:creationId xmlns:a16="http://schemas.microsoft.com/office/drawing/2014/main" xmlns="" id="{1EEB7A03-994E-4004-BC28-99DA31B3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462" y="3091217"/>
              <a:ext cx="74896" cy="104648"/>
            </a:xfrm>
            <a:custGeom>
              <a:avLst/>
              <a:gdLst>
                <a:gd name="T0" fmla="*/ 55 w 56"/>
                <a:gd name="T1" fmla="*/ 69 h 78"/>
                <a:gd name="T2" fmla="*/ 44 w 56"/>
                <a:gd name="T3" fmla="*/ 77 h 78"/>
                <a:gd name="T4" fmla="*/ 37 w 56"/>
                <a:gd name="T5" fmla="*/ 65 h 78"/>
                <a:gd name="T6" fmla="*/ 24 w 56"/>
                <a:gd name="T7" fmla="*/ 58 h 78"/>
                <a:gd name="T8" fmla="*/ 13 w 56"/>
                <a:gd name="T9" fmla="*/ 46 h 78"/>
                <a:gd name="T10" fmla="*/ 0 w 56"/>
                <a:gd name="T11" fmla="*/ 25 h 78"/>
                <a:gd name="T12" fmla="*/ 16 w 56"/>
                <a:gd name="T13" fmla="*/ 18 h 78"/>
                <a:gd name="T14" fmla="*/ 25 w 56"/>
                <a:gd name="T15" fmla="*/ 0 h 78"/>
                <a:gd name="T16" fmla="*/ 31 w 56"/>
                <a:gd name="T17" fmla="*/ 21 h 78"/>
                <a:gd name="T18" fmla="*/ 42 w 56"/>
                <a:gd name="T19" fmla="*/ 43 h 78"/>
                <a:gd name="T20" fmla="*/ 55 w 56"/>
                <a:gd name="T21" fmla="*/ 6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78">
                  <a:moveTo>
                    <a:pt x="55" y="69"/>
                  </a:moveTo>
                  <a:lnTo>
                    <a:pt x="44" y="77"/>
                  </a:lnTo>
                  <a:lnTo>
                    <a:pt x="37" y="65"/>
                  </a:lnTo>
                  <a:lnTo>
                    <a:pt x="24" y="58"/>
                  </a:lnTo>
                  <a:lnTo>
                    <a:pt x="13" y="46"/>
                  </a:lnTo>
                  <a:lnTo>
                    <a:pt x="0" y="25"/>
                  </a:lnTo>
                  <a:lnTo>
                    <a:pt x="16" y="18"/>
                  </a:lnTo>
                  <a:lnTo>
                    <a:pt x="25" y="0"/>
                  </a:lnTo>
                  <a:lnTo>
                    <a:pt x="31" y="21"/>
                  </a:lnTo>
                  <a:lnTo>
                    <a:pt x="42" y="43"/>
                  </a:lnTo>
                  <a:lnTo>
                    <a:pt x="55" y="6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6" name="Freeform 158">
              <a:extLst>
                <a:ext uri="{FF2B5EF4-FFF2-40B4-BE49-F238E27FC236}">
                  <a16:creationId xmlns:a16="http://schemas.microsoft.com/office/drawing/2014/main" xmlns="" id="{8BBC046A-BEFB-4253-ABF6-B3C7AA28C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9128" y="2660733"/>
              <a:ext cx="158114" cy="74918"/>
            </a:xfrm>
            <a:custGeom>
              <a:avLst/>
              <a:gdLst>
                <a:gd name="T0" fmla="*/ 86 w 119"/>
                <a:gd name="T1" fmla="*/ 55 h 56"/>
                <a:gd name="T2" fmla="*/ 85 w 119"/>
                <a:gd name="T3" fmla="*/ 45 h 56"/>
                <a:gd name="T4" fmla="*/ 56 w 119"/>
                <a:gd name="T5" fmla="*/ 33 h 56"/>
                <a:gd name="T6" fmla="*/ 26 w 119"/>
                <a:gd name="T7" fmla="*/ 51 h 56"/>
                <a:gd name="T8" fmla="*/ 2 w 119"/>
                <a:gd name="T9" fmla="*/ 52 h 56"/>
                <a:gd name="T10" fmla="*/ 0 w 119"/>
                <a:gd name="T11" fmla="*/ 27 h 56"/>
                <a:gd name="T12" fmla="*/ 10 w 119"/>
                <a:gd name="T13" fmla="*/ 17 h 56"/>
                <a:gd name="T14" fmla="*/ 21 w 119"/>
                <a:gd name="T15" fmla="*/ 33 h 56"/>
                <a:gd name="T16" fmla="*/ 37 w 119"/>
                <a:gd name="T17" fmla="*/ 33 h 56"/>
                <a:gd name="T18" fmla="*/ 40 w 119"/>
                <a:gd name="T19" fmla="*/ 19 h 56"/>
                <a:gd name="T20" fmla="*/ 29 w 119"/>
                <a:gd name="T21" fmla="*/ 14 h 56"/>
                <a:gd name="T22" fmla="*/ 25 w 119"/>
                <a:gd name="T23" fmla="*/ 2 h 56"/>
                <a:gd name="T24" fmla="*/ 52 w 119"/>
                <a:gd name="T25" fmla="*/ 0 h 56"/>
                <a:gd name="T26" fmla="*/ 67 w 119"/>
                <a:gd name="T27" fmla="*/ 12 h 56"/>
                <a:gd name="T28" fmla="*/ 95 w 119"/>
                <a:gd name="T29" fmla="*/ 13 h 56"/>
                <a:gd name="T30" fmla="*/ 118 w 119"/>
                <a:gd name="T31" fmla="*/ 33 h 56"/>
                <a:gd name="T32" fmla="*/ 107 w 119"/>
                <a:gd name="T33" fmla="*/ 41 h 56"/>
                <a:gd name="T34" fmla="*/ 92 w 119"/>
                <a:gd name="T35" fmla="*/ 36 h 56"/>
                <a:gd name="T36" fmla="*/ 86 w 119"/>
                <a:gd name="T37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9" h="56">
                  <a:moveTo>
                    <a:pt x="86" y="55"/>
                  </a:moveTo>
                  <a:lnTo>
                    <a:pt x="85" y="45"/>
                  </a:lnTo>
                  <a:lnTo>
                    <a:pt x="56" y="33"/>
                  </a:lnTo>
                  <a:lnTo>
                    <a:pt x="26" y="51"/>
                  </a:lnTo>
                  <a:lnTo>
                    <a:pt x="2" y="52"/>
                  </a:lnTo>
                  <a:lnTo>
                    <a:pt x="0" y="27"/>
                  </a:lnTo>
                  <a:lnTo>
                    <a:pt x="10" y="17"/>
                  </a:lnTo>
                  <a:lnTo>
                    <a:pt x="21" y="33"/>
                  </a:lnTo>
                  <a:lnTo>
                    <a:pt x="37" y="33"/>
                  </a:lnTo>
                  <a:lnTo>
                    <a:pt x="40" y="19"/>
                  </a:lnTo>
                  <a:lnTo>
                    <a:pt x="29" y="14"/>
                  </a:lnTo>
                  <a:lnTo>
                    <a:pt x="25" y="2"/>
                  </a:lnTo>
                  <a:lnTo>
                    <a:pt x="52" y="0"/>
                  </a:lnTo>
                  <a:lnTo>
                    <a:pt x="67" y="12"/>
                  </a:lnTo>
                  <a:lnTo>
                    <a:pt x="95" y="13"/>
                  </a:lnTo>
                  <a:lnTo>
                    <a:pt x="118" y="33"/>
                  </a:lnTo>
                  <a:lnTo>
                    <a:pt x="107" y="41"/>
                  </a:lnTo>
                  <a:lnTo>
                    <a:pt x="92" y="36"/>
                  </a:lnTo>
                  <a:lnTo>
                    <a:pt x="86" y="5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7" name="Freeform 159">
              <a:extLst>
                <a:ext uri="{FF2B5EF4-FFF2-40B4-BE49-F238E27FC236}">
                  <a16:creationId xmlns:a16="http://schemas.microsoft.com/office/drawing/2014/main" xmlns="" id="{D36A6991-E4C1-4F7A-A815-A25CE75A5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1651" y="3815429"/>
              <a:ext cx="42798" cy="42811"/>
            </a:xfrm>
            <a:custGeom>
              <a:avLst/>
              <a:gdLst>
                <a:gd name="T0" fmla="*/ 16 w 32"/>
                <a:gd name="T1" fmla="*/ 30 h 31"/>
                <a:gd name="T2" fmla="*/ 0 w 32"/>
                <a:gd name="T3" fmla="*/ 27 h 31"/>
                <a:gd name="T4" fmla="*/ 3 w 32"/>
                <a:gd name="T5" fmla="*/ 0 h 31"/>
                <a:gd name="T6" fmla="*/ 31 w 32"/>
                <a:gd name="T7" fmla="*/ 17 h 31"/>
                <a:gd name="T8" fmla="*/ 16 w 32"/>
                <a:gd name="T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1">
                  <a:moveTo>
                    <a:pt x="16" y="30"/>
                  </a:moveTo>
                  <a:lnTo>
                    <a:pt x="0" y="27"/>
                  </a:lnTo>
                  <a:lnTo>
                    <a:pt x="3" y="0"/>
                  </a:lnTo>
                  <a:lnTo>
                    <a:pt x="31" y="17"/>
                  </a:lnTo>
                  <a:lnTo>
                    <a:pt x="16" y="3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8" name="Freeform 160">
              <a:extLst>
                <a:ext uri="{FF2B5EF4-FFF2-40B4-BE49-F238E27FC236}">
                  <a16:creationId xmlns:a16="http://schemas.microsoft.com/office/drawing/2014/main" xmlns="" id="{484CB25B-183E-4CDA-8038-CD237B26F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025" y="3810672"/>
              <a:ext cx="64197" cy="139134"/>
            </a:xfrm>
            <a:custGeom>
              <a:avLst/>
              <a:gdLst>
                <a:gd name="T0" fmla="*/ 0 w 48"/>
                <a:gd name="T1" fmla="*/ 36 h 104"/>
                <a:gd name="T2" fmla="*/ 7 w 48"/>
                <a:gd name="T3" fmla="*/ 46 h 104"/>
                <a:gd name="T4" fmla="*/ 10 w 48"/>
                <a:gd name="T5" fmla="*/ 66 h 104"/>
                <a:gd name="T6" fmla="*/ 11 w 48"/>
                <a:gd name="T7" fmla="*/ 84 h 104"/>
                <a:gd name="T8" fmla="*/ 16 w 48"/>
                <a:gd name="T9" fmla="*/ 103 h 104"/>
                <a:gd name="T10" fmla="*/ 34 w 48"/>
                <a:gd name="T11" fmla="*/ 95 h 104"/>
                <a:gd name="T12" fmla="*/ 31 w 48"/>
                <a:gd name="T13" fmla="*/ 62 h 104"/>
                <a:gd name="T14" fmla="*/ 39 w 48"/>
                <a:gd name="T15" fmla="*/ 51 h 104"/>
                <a:gd name="T16" fmla="*/ 47 w 48"/>
                <a:gd name="T17" fmla="*/ 19 h 104"/>
                <a:gd name="T18" fmla="*/ 44 w 48"/>
                <a:gd name="T19" fmla="*/ 0 h 104"/>
                <a:gd name="T20" fmla="*/ 31 w 48"/>
                <a:gd name="T21" fmla="*/ 1 h 104"/>
                <a:gd name="T22" fmla="*/ 27 w 48"/>
                <a:gd name="T23" fmla="*/ 16 h 104"/>
                <a:gd name="T24" fmla="*/ 11 w 48"/>
                <a:gd name="T25" fmla="*/ 21 h 104"/>
                <a:gd name="T26" fmla="*/ 0 w 48"/>
                <a:gd name="T27" fmla="*/ 3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04">
                  <a:moveTo>
                    <a:pt x="0" y="36"/>
                  </a:moveTo>
                  <a:lnTo>
                    <a:pt x="7" y="46"/>
                  </a:lnTo>
                  <a:lnTo>
                    <a:pt x="10" y="66"/>
                  </a:lnTo>
                  <a:lnTo>
                    <a:pt x="11" y="84"/>
                  </a:lnTo>
                  <a:lnTo>
                    <a:pt x="16" y="103"/>
                  </a:lnTo>
                  <a:lnTo>
                    <a:pt x="34" y="95"/>
                  </a:lnTo>
                  <a:lnTo>
                    <a:pt x="31" y="62"/>
                  </a:lnTo>
                  <a:lnTo>
                    <a:pt x="39" y="51"/>
                  </a:lnTo>
                  <a:lnTo>
                    <a:pt x="47" y="19"/>
                  </a:lnTo>
                  <a:lnTo>
                    <a:pt x="44" y="0"/>
                  </a:lnTo>
                  <a:lnTo>
                    <a:pt x="31" y="1"/>
                  </a:lnTo>
                  <a:lnTo>
                    <a:pt x="27" y="16"/>
                  </a:lnTo>
                  <a:lnTo>
                    <a:pt x="11" y="21"/>
                  </a:lnTo>
                  <a:lnTo>
                    <a:pt x="0" y="3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9" name="Freeform 161">
              <a:extLst>
                <a:ext uri="{FF2B5EF4-FFF2-40B4-BE49-F238E27FC236}">
                  <a16:creationId xmlns:a16="http://schemas.microsoft.com/office/drawing/2014/main" xmlns="" id="{54A8DD25-F496-4AB9-B357-252A85B83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6672" y="3866564"/>
              <a:ext cx="66574" cy="71351"/>
            </a:xfrm>
            <a:custGeom>
              <a:avLst/>
              <a:gdLst>
                <a:gd name="T0" fmla="*/ 48 w 49"/>
                <a:gd name="T1" fmla="*/ 26 h 53"/>
                <a:gd name="T2" fmla="*/ 44 w 49"/>
                <a:gd name="T3" fmla="*/ 9 h 53"/>
                <a:gd name="T4" fmla="*/ 27 w 49"/>
                <a:gd name="T5" fmla="*/ 0 h 53"/>
                <a:gd name="T6" fmla="*/ 15 w 49"/>
                <a:gd name="T7" fmla="*/ 6 h 53"/>
                <a:gd name="T8" fmla="*/ 0 w 49"/>
                <a:gd name="T9" fmla="*/ 10 h 53"/>
                <a:gd name="T10" fmla="*/ 3 w 49"/>
                <a:gd name="T11" fmla="*/ 25 h 53"/>
                <a:gd name="T12" fmla="*/ 14 w 49"/>
                <a:gd name="T13" fmla="*/ 28 h 53"/>
                <a:gd name="T14" fmla="*/ 16 w 49"/>
                <a:gd name="T15" fmla="*/ 40 h 53"/>
                <a:gd name="T16" fmla="*/ 29 w 49"/>
                <a:gd name="T17" fmla="*/ 44 h 53"/>
                <a:gd name="T18" fmla="*/ 33 w 49"/>
                <a:gd name="T19" fmla="*/ 52 h 53"/>
                <a:gd name="T20" fmla="*/ 48 w 49"/>
                <a:gd name="T21" fmla="*/ 2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53">
                  <a:moveTo>
                    <a:pt x="48" y="26"/>
                  </a:moveTo>
                  <a:lnTo>
                    <a:pt x="44" y="9"/>
                  </a:lnTo>
                  <a:lnTo>
                    <a:pt x="27" y="0"/>
                  </a:lnTo>
                  <a:lnTo>
                    <a:pt x="15" y="6"/>
                  </a:lnTo>
                  <a:lnTo>
                    <a:pt x="0" y="10"/>
                  </a:lnTo>
                  <a:lnTo>
                    <a:pt x="3" y="25"/>
                  </a:lnTo>
                  <a:lnTo>
                    <a:pt x="14" y="28"/>
                  </a:lnTo>
                  <a:lnTo>
                    <a:pt x="16" y="40"/>
                  </a:lnTo>
                  <a:lnTo>
                    <a:pt x="29" y="44"/>
                  </a:lnTo>
                  <a:lnTo>
                    <a:pt x="33" y="52"/>
                  </a:lnTo>
                  <a:lnTo>
                    <a:pt x="48" y="2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0" name="Freeform 162">
              <a:extLst>
                <a:ext uri="{FF2B5EF4-FFF2-40B4-BE49-F238E27FC236}">
                  <a16:creationId xmlns:a16="http://schemas.microsoft.com/office/drawing/2014/main" xmlns="" id="{71C42DBF-EA7D-47B4-9C26-B4E2BE3899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4030" y="3505052"/>
              <a:ext cx="102239" cy="71351"/>
            </a:xfrm>
            <a:custGeom>
              <a:avLst/>
              <a:gdLst>
                <a:gd name="T0" fmla="*/ 0 w 78"/>
                <a:gd name="T1" fmla="*/ 16 h 54"/>
                <a:gd name="T2" fmla="*/ 12 w 78"/>
                <a:gd name="T3" fmla="*/ 50 h 54"/>
                <a:gd name="T4" fmla="*/ 56 w 78"/>
                <a:gd name="T5" fmla="*/ 53 h 54"/>
                <a:gd name="T6" fmla="*/ 77 w 78"/>
                <a:gd name="T7" fmla="*/ 19 h 54"/>
                <a:gd name="T8" fmla="*/ 73 w 78"/>
                <a:gd name="T9" fmla="*/ 0 h 54"/>
                <a:gd name="T10" fmla="*/ 61 w 78"/>
                <a:gd name="T11" fmla="*/ 15 h 54"/>
                <a:gd name="T12" fmla="*/ 50 w 78"/>
                <a:gd name="T13" fmla="*/ 27 h 54"/>
                <a:gd name="T14" fmla="*/ 26 w 78"/>
                <a:gd name="T15" fmla="*/ 31 h 54"/>
                <a:gd name="T16" fmla="*/ 14 w 78"/>
                <a:gd name="T17" fmla="*/ 27 h 54"/>
                <a:gd name="T18" fmla="*/ 0 w 78"/>
                <a:gd name="T19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4">
                  <a:moveTo>
                    <a:pt x="0" y="16"/>
                  </a:moveTo>
                  <a:lnTo>
                    <a:pt x="12" y="50"/>
                  </a:lnTo>
                  <a:lnTo>
                    <a:pt x="56" y="53"/>
                  </a:lnTo>
                  <a:lnTo>
                    <a:pt x="77" y="19"/>
                  </a:lnTo>
                  <a:lnTo>
                    <a:pt x="73" y="0"/>
                  </a:lnTo>
                  <a:lnTo>
                    <a:pt x="61" y="15"/>
                  </a:lnTo>
                  <a:lnTo>
                    <a:pt x="50" y="27"/>
                  </a:lnTo>
                  <a:lnTo>
                    <a:pt x="26" y="31"/>
                  </a:lnTo>
                  <a:lnTo>
                    <a:pt x="14" y="27"/>
                  </a:lnTo>
                  <a:lnTo>
                    <a:pt x="0" y="1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1" name="Freeform 163">
              <a:extLst>
                <a:ext uri="{FF2B5EF4-FFF2-40B4-BE49-F238E27FC236}">
                  <a16:creationId xmlns:a16="http://schemas.microsoft.com/office/drawing/2014/main" xmlns="" id="{7CF698CC-FB4C-4881-B3BE-7B46C3EFD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696" y="4109157"/>
              <a:ext cx="36854" cy="36865"/>
            </a:xfrm>
            <a:custGeom>
              <a:avLst/>
              <a:gdLst>
                <a:gd name="T0" fmla="*/ 13 w 28"/>
                <a:gd name="T1" fmla="*/ 0 h 28"/>
                <a:gd name="T2" fmla="*/ 3 w 28"/>
                <a:gd name="T3" fmla="*/ 4 h 28"/>
                <a:gd name="T4" fmla="*/ 6 w 28"/>
                <a:gd name="T5" fmla="*/ 14 h 28"/>
                <a:gd name="T6" fmla="*/ 0 w 28"/>
                <a:gd name="T7" fmla="*/ 19 h 28"/>
                <a:gd name="T8" fmla="*/ 1 w 28"/>
                <a:gd name="T9" fmla="*/ 27 h 28"/>
                <a:gd name="T10" fmla="*/ 10 w 28"/>
                <a:gd name="T11" fmla="*/ 26 h 28"/>
                <a:gd name="T12" fmla="*/ 22 w 28"/>
                <a:gd name="T13" fmla="*/ 26 h 28"/>
                <a:gd name="T14" fmla="*/ 27 w 28"/>
                <a:gd name="T15" fmla="*/ 19 h 28"/>
                <a:gd name="T16" fmla="*/ 24 w 28"/>
                <a:gd name="T17" fmla="*/ 4 h 28"/>
                <a:gd name="T18" fmla="*/ 13 w 28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3" y="0"/>
                  </a:moveTo>
                  <a:lnTo>
                    <a:pt x="3" y="4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1" y="27"/>
                  </a:lnTo>
                  <a:lnTo>
                    <a:pt x="10" y="26"/>
                  </a:lnTo>
                  <a:lnTo>
                    <a:pt x="22" y="26"/>
                  </a:lnTo>
                  <a:lnTo>
                    <a:pt x="27" y="19"/>
                  </a:lnTo>
                  <a:lnTo>
                    <a:pt x="24" y="4"/>
                  </a:lnTo>
                  <a:lnTo>
                    <a:pt x="13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2" name="Freeform 164">
              <a:extLst>
                <a:ext uri="{FF2B5EF4-FFF2-40B4-BE49-F238E27FC236}">
                  <a16:creationId xmlns:a16="http://schemas.microsoft.com/office/drawing/2014/main" xmlns="" id="{DFB7280B-649C-4E17-947E-113C33D61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2207" y="4134130"/>
              <a:ext cx="32098" cy="39243"/>
            </a:xfrm>
            <a:custGeom>
              <a:avLst/>
              <a:gdLst>
                <a:gd name="T0" fmla="*/ 13 w 25"/>
                <a:gd name="T1" fmla="*/ 26 h 29"/>
                <a:gd name="T2" fmla="*/ 24 w 25"/>
                <a:gd name="T3" fmla="*/ 25 h 29"/>
                <a:gd name="T4" fmla="*/ 23 w 25"/>
                <a:gd name="T5" fmla="*/ 7 h 29"/>
                <a:gd name="T6" fmla="*/ 19 w 25"/>
                <a:gd name="T7" fmla="*/ 0 h 29"/>
                <a:gd name="T8" fmla="*/ 14 w 25"/>
                <a:gd name="T9" fmla="*/ 7 h 29"/>
                <a:gd name="T10" fmla="*/ 2 w 25"/>
                <a:gd name="T11" fmla="*/ 7 h 29"/>
                <a:gd name="T12" fmla="*/ 0 w 25"/>
                <a:gd name="T13" fmla="*/ 23 h 29"/>
                <a:gd name="T14" fmla="*/ 6 w 25"/>
                <a:gd name="T15" fmla="*/ 28 h 29"/>
                <a:gd name="T16" fmla="*/ 13 w 2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9">
                  <a:moveTo>
                    <a:pt x="13" y="26"/>
                  </a:moveTo>
                  <a:lnTo>
                    <a:pt x="24" y="25"/>
                  </a:lnTo>
                  <a:lnTo>
                    <a:pt x="23" y="7"/>
                  </a:lnTo>
                  <a:lnTo>
                    <a:pt x="19" y="0"/>
                  </a:lnTo>
                  <a:lnTo>
                    <a:pt x="14" y="7"/>
                  </a:lnTo>
                  <a:lnTo>
                    <a:pt x="2" y="7"/>
                  </a:lnTo>
                  <a:lnTo>
                    <a:pt x="0" y="23"/>
                  </a:lnTo>
                  <a:lnTo>
                    <a:pt x="6" y="28"/>
                  </a:lnTo>
                  <a:lnTo>
                    <a:pt x="13" y="2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3" name="Freeform 165">
              <a:extLst>
                <a:ext uri="{FF2B5EF4-FFF2-40B4-BE49-F238E27FC236}">
                  <a16:creationId xmlns:a16="http://schemas.microsoft.com/office/drawing/2014/main" xmlns="" id="{484FF6AD-5299-46D6-9867-05B563DA7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8775" y="2971109"/>
              <a:ext cx="63008" cy="40432"/>
            </a:xfrm>
            <a:custGeom>
              <a:avLst/>
              <a:gdLst>
                <a:gd name="T0" fmla="*/ 8 w 49"/>
                <a:gd name="T1" fmla="*/ 28 h 30"/>
                <a:gd name="T2" fmla="*/ 0 w 49"/>
                <a:gd name="T3" fmla="*/ 22 h 30"/>
                <a:gd name="T4" fmla="*/ 3 w 49"/>
                <a:gd name="T5" fmla="*/ 13 h 30"/>
                <a:gd name="T6" fmla="*/ 9 w 49"/>
                <a:gd name="T7" fmla="*/ 3 h 30"/>
                <a:gd name="T8" fmla="*/ 19 w 49"/>
                <a:gd name="T9" fmla="*/ 2 h 30"/>
                <a:gd name="T10" fmla="*/ 27 w 49"/>
                <a:gd name="T11" fmla="*/ 3 h 30"/>
                <a:gd name="T12" fmla="*/ 37 w 49"/>
                <a:gd name="T13" fmla="*/ 0 h 30"/>
                <a:gd name="T14" fmla="*/ 45 w 49"/>
                <a:gd name="T15" fmla="*/ 5 h 30"/>
                <a:gd name="T16" fmla="*/ 48 w 49"/>
                <a:gd name="T17" fmla="*/ 15 h 30"/>
                <a:gd name="T18" fmla="*/ 43 w 49"/>
                <a:gd name="T19" fmla="*/ 26 h 30"/>
                <a:gd name="T20" fmla="*/ 37 w 49"/>
                <a:gd name="T21" fmla="*/ 24 h 30"/>
                <a:gd name="T22" fmla="*/ 33 w 49"/>
                <a:gd name="T23" fmla="*/ 29 h 30"/>
                <a:gd name="T24" fmla="*/ 27 w 49"/>
                <a:gd name="T25" fmla="*/ 22 h 30"/>
                <a:gd name="T26" fmla="*/ 22 w 49"/>
                <a:gd name="T27" fmla="*/ 28 h 30"/>
                <a:gd name="T28" fmla="*/ 8 w 49"/>
                <a:gd name="T29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" h="30">
                  <a:moveTo>
                    <a:pt x="8" y="28"/>
                  </a:moveTo>
                  <a:lnTo>
                    <a:pt x="0" y="22"/>
                  </a:lnTo>
                  <a:lnTo>
                    <a:pt x="3" y="13"/>
                  </a:lnTo>
                  <a:lnTo>
                    <a:pt x="9" y="3"/>
                  </a:lnTo>
                  <a:lnTo>
                    <a:pt x="19" y="2"/>
                  </a:lnTo>
                  <a:lnTo>
                    <a:pt x="27" y="3"/>
                  </a:lnTo>
                  <a:lnTo>
                    <a:pt x="37" y="0"/>
                  </a:lnTo>
                  <a:lnTo>
                    <a:pt x="45" y="5"/>
                  </a:lnTo>
                  <a:lnTo>
                    <a:pt x="48" y="15"/>
                  </a:lnTo>
                  <a:lnTo>
                    <a:pt x="43" y="26"/>
                  </a:lnTo>
                  <a:lnTo>
                    <a:pt x="37" y="24"/>
                  </a:lnTo>
                  <a:lnTo>
                    <a:pt x="33" y="29"/>
                  </a:lnTo>
                  <a:lnTo>
                    <a:pt x="27" y="22"/>
                  </a:lnTo>
                  <a:lnTo>
                    <a:pt x="22" y="28"/>
                  </a:lnTo>
                  <a:lnTo>
                    <a:pt x="8" y="2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4" name="Freeform 166">
              <a:extLst>
                <a:ext uri="{FF2B5EF4-FFF2-40B4-BE49-F238E27FC236}">
                  <a16:creationId xmlns:a16="http://schemas.microsoft.com/office/drawing/2014/main" xmlns="" id="{4ACA3030-9B94-486E-B43B-2AE6854F0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732" y="2818894"/>
              <a:ext cx="53497" cy="73729"/>
            </a:xfrm>
            <a:custGeom>
              <a:avLst/>
              <a:gdLst>
                <a:gd name="T0" fmla="*/ 0 w 41"/>
                <a:gd name="T1" fmla="*/ 42 h 54"/>
                <a:gd name="T2" fmla="*/ 8 w 41"/>
                <a:gd name="T3" fmla="*/ 38 h 54"/>
                <a:gd name="T4" fmla="*/ 17 w 41"/>
                <a:gd name="T5" fmla="*/ 40 h 54"/>
                <a:gd name="T6" fmla="*/ 19 w 41"/>
                <a:gd name="T7" fmla="*/ 53 h 54"/>
                <a:gd name="T8" fmla="*/ 22 w 41"/>
                <a:gd name="T9" fmla="*/ 36 h 54"/>
                <a:gd name="T10" fmla="*/ 32 w 41"/>
                <a:gd name="T11" fmla="*/ 29 h 54"/>
                <a:gd name="T12" fmla="*/ 40 w 41"/>
                <a:gd name="T13" fmla="*/ 15 h 54"/>
                <a:gd name="T14" fmla="*/ 40 w 41"/>
                <a:gd name="T15" fmla="*/ 0 h 54"/>
                <a:gd name="T16" fmla="*/ 22 w 41"/>
                <a:gd name="T17" fmla="*/ 3 h 54"/>
                <a:gd name="T18" fmla="*/ 18 w 41"/>
                <a:gd name="T19" fmla="*/ 8 h 54"/>
                <a:gd name="T20" fmla="*/ 18 w 41"/>
                <a:gd name="T21" fmla="*/ 10 h 54"/>
                <a:gd name="T22" fmla="*/ 16 w 41"/>
                <a:gd name="T23" fmla="*/ 16 h 54"/>
                <a:gd name="T24" fmla="*/ 8 w 41"/>
                <a:gd name="T25" fmla="*/ 11 h 54"/>
                <a:gd name="T26" fmla="*/ 2 w 41"/>
                <a:gd name="T27" fmla="*/ 27 h 54"/>
                <a:gd name="T28" fmla="*/ 4 w 41"/>
                <a:gd name="T29" fmla="*/ 30 h 54"/>
                <a:gd name="T30" fmla="*/ 0 w 41"/>
                <a:gd name="T3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" h="54">
                  <a:moveTo>
                    <a:pt x="0" y="42"/>
                  </a:moveTo>
                  <a:lnTo>
                    <a:pt x="8" y="38"/>
                  </a:lnTo>
                  <a:lnTo>
                    <a:pt x="17" y="40"/>
                  </a:lnTo>
                  <a:lnTo>
                    <a:pt x="19" y="53"/>
                  </a:lnTo>
                  <a:lnTo>
                    <a:pt x="22" y="36"/>
                  </a:lnTo>
                  <a:lnTo>
                    <a:pt x="32" y="29"/>
                  </a:lnTo>
                  <a:lnTo>
                    <a:pt x="40" y="15"/>
                  </a:lnTo>
                  <a:lnTo>
                    <a:pt x="40" y="0"/>
                  </a:lnTo>
                  <a:lnTo>
                    <a:pt x="22" y="3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6" y="16"/>
                  </a:lnTo>
                  <a:lnTo>
                    <a:pt x="8" y="11"/>
                  </a:lnTo>
                  <a:lnTo>
                    <a:pt x="2" y="27"/>
                  </a:lnTo>
                  <a:lnTo>
                    <a:pt x="4" y="30"/>
                  </a:lnTo>
                  <a:lnTo>
                    <a:pt x="0" y="4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5" name="Freeform 167">
              <a:extLst>
                <a:ext uri="{FF2B5EF4-FFF2-40B4-BE49-F238E27FC236}">
                  <a16:creationId xmlns:a16="http://schemas.microsoft.com/office/drawing/2014/main" xmlns="" id="{34EFA342-1232-4762-B242-01A2B7A82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139" y="4034238"/>
              <a:ext cx="123638" cy="145080"/>
            </a:xfrm>
            <a:custGeom>
              <a:avLst/>
              <a:gdLst>
                <a:gd name="T0" fmla="*/ 68 w 93"/>
                <a:gd name="T1" fmla="*/ 0 h 109"/>
                <a:gd name="T2" fmla="*/ 45 w 93"/>
                <a:gd name="T3" fmla="*/ 2 h 109"/>
                <a:gd name="T4" fmla="*/ 37 w 93"/>
                <a:gd name="T5" fmla="*/ 8 h 109"/>
                <a:gd name="T6" fmla="*/ 37 w 93"/>
                <a:gd name="T7" fmla="*/ 16 h 109"/>
                <a:gd name="T8" fmla="*/ 33 w 93"/>
                <a:gd name="T9" fmla="*/ 27 h 109"/>
                <a:gd name="T10" fmla="*/ 18 w 93"/>
                <a:gd name="T11" fmla="*/ 28 h 109"/>
                <a:gd name="T12" fmla="*/ 14 w 93"/>
                <a:gd name="T13" fmla="*/ 23 h 109"/>
                <a:gd name="T14" fmla="*/ 14 w 93"/>
                <a:gd name="T15" fmla="*/ 42 h 109"/>
                <a:gd name="T16" fmla="*/ 2 w 93"/>
                <a:gd name="T17" fmla="*/ 48 h 109"/>
                <a:gd name="T18" fmla="*/ 0 w 93"/>
                <a:gd name="T19" fmla="*/ 52 h 109"/>
                <a:gd name="T20" fmla="*/ 7 w 93"/>
                <a:gd name="T21" fmla="*/ 56 h 109"/>
                <a:gd name="T22" fmla="*/ 6 w 93"/>
                <a:gd name="T23" fmla="*/ 69 h 109"/>
                <a:gd name="T24" fmla="*/ 24 w 93"/>
                <a:gd name="T25" fmla="*/ 85 h 109"/>
                <a:gd name="T26" fmla="*/ 38 w 93"/>
                <a:gd name="T27" fmla="*/ 102 h 109"/>
                <a:gd name="T28" fmla="*/ 43 w 93"/>
                <a:gd name="T29" fmla="*/ 108 h 109"/>
                <a:gd name="T30" fmla="*/ 49 w 93"/>
                <a:gd name="T31" fmla="*/ 100 h 109"/>
                <a:gd name="T32" fmla="*/ 54 w 93"/>
                <a:gd name="T33" fmla="*/ 89 h 109"/>
                <a:gd name="T34" fmla="*/ 47 w 93"/>
                <a:gd name="T35" fmla="*/ 84 h 109"/>
                <a:gd name="T36" fmla="*/ 45 w 93"/>
                <a:gd name="T37" fmla="*/ 76 h 109"/>
                <a:gd name="T38" fmla="*/ 55 w 93"/>
                <a:gd name="T39" fmla="*/ 71 h 109"/>
                <a:gd name="T40" fmla="*/ 63 w 93"/>
                <a:gd name="T41" fmla="*/ 69 h 109"/>
                <a:gd name="T42" fmla="*/ 71 w 93"/>
                <a:gd name="T43" fmla="*/ 79 h 109"/>
                <a:gd name="T44" fmla="*/ 83 w 93"/>
                <a:gd name="T45" fmla="*/ 74 h 109"/>
                <a:gd name="T46" fmla="*/ 92 w 93"/>
                <a:gd name="T47" fmla="*/ 61 h 109"/>
                <a:gd name="T48" fmla="*/ 89 w 93"/>
                <a:gd name="T49" fmla="*/ 47 h 109"/>
                <a:gd name="T50" fmla="*/ 83 w 93"/>
                <a:gd name="T51" fmla="*/ 41 h 109"/>
                <a:gd name="T52" fmla="*/ 78 w 93"/>
                <a:gd name="T53" fmla="*/ 30 h 109"/>
                <a:gd name="T54" fmla="*/ 82 w 93"/>
                <a:gd name="T55" fmla="*/ 23 h 109"/>
                <a:gd name="T56" fmla="*/ 78 w 93"/>
                <a:gd name="T57" fmla="*/ 14 h 109"/>
                <a:gd name="T58" fmla="*/ 68 w 93"/>
                <a:gd name="T59" fmla="*/ 13 h 109"/>
                <a:gd name="T60" fmla="*/ 68 w 93"/>
                <a:gd name="T6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109">
                  <a:moveTo>
                    <a:pt x="68" y="0"/>
                  </a:moveTo>
                  <a:lnTo>
                    <a:pt x="45" y="2"/>
                  </a:lnTo>
                  <a:lnTo>
                    <a:pt x="37" y="8"/>
                  </a:lnTo>
                  <a:lnTo>
                    <a:pt x="37" y="16"/>
                  </a:lnTo>
                  <a:lnTo>
                    <a:pt x="33" y="27"/>
                  </a:lnTo>
                  <a:lnTo>
                    <a:pt x="18" y="28"/>
                  </a:lnTo>
                  <a:lnTo>
                    <a:pt x="14" y="23"/>
                  </a:lnTo>
                  <a:lnTo>
                    <a:pt x="14" y="42"/>
                  </a:lnTo>
                  <a:lnTo>
                    <a:pt x="2" y="48"/>
                  </a:lnTo>
                  <a:lnTo>
                    <a:pt x="0" y="52"/>
                  </a:lnTo>
                  <a:lnTo>
                    <a:pt x="7" y="56"/>
                  </a:lnTo>
                  <a:lnTo>
                    <a:pt x="6" y="69"/>
                  </a:lnTo>
                  <a:lnTo>
                    <a:pt x="24" y="85"/>
                  </a:lnTo>
                  <a:lnTo>
                    <a:pt x="38" y="102"/>
                  </a:lnTo>
                  <a:lnTo>
                    <a:pt x="43" y="108"/>
                  </a:lnTo>
                  <a:lnTo>
                    <a:pt x="49" y="100"/>
                  </a:lnTo>
                  <a:lnTo>
                    <a:pt x="54" y="89"/>
                  </a:lnTo>
                  <a:lnTo>
                    <a:pt x="47" y="84"/>
                  </a:lnTo>
                  <a:lnTo>
                    <a:pt x="45" y="76"/>
                  </a:lnTo>
                  <a:lnTo>
                    <a:pt x="55" y="71"/>
                  </a:lnTo>
                  <a:lnTo>
                    <a:pt x="63" y="69"/>
                  </a:lnTo>
                  <a:lnTo>
                    <a:pt x="71" y="79"/>
                  </a:lnTo>
                  <a:lnTo>
                    <a:pt x="83" y="74"/>
                  </a:lnTo>
                  <a:lnTo>
                    <a:pt x="92" y="61"/>
                  </a:lnTo>
                  <a:lnTo>
                    <a:pt x="89" y="47"/>
                  </a:lnTo>
                  <a:lnTo>
                    <a:pt x="83" y="41"/>
                  </a:lnTo>
                  <a:lnTo>
                    <a:pt x="78" y="30"/>
                  </a:lnTo>
                  <a:lnTo>
                    <a:pt x="82" y="23"/>
                  </a:lnTo>
                  <a:lnTo>
                    <a:pt x="78" y="14"/>
                  </a:lnTo>
                  <a:lnTo>
                    <a:pt x="68" y="13"/>
                  </a:lnTo>
                  <a:lnTo>
                    <a:pt x="6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6" name="Freeform 168">
              <a:extLst>
                <a:ext uri="{FF2B5EF4-FFF2-40B4-BE49-F238E27FC236}">
                  <a16:creationId xmlns:a16="http://schemas.microsoft.com/office/drawing/2014/main" xmlns="" id="{EA5F2687-B0B6-4D71-BBAA-B790BC565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5552" y="3450350"/>
              <a:ext cx="153359" cy="170053"/>
            </a:xfrm>
            <a:custGeom>
              <a:avLst/>
              <a:gdLst>
                <a:gd name="T0" fmla="*/ 112 w 115"/>
                <a:gd name="T1" fmla="*/ 7 h 127"/>
                <a:gd name="T2" fmla="*/ 114 w 115"/>
                <a:gd name="T3" fmla="*/ 0 h 127"/>
                <a:gd name="T4" fmla="*/ 104 w 115"/>
                <a:gd name="T5" fmla="*/ 0 h 127"/>
                <a:gd name="T6" fmla="*/ 67 w 115"/>
                <a:gd name="T7" fmla="*/ 0 h 127"/>
                <a:gd name="T8" fmla="*/ 61 w 115"/>
                <a:gd name="T9" fmla="*/ 9 h 127"/>
                <a:gd name="T10" fmla="*/ 44 w 115"/>
                <a:gd name="T11" fmla="*/ 6 h 127"/>
                <a:gd name="T12" fmla="*/ 41 w 115"/>
                <a:gd name="T13" fmla="*/ 25 h 127"/>
                <a:gd name="T14" fmla="*/ 35 w 115"/>
                <a:gd name="T15" fmla="*/ 35 h 127"/>
                <a:gd name="T16" fmla="*/ 23 w 115"/>
                <a:gd name="T17" fmla="*/ 40 h 127"/>
                <a:gd name="T18" fmla="*/ 16 w 115"/>
                <a:gd name="T19" fmla="*/ 46 h 127"/>
                <a:gd name="T20" fmla="*/ 18 w 115"/>
                <a:gd name="T21" fmla="*/ 68 h 127"/>
                <a:gd name="T22" fmla="*/ 8 w 115"/>
                <a:gd name="T23" fmla="*/ 70 h 127"/>
                <a:gd name="T24" fmla="*/ 12 w 115"/>
                <a:gd name="T25" fmla="*/ 81 h 127"/>
                <a:gd name="T26" fmla="*/ 5 w 115"/>
                <a:gd name="T27" fmla="*/ 86 h 127"/>
                <a:gd name="T28" fmla="*/ 0 w 115"/>
                <a:gd name="T29" fmla="*/ 100 h 127"/>
                <a:gd name="T30" fmla="*/ 1 w 115"/>
                <a:gd name="T31" fmla="*/ 121 h 127"/>
                <a:gd name="T32" fmla="*/ 7 w 115"/>
                <a:gd name="T33" fmla="*/ 123 h 127"/>
                <a:gd name="T34" fmla="*/ 27 w 115"/>
                <a:gd name="T35" fmla="*/ 126 h 127"/>
                <a:gd name="T36" fmla="*/ 41 w 115"/>
                <a:gd name="T37" fmla="*/ 126 h 127"/>
                <a:gd name="T38" fmla="*/ 41 w 115"/>
                <a:gd name="T39" fmla="*/ 105 h 127"/>
                <a:gd name="T40" fmla="*/ 45 w 115"/>
                <a:gd name="T41" fmla="*/ 92 h 127"/>
                <a:gd name="T42" fmla="*/ 53 w 115"/>
                <a:gd name="T43" fmla="*/ 84 h 127"/>
                <a:gd name="T44" fmla="*/ 67 w 115"/>
                <a:gd name="T45" fmla="*/ 88 h 127"/>
                <a:gd name="T46" fmla="*/ 67 w 115"/>
                <a:gd name="T47" fmla="*/ 39 h 127"/>
                <a:gd name="T48" fmla="*/ 100 w 115"/>
                <a:gd name="T49" fmla="*/ 36 h 127"/>
                <a:gd name="T50" fmla="*/ 107 w 115"/>
                <a:gd name="T51" fmla="*/ 27 h 127"/>
                <a:gd name="T52" fmla="*/ 112 w 115"/>
                <a:gd name="T53" fmla="*/ 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5" h="127">
                  <a:moveTo>
                    <a:pt x="112" y="7"/>
                  </a:moveTo>
                  <a:lnTo>
                    <a:pt x="114" y="0"/>
                  </a:lnTo>
                  <a:lnTo>
                    <a:pt x="104" y="0"/>
                  </a:lnTo>
                  <a:lnTo>
                    <a:pt x="67" y="0"/>
                  </a:lnTo>
                  <a:lnTo>
                    <a:pt x="61" y="9"/>
                  </a:lnTo>
                  <a:lnTo>
                    <a:pt x="44" y="6"/>
                  </a:lnTo>
                  <a:lnTo>
                    <a:pt x="41" y="25"/>
                  </a:lnTo>
                  <a:lnTo>
                    <a:pt x="35" y="35"/>
                  </a:lnTo>
                  <a:lnTo>
                    <a:pt x="23" y="40"/>
                  </a:lnTo>
                  <a:lnTo>
                    <a:pt x="16" y="46"/>
                  </a:lnTo>
                  <a:lnTo>
                    <a:pt x="18" y="68"/>
                  </a:lnTo>
                  <a:lnTo>
                    <a:pt x="8" y="70"/>
                  </a:lnTo>
                  <a:lnTo>
                    <a:pt x="12" y="81"/>
                  </a:lnTo>
                  <a:lnTo>
                    <a:pt x="5" y="86"/>
                  </a:lnTo>
                  <a:lnTo>
                    <a:pt x="0" y="100"/>
                  </a:lnTo>
                  <a:lnTo>
                    <a:pt x="1" y="121"/>
                  </a:lnTo>
                  <a:lnTo>
                    <a:pt x="7" y="123"/>
                  </a:lnTo>
                  <a:lnTo>
                    <a:pt x="27" y="126"/>
                  </a:lnTo>
                  <a:lnTo>
                    <a:pt x="41" y="126"/>
                  </a:lnTo>
                  <a:lnTo>
                    <a:pt x="41" y="105"/>
                  </a:lnTo>
                  <a:lnTo>
                    <a:pt x="45" y="92"/>
                  </a:lnTo>
                  <a:lnTo>
                    <a:pt x="53" y="84"/>
                  </a:lnTo>
                  <a:lnTo>
                    <a:pt x="67" y="88"/>
                  </a:lnTo>
                  <a:lnTo>
                    <a:pt x="67" y="39"/>
                  </a:lnTo>
                  <a:lnTo>
                    <a:pt x="100" y="36"/>
                  </a:lnTo>
                  <a:lnTo>
                    <a:pt x="107" y="27"/>
                  </a:lnTo>
                  <a:lnTo>
                    <a:pt x="112" y="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7" name="Freeform 169">
              <a:extLst>
                <a:ext uri="{FF2B5EF4-FFF2-40B4-BE49-F238E27FC236}">
                  <a16:creationId xmlns:a16="http://schemas.microsoft.com/office/drawing/2014/main" xmlns="" id="{B29CAEB6-9622-458B-BDA9-257C2905F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4643" y="3716727"/>
              <a:ext cx="131960" cy="111783"/>
            </a:xfrm>
            <a:custGeom>
              <a:avLst/>
              <a:gdLst>
                <a:gd name="T0" fmla="*/ 17 w 99"/>
                <a:gd name="T1" fmla="*/ 66 h 84"/>
                <a:gd name="T2" fmla="*/ 18 w 99"/>
                <a:gd name="T3" fmla="*/ 77 h 84"/>
                <a:gd name="T4" fmla="*/ 31 w 99"/>
                <a:gd name="T5" fmla="*/ 77 h 84"/>
                <a:gd name="T6" fmla="*/ 36 w 99"/>
                <a:gd name="T7" fmla="*/ 83 h 84"/>
                <a:gd name="T8" fmla="*/ 43 w 99"/>
                <a:gd name="T9" fmla="*/ 74 h 84"/>
                <a:gd name="T10" fmla="*/ 61 w 99"/>
                <a:gd name="T11" fmla="*/ 68 h 84"/>
                <a:gd name="T12" fmla="*/ 81 w 99"/>
                <a:gd name="T13" fmla="*/ 71 h 84"/>
                <a:gd name="T14" fmla="*/ 98 w 99"/>
                <a:gd name="T15" fmla="*/ 71 h 84"/>
                <a:gd name="T16" fmla="*/ 90 w 99"/>
                <a:gd name="T17" fmla="*/ 54 h 84"/>
                <a:gd name="T18" fmla="*/ 82 w 99"/>
                <a:gd name="T19" fmla="*/ 48 h 84"/>
                <a:gd name="T20" fmla="*/ 79 w 99"/>
                <a:gd name="T21" fmla="*/ 36 h 84"/>
                <a:gd name="T22" fmla="*/ 68 w 99"/>
                <a:gd name="T23" fmla="*/ 28 h 84"/>
                <a:gd name="T24" fmla="*/ 57 w 99"/>
                <a:gd name="T25" fmla="*/ 13 h 84"/>
                <a:gd name="T26" fmla="*/ 47 w 99"/>
                <a:gd name="T27" fmla="*/ 8 h 84"/>
                <a:gd name="T28" fmla="*/ 41 w 99"/>
                <a:gd name="T29" fmla="*/ 0 h 84"/>
                <a:gd name="T30" fmla="*/ 28 w 99"/>
                <a:gd name="T31" fmla="*/ 3 h 84"/>
                <a:gd name="T32" fmla="*/ 10 w 99"/>
                <a:gd name="T33" fmla="*/ 24 h 84"/>
                <a:gd name="T34" fmla="*/ 0 w 99"/>
                <a:gd name="T35" fmla="*/ 28 h 84"/>
                <a:gd name="T36" fmla="*/ 11 w 99"/>
                <a:gd name="T37" fmla="*/ 32 h 84"/>
                <a:gd name="T38" fmla="*/ 21 w 99"/>
                <a:gd name="T39" fmla="*/ 44 h 84"/>
                <a:gd name="T40" fmla="*/ 28 w 99"/>
                <a:gd name="T41" fmla="*/ 50 h 84"/>
                <a:gd name="T42" fmla="*/ 19 w 99"/>
                <a:gd name="T43" fmla="*/ 56 h 84"/>
                <a:gd name="T44" fmla="*/ 17 w 99"/>
                <a:gd name="T45" fmla="*/ 6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84">
                  <a:moveTo>
                    <a:pt x="17" y="66"/>
                  </a:moveTo>
                  <a:lnTo>
                    <a:pt x="18" y="77"/>
                  </a:lnTo>
                  <a:lnTo>
                    <a:pt x="31" y="77"/>
                  </a:lnTo>
                  <a:lnTo>
                    <a:pt x="36" y="83"/>
                  </a:lnTo>
                  <a:lnTo>
                    <a:pt x="43" y="74"/>
                  </a:lnTo>
                  <a:lnTo>
                    <a:pt x="61" y="68"/>
                  </a:lnTo>
                  <a:lnTo>
                    <a:pt x="81" y="71"/>
                  </a:lnTo>
                  <a:lnTo>
                    <a:pt x="98" y="71"/>
                  </a:lnTo>
                  <a:lnTo>
                    <a:pt x="90" y="54"/>
                  </a:lnTo>
                  <a:lnTo>
                    <a:pt x="82" y="48"/>
                  </a:lnTo>
                  <a:lnTo>
                    <a:pt x="79" y="36"/>
                  </a:lnTo>
                  <a:lnTo>
                    <a:pt x="68" y="28"/>
                  </a:lnTo>
                  <a:lnTo>
                    <a:pt x="57" y="13"/>
                  </a:lnTo>
                  <a:lnTo>
                    <a:pt x="47" y="8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0" y="24"/>
                  </a:lnTo>
                  <a:lnTo>
                    <a:pt x="0" y="28"/>
                  </a:lnTo>
                  <a:lnTo>
                    <a:pt x="11" y="32"/>
                  </a:lnTo>
                  <a:lnTo>
                    <a:pt x="21" y="44"/>
                  </a:lnTo>
                  <a:lnTo>
                    <a:pt x="28" y="50"/>
                  </a:lnTo>
                  <a:lnTo>
                    <a:pt x="19" y="56"/>
                  </a:lnTo>
                  <a:lnTo>
                    <a:pt x="17" y="6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8" name="Freeform 170">
              <a:extLst>
                <a:ext uri="{FF2B5EF4-FFF2-40B4-BE49-F238E27FC236}">
                  <a16:creationId xmlns:a16="http://schemas.microsoft.com/office/drawing/2014/main" xmlns="" id="{C22D6D68-98CE-4925-85FC-53C44F2A5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929" y="3235108"/>
              <a:ext cx="72518" cy="142702"/>
            </a:xfrm>
            <a:custGeom>
              <a:avLst/>
              <a:gdLst>
                <a:gd name="T0" fmla="*/ 29 w 55"/>
                <a:gd name="T1" fmla="*/ 106 h 107"/>
                <a:gd name="T2" fmla="*/ 22 w 55"/>
                <a:gd name="T3" fmla="*/ 105 h 107"/>
                <a:gd name="T4" fmla="*/ 18 w 55"/>
                <a:gd name="T5" fmla="*/ 89 h 107"/>
                <a:gd name="T6" fmla="*/ 5 w 55"/>
                <a:gd name="T7" fmla="*/ 85 h 107"/>
                <a:gd name="T8" fmla="*/ 0 w 55"/>
                <a:gd name="T9" fmla="*/ 68 h 107"/>
                <a:gd name="T10" fmla="*/ 3 w 55"/>
                <a:gd name="T11" fmla="*/ 53 h 107"/>
                <a:gd name="T12" fmla="*/ 17 w 55"/>
                <a:gd name="T13" fmla="*/ 48 h 107"/>
                <a:gd name="T14" fmla="*/ 9 w 55"/>
                <a:gd name="T15" fmla="*/ 37 h 107"/>
                <a:gd name="T16" fmla="*/ 11 w 55"/>
                <a:gd name="T17" fmla="*/ 25 h 107"/>
                <a:gd name="T18" fmla="*/ 18 w 55"/>
                <a:gd name="T19" fmla="*/ 25 h 107"/>
                <a:gd name="T20" fmla="*/ 15 w 55"/>
                <a:gd name="T21" fmla="*/ 7 h 107"/>
                <a:gd name="T22" fmla="*/ 25 w 55"/>
                <a:gd name="T23" fmla="*/ 1 h 107"/>
                <a:gd name="T24" fmla="*/ 32 w 55"/>
                <a:gd name="T25" fmla="*/ 0 h 107"/>
                <a:gd name="T26" fmla="*/ 39 w 55"/>
                <a:gd name="T27" fmla="*/ 5 h 107"/>
                <a:gd name="T28" fmla="*/ 51 w 55"/>
                <a:gd name="T29" fmla="*/ 9 h 107"/>
                <a:gd name="T30" fmla="*/ 47 w 55"/>
                <a:gd name="T31" fmla="*/ 21 h 107"/>
                <a:gd name="T32" fmla="*/ 52 w 55"/>
                <a:gd name="T33" fmla="*/ 30 h 107"/>
                <a:gd name="T34" fmla="*/ 51 w 55"/>
                <a:gd name="T35" fmla="*/ 47 h 107"/>
                <a:gd name="T36" fmla="*/ 40 w 55"/>
                <a:gd name="T37" fmla="*/ 50 h 107"/>
                <a:gd name="T38" fmla="*/ 40 w 55"/>
                <a:gd name="T39" fmla="*/ 64 h 107"/>
                <a:gd name="T40" fmla="*/ 47 w 55"/>
                <a:gd name="T41" fmla="*/ 67 h 107"/>
                <a:gd name="T42" fmla="*/ 54 w 55"/>
                <a:gd name="T43" fmla="*/ 75 h 107"/>
                <a:gd name="T44" fmla="*/ 51 w 55"/>
                <a:gd name="T45" fmla="*/ 97 h 107"/>
                <a:gd name="T46" fmla="*/ 43 w 55"/>
                <a:gd name="T47" fmla="*/ 99 h 107"/>
                <a:gd name="T48" fmla="*/ 29 w 55"/>
                <a:gd name="T49" fmla="*/ 10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5" h="107">
                  <a:moveTo>
                    <a:pt x="29" y="106"/>
                  </a:moveTo>
                  <a:lnTo>
                    <a:pt x="22" y="105"/>
                  </a:lnTo>
                  <a:lnTo>
                    <a:pt x="18" y="89"/>
                  </a:lnTo>
                  <a:lnTo>
                    <a:pt x="5" y="85"/>
                  </a:lnTo>
                  <a:lnTo>
                    <a:pt x="0" y="68"/>
                  </a:lnTo>
                  <a:lnTo>
                    <a:pt x="3" y="53"/>
                  </a:lnTo>
                  <a:lnTo>
                    <a:pt x="17" y="48"/>
                  </a:lnTo>
                  <a:lnTo>
                    <a:pt x="9" y="37"/>
                  </a:lnTo>
                  <a:lnTo>
                    <a:pt x="11" y="25"/>
                  </a:lnTo>
                  <a:lnTo>
                    <a:pt x="18" y="25"/>
                  </a:lnTo>
                  <a:lnTo>
                    <a:pt x="15" y="7"/>
                  </a:lnTo>
                  <a:lnTo>
                    <a:pt x="25" y="1"/>
                  </a:lnTo>
                  <a:lnTo>
                    <a:pt x="32" y="0"/>
                  </a:lnTo>
                  <a:lnTo>
                    <a:pt x="39" y="5"/>
                  </a:lnTo>
                  <a:lnTo>
                    <a:pt x="51" y="9"/>
                  </a:lnTo>
                  <a:lnTo>
                    <a:pt x="47" y="21"/>
                  </a:lnTo>
                  <a:lnTo>
                    <a:pt x="52" y="30"/>
                  </a:lnTo>
                  <a:lnTo>
                    <a:pt x="51" y="47"/>
                  </a:lnTo>
                  <a:lnTo>
                    <a:pt x="40" y="50"/>
                  </a:lnTo>
                  <a:lnTo>
                    <a:pt x="40" y="64"/>
                  </a:lnTo>
                  <a:lnTo>
                    <a:pt x="47" y="67"/>
                  </a:lnTo>
                  <a:lnTo>
                    <a:pt x="54" y="75"/>
                  </a:lnTo>
                  <a:lnTo>
                    <a:pt x="51" y="97"/>
                  </a:lnTo>
                  <a:lnTo>
                    <a:pt x="43" y="99"/>
                  </a:lnTo>
                  <a:lnTo>
                    <a:pt x="29" y="10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9" name="Freeform 171">
              <a:extLst>
                <a:ext uri="{FF2B5EF4-FFF2-40B4-BE49-F238E27FC236}">
                  <a16:creationId xmlns:a16="http://schemas.microsoft.com/office/drawing/2014/main" xmlns="" id="{9E981A74-2194-4111-8DE5-C7D816943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9702" y="3406350"/>
              <a:ext cx="164058" cy="86810"/>
            </a:xfrm>
            <a:custGeom>
              <a:avLst/>
              <a:gdLst>
                <a:gd name="T0" fmla="*/ 0 w 122"/>
                <a:gd name="T1" fmla="*/ 0 h 65"/>
                <a:gd name="T2" fmla="*/ 16 w 122"/>
                <a:gd name="T3" fmla="*/ 0 h 65"/>
                <a:gd name="T4" fmla="*/ 29 w 122"/>
                <a:gd name="T5" fmla="*/ 12 h 65"/>
                <a:gd name="T6" fmla="*/ 43 w 122"/>
                <a:gd name="T7" fmla="*/ 20 h 65"/>
                <a:gd name="T8" fmla="*/ 49 w 122"/>
                <a:gd name="T9" fmla="*/ 10 h 65"/>
                <a:gd name="T10" fmla="*/ 50 w 122"/>
                <a:gd name="T11" fmla="*/ 26 h 65"/>
                <a:gd name="T12" fmla="*/ 61 w 122"/>
                <a:gd name="T13" fmla="*/ 33 h 65"/>
                <a:gd name="T14" fmla="*/ 76 w 122"/>
                <a:gd name="T15" fmla="*/ 41 h 65"/>
                <a:gd name="T16" fmla="*/ 107 w 122"/>
                <a:gd name="T17" fmla="*/ 42 h 65"/>
                <a:gd name="T18" fmla="*/ 121 w 122"/>
                <a:gd name="T19" fmla="*/ 48 h 65"/>
                <a:gd name="T20" fmla="*/ 113 w 122"/>
                <a:gd name="T21" fmla="*/ 63 h 65"/>
                <a:gd name="T22" fmla="*/ 100 w 122"/>
                <a:gd name="T23" fmla="*/ 63 h 65"/>
                <a:gd name="T24" fmla="*/ 84 w 122"/>
                <a:gd name="T25" fmla="*/ 64 h 65"/>
                <a:gd name="T26" fmla="*/ 72 w 122"/>
                <a:gd name="T27" fmla="*/ 56 h 65"/>
                <a:gd name="T28" fmla="*/ 54 w 122"/>
                <a:gd name="T29" fmla="*/ 53 h 65"/>
                <a:gd name="T30" fmla="*/ 32 w 122"/>
                <a:gd name="T31" fmla="*/ 44 h 65"/>
                <a:gd name="T32" fmla="*/ 14 w 122"/>
                <a:gd name="T33" fmla="*/ 39 h 65"/>
                <a:gd name="T34" fmla="*/ 3 w 122"/>
                <a:gd name="T35" fmla="*/ 25 h 65"/>
                <a:gd name="T36" fmla="*/ 0 w 122"/>
                <a:gd name="T3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2" h="65">
                  <a:moveTo>
                    <a:pt x="0" y="0"/>
                  </a:moveTo>
                  <a:lnTo>
                    <a:pt x="16" y="0"/>
                  </a:lnTo>
                  <a:lnTo>
                    <a:pt x="29" y="12"/>
                  </a:lnTo>
                  <a:lnTo>
                    <a:pt x="43" y="20"/>
                  </a:lnTo>
                  <a:lnTo>
                    <a:pt x="49" y="10"/>
                  </a:lnTo>
                  <a:lnTo>
                    <a:pt x="50" y="26"/>
                  </a:lnTo>
                  <a:lnTo>
                    <a:pt x="61" y="33"/>
                  </a:lnTo>
                  <a:lnTo>
                    <a:pt x="76" y="41"/>
                  </a:lnTo>
                  <a:lnTo>
                    <a:pt x="107" y="42"/>
                  </a:lnTo>
                  <a:lnTo>
                    <a:pt x="121" y="48"/>
                  </a:lnTo>
                  <a:lnTo>
                    <a:pt x="113" y="63"/>
                  </a:lnTo>
                  <a:lnTo>
                    <a:pt x="100" y="63"/>
                  </a:lnTo>
                  <a:lnTo>
                    <a:pt x="84" y="64"/>
                  </a:lnTo>
                  <a:lnTo>
                    <a:pt x="72" y="56"/>
                  </a:lnTo>
                  <a:lnTo>
                    <a:pt x="54" y="53"/>
                  </a:lnTo>
                  <a:lnTo>
                    <a:pt x="32" y="44"/>
                  </a:lnTo>
                  <a:lnTo>
                    <a:pt x="14" y="39"/>
                  </a:lnTo>
                  <a:lnTo>
                    <a:pt x="3" y="25"/>
                  </a:lnTo>
                  <a:lnTo>
                    <a:pt x="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0" name="Freeform 172">
              <a:extLst>
                <a:ext uri="{FF2B5EF4-FFF2-40B4-BE49-F238E27FC236}">
                  <a16:creationId xmlns:a16="http://schemas.microsoft.com/office/drawing/2014/main" xmlns="" id="{0371BB93-EAAE-428F-91BD-E04E14EA8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972" y="3610889"/>
              <a:ext cx="153359" cy="263998"/>
            </a:xfrm>
            <a:custGeom>
              <a:avLst/>
              <a:gdLst>
                <a:gd name="T0" fmla="*/ 14 w 115"/>
                <a:gd name="T1" fmla="*/ 178 h 199"/>
                <a:gd name="T2" fmla="*/ 21 w 115"/>
                <a:gd name="T3" fmla="*/ 167 h 199"/>
                <a:gd name="T4" fmla="*/ 30 w 115"/>
                <a:gd name="T5" fmla="*/ 146 h 199"/>
                <a:gd name="T6" fmla="*/ 18 w 115"/>
                <a:gd name="T7" fmla="*/ 135 h 199"/>
                <a:gd name="T8" fmla="*/ 13 w 115"/>
                <a:gd name="T9" fmla="*/ 116 h 199"/>
                <a:gd name="T10" fmla="*/ 11 w 115"/>
                <a:gd name="T11" fmla="*/ 105 h 199"/>
                <a:gd name="T12" fmla="*/ 15 w 115"/>
                <a:gd name="T13" fmla="*/ 79 h 199"/>
                <a:gd name="T14" fmla="*/ 3 w 115"/>
                <a:gd name="T15" fmla="*/ 65 h 199"/>
                <a:gd name="T16" fmla="*/ 0 w 115"/>
                <a:gd name="T17" fmla="*/ 54 h 199"/>
                <a:gd name="T18" fmla="*/ 2 w 115"/>
                <a:gd name="T19" fmla="*/ 27 h 199"/>
                <a:gd name="T20" fmla="*/ 16 w 115"/>
                <a:gd name="T21" fmla="*/ 21 h 199"/>
                <a:gd name="T22" fmla="*/ 25 w 115"/>
                <a:gd name="T23" fmla="*/ 14 h 199"/>
                <a:gd name="T24" fmla="*/ 32 w 115"/>
                <a:gd name="T25" fmla="*/ 0 h 199"/>
                <a:gd name="T26" fmla="*/ 34 w 115"/>
                <a:gd name="T27" fmla="*/ 13 h 199"/>
                <a:gd name="T28" fmla="*/ 38 w 115"/>
                <a:gd name="T29" fmla="*/ 27 h 199"/>
                <a:gd name="T30" fmla="*/ 45 w 115"/>
                <a:gd name="T31" fmla="*/ 34 h 199"/>
                <a:gd name="T32" fmla="*/ 56 w 115"/>
                <a:gd name="T33" fmla="*/ 38 h 199"/>
                <a:gd name="T34" fmla="*/ 70 w 115"/>
                <a:gd name="T35" fmla="*/ 58 h 199"/>
                <a:gd name="T36" fmla="*/ 82 w 115"/>
                <a:gd name="T37" fmla="*/ 48 h 199"/>
                <a:gd name="T38" fmla="*/ 93 w 115"/>
                <a:gd name="T39" fmla="*/ 60 h 199"/>
                <a:gd name="T40" fmla="*/ 101 w 115"/>
                <a:gd name="T41" fmla="*/ 80 h 199"/>
                <a:gd name="T42" fmla="*/ 106 w 115"/>
                <a:gd name="T43" fmla="*/ 91 h 199"/>
                <a:gd name="T44" fmla="*/ 114 w 115"/>
                <a:gd name="T45" fmla="*/ 93 h 199"/>
                <a:gd name="T46" fmla="*/ 114 w 115"/>
                <a:gd name="T47" fmla="*/ 116 h 199"/>
                <a:gd name="T48" fmla="*/ 99 w 115"/>
                <a:gd name="T49" fmla="*/ 119 h 199"/>
                <a:gd name="T50" fmla="*/ 85 w 115"/>
                <a:gd name="T51" fmla="*/ 110 h 199"/>
                <a:gd name="T52" fmla="*/ 70 w 115"/>
                <a:gd name="T53" fmla="*/ 124 h 199"/>
                <a:gd name="T54" fmla="*/ 64 w 115"/>
                <a:gd name="T55" fmla="*/ 141 h 199"/>
                <a:gd name="T56" fmla="*/ 50 w 115"/>
                <a:gd name="T57" fmla="*/ 139 h 199"/>
                <a:gd name="T58" fmla="*/ 40 w 115"/>
                <a:gd name="T59" fmla="*/ 170 h 199"/>
                <a:gd name="T60" fmla="*/ 49 w 115"/>
                <a:gd name="T61" fmla="*/ 185 h 199"/>
                <a:gd name="T62" fmla="*/ 36 w 115"/>
                <a:gd name="T63" fmla="*/ 198 h 199"/>
                <a:gd name="T64" fmla="*/ 25 w 115"/>
                <a:gd name="T65" fmla="*/ 190 h 199"/>
                <a:gd name="T66" fmla="*/ 14 w 115"/>
                <a:gd name="T67" fmla="*/ 17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5" h="199">
                  <a:moveTo>
                    <a:pt x="14" y="178"/>
                  </a:moveTo>
                  <a:lnTo>
                    <a:pt x="21" y="167"/>
                  </a:lnTo>
                  <a:lnTo>
                    <a:pt x="30" y="146"/>
                  </a:lnTo>
                  <a:lnTo>
                    <a:pt x="18" y="135"/>
                  </a:lnTo>
                  <a:lnTo>
                    <a:pt x="13" y="116"/>
                  </a:lnTo>
                  <a:lnTo>
                    <a:pt x="11" y="105"/>
                  </a:lnTo>
                  <a:lnTo>
                    <a:pt x="15" y="79"/>
                  </a:lnTo>
                  <a:lnTo>
                    <a:pt x="3" y="65"/>
                  </a:lnTo>
                  <a:lnTo>
                    <a:pt x="0" y="54"/>
                  </a:lnTo>
                  <a:lnTo>
                    <a:pt x="2" y="27"/>
                  </a:lnTo>
                  <a:lnTo>
                    <a:pt x="16" y="21"/>
                  </a:lnTo>
                  <a:lnTo>
                    <a:pt x="25" y="14"/>
                  </a:lnTo>
                  <a:lnTo>
                    <a:pt x="32" y="0"/>
                  </a:lnTo>
                  <a:lnTo>
                    <a:pt x="34" y="13"/>
                  </a:lnTo>
                  <a:lnTo>
                    <a:pt x="38" y="27"/>
                  </a:lnTo>
                  <a:lnTo>
                    <a:pt x="45" y="34"/>
                  </a:lnTo>
                  <a:lnTo>
                    <a:pt x="56" y="38"/>
                  </a:lnTo>
                  <a:lnTo>
                    <a:pt x="70" y="58"/>
                  </a:lnTo>
                  <a:lnTo>
                    <a:pt x="82" y="48"/>
                  </a:lnTo>
                  <a:lnTo>
                    <a:pt x="93" y="60"/>
                  </a:lnTo>
                  <a:lnTo>
                    <a:pt x="101" y="80"/>
                  </a:lnTo>
                  <a:lnTo>
                    <a:pt x="106" y="91"/>
                  </a:lnTo>
                  <a:lnTo>
                    <a:pt x="114" y="93"/>
                  </a:lnTo>
                  <a:lnTo>
                    <a:pt x="114" y="116"/>
                  </a:lnTo>
                  <a:lnTo>
                    <a:pt x="99" y="119"/>
                  </a:lnTo>
                  <a:lnTo>
                    <a:pt x="85" y="110"/>
                  </a:lnTo>
                  <a:lnTo>
                    <a:pt x="70" y="124"/>
                  </a:lnTo>
                  <a:lnTo>
                    <a:pt x="64" y="141"/>
                  </a:lnTo>
                  <a:lnTo>
                    <a:pt x="50" y="139"/>
                  </a:lnTo>
                  <a:lnTo>
                    <a:pt x="40" y="170"/>
                  </a:lnTo>
                  <a:lnTo>
                    <a:pt x="49" y="185"/>
                  </a:lnTo>
                  <a:lnTo>
                    <a:pt x="36" y="198"/>
                  </a:lnTo>
                  <a:lnTo>
                    <a:pt x="25" y="190"/>
                  </a:lnTo>
                  <a:lnTo>
                    <a:pt x="14" y="17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1" name="Freeform 173">
              <a:extLst>
                <a:ext uri="{FF2B5EF4-FFF2-40B4-BE49-F238E27FC236}">
                  <a16:creationId xmlns:a16="http://schemas.microsoft.com/office/drawing/2014/main" xmlns="" id="{F0C8D27E-FC28-44EF-A882-D819EC7A4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1791" y="2085168"/>
              <a:ext cx="257975" cy="219999"/>
            </a:xfrm>
            <a:custGeom>
              <a:avLst/>
              <a:gdLst>
                <a:gd name="T0" fmla="*/ 47 w 193"/>
                <a:gd name="T1" fmla="*/ 94 h 166"/>
                <a:gd name="T2" fmla="*/ 58 w 193"/>
                <a:gd name="T3" fmla="*/ 84 h 166"/>
                <a:gd name="T4" fmla="*/ 63 w 193"/>
                <a:gd name="T5" fmla="*/ 77 h 166"/>
                <a:gd name="T6" fmla="*/ 80 w 193"/>
                <a:gd name="T7" fmla="*/ 64 h 166"/>
                <a:gd name="T8" fmla="*/ 100 w 193"/>
                <a:gd name="T9" fmla="*/ 53 h 166"/>
                <a:gd name="T10" fmla="*/ 122 w 193"/>
                <a:gd name="T11" fmla="*/ 37 h 166"/>
                <a:gd name="T12" fmla="*/ 135 w 193"/>
                <a:gd name="T13" fmla="*/ 32 h 166"/>
                <a:gd name="T14" fmla="*/ 162 w 193"/>
                <a:gd name="T15" fmla="*/ 23 h 166"/>
                <a:gd name="T16" fmla="*/ 183 w 193"/>
                <a:gd name="T17" fmla="*/ 16 h 166"/>
                <a:gd name="T18" fmla="*/ 192 w 193"/>
                <a:gd name="T19" fmla="*/ 11 h 166"/>
                <a:gd name="T20" fmla="*/ 185 w 193"/>
                <a:gd name="T21" fmla="*/ 2 h 166"/>
                <a:gd name="T22" fmla="*/ 161 w 193"/>
                <a:gd name="T23" fmla="*/ 0 h 166"/>
                <a:gd name="T24" fmla="*/ 145 w 193"/>
                <a:gd name="T25" fmla="*/ 13 h 166"/>
                <a:gd name="T26" fmla="*/ 122 w 193"/>
                <a:gd name="T27" fmla="*/ 19 h 166"/>
                <a:gd name="T28" fmla="*/ 94 w 193"/>
                <a:gd name="T29" fmla="*/ 20 h 166"/>
                <a:gd name="T30" fmla="*/ 80 w 193"/>
                <a:gd name="T31" fmla="*/ 32 h 166"/>
                <a:gd name="T32" fmla="*/ 64 w 193"/>
                <a:gd name="T33" fmla="*/ 32 h 166"/>
                <a:gd name="T34" fmla="*/ 57 w 193"/>
                <a:gd name="T35" fmla="*/ 44 h 166"/>
                <a:gd name="T36" fmla="*/ 32 w 193"/>
                <a:gd name="T37" fmla="*/ 49 h 166"/>
                <a:gd name="T38" fmla="*/ 28 w 193"/>
                <a:gd name="T39" fmla="*/ 67 h 166"/>
                <a:gd name="T40" fmla="*/ 27 w 193"/>
                <a:gd name="T41" fmla="*/ 77 h 166"/>
                <a:gd name="T42" fmla="*/ 16 w 193"/>
                <a:gd name="T43" fmla="*/ 76 h 166"/>
                <a:gd name="T44" fmla="*/ 16 w 193"/>
                <a:gd name="T45" fmla="*/ 79 h 166"/>
                <a:gd name="T46" fmla="*/ 17 w 193"/>
                <a:gd name="T47" fmla="*/ 84 h 166"/>
                <a:gd name="T48" fmla="*/ 13 w 193"/>
                <a:gd name="T49" fmla="*/ 92 h 166"/>
                <a:gd name="T50" fmla="*/ 6 w 193"/>
                <a:gd name="T51" fmla="*/ 97 h 166"/>
                <a:gd name="T52" fmla="*/ 2 w 193"/>
                <a:gd name="T53" fmla="*/ 113 h 166"/>
                <a:gd name="T54" fmla="*/ 0 w 193"/>
                <a:gd name="T55" fmla="*/ 132 h 166"/>
                <a:gd name="T56" fmla="*/ 12 w 193"/>
                <a:gd name="T57" fmla="*/ 139 h 166"/>
                <a:gd name="T58" fmla="*/ 23 w 193"/>
                <a:gd name="T59" fmla="*/ 162 h 166"/>
                <a:gd name="T60" fmla="*/ 41 w 193"/>
                <a:gd name="T61" fmla="*/ 165 h 166"/>
                <a:gd name="T62" fmla="*/ 66 w 193"/>
                <a:gd name="T63" fmla="*/ 162 h 166"/>
                <a:gd name="T64" fmla="*/ 68 w 193"/>
                <a:gd name="T65" fmla="*/ 152 h 166"/>
                <a:gd name="T66" fmla="*/ 53 w 193"/>
                <a:gd name="T67" fmla="*/ 144 h 166"/>
                <a:gd name="T68" fmla="*/ 43 w 193"/>
                <a:gd name="T69" fmla="*/ 134 h 166"/>
                <a:gd name="T70" fmla="*/ 43 w 193"/>
                <a:gd name="T71" fmla="*/ 114 h 166"/>
                <a:gd name="T72" fmla="*/ 47 w 193"/>
                <a:gd name="T73" fmla="*/ 98 h 166"/>
                <a:gd name="T74" fmla="*/ 47 w 193"/>
                <a:gd name="T75" fmla="*/ 9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166">
                  <a:moveTo>
                    <a:pt x="47" y="94"/>
                  </a:moveTo>
                  <a:lnTo>
                    <a:pt x="58" y="84"/>
                  </a:lnTo>
                  <a:lnTo>
                    <a:pt x="63" y="77"/>
                  </a:lnTo>
                  <a:lnTo>
                    <a:pt x="80" y="64"/>
                  </a:lnTo>
                  <a:lnTo>
                    <a:pt x="100" y="53"/>
                  </a:lnTo>
                  <a:lnTo>
                    <a:pt x="122" y="37"/>
                  </a:lnTo>
                  <a:lnTo>
                    <a:pt x="135" y="32"/>
                  </a:lnTo>
                  <a:lnTo>
                    <a:pt x="162" y="23"/>
                  </a:lnTo>
                  <a:lnTo>
                    <a:pt x="183" y="16"/>
                  </a:lnTo>
                  <a:lnTo>
                    <a:pt x="192" y="11"/>
                  </a:lnTo>
                  <a:lnTo>
                    <a:pt x="185" y="2"/>
                  </a:lnTo>
                  <a:lnTo>
                    <a:pt x="161" y="0"/>
                  </a:lnTo>
                  <a:lnTo>
                    <a:pt x="145" y="13"/>
                  </a:lnTo>
                  <a:lnTo>
                    <a:pt x="122" y="19"/>
                  </a:lnTo>
                  <a:lnTo>
                    <a:pt x="94" y="20"/>
                  </a:lnTo>
                  <a:lnTo>
                    <a:pt x="80" y="32"/>
                  </a:lnTo>
                  <a:lnTo>
                    <a:pt x="64" y="32"/>
                  </a:lnTo>
                  <a:lnTo>
                    <a:pt x="57" y="44"/>
                  </a:lnTo>
                  <a:lnTo>
                    <a:pt x="32" y="49"/>
                  </a:lnTo>
                  <a:lnTo>
                    <a:pt x="28" y="67"/>
                  </a:lnTo>
                  <a:lnTo>
                    <a:pt x="27" y="77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7" y="84"/>
                  </a:lnTo>
                  <a:lnTo>
                    <a:pt x="13" y="92"/>
                  </a:lnTo>
                  <a:lnTo>
                    <a:pt x="6" y="97"/>
                  </a:lnTo>
                  <a:lnTo>
                    <a:pt x="2" y="113"/>
                  </a:lnTo>
                  <a:lnTo>
                    <a:pt x="0" y="132"/>
                  </a:lnTo>
                  <a:lnTo>
                    <a:pt x="12" y="139"/>
                  </a:lnTo>
                  <a:lnTo>
                    <a:pt x="23" y="162"/>
                  </a:lnTo>
                  <a:lnTo>
                    <a:pt x="41" y="165"/>
                  </a:lnTo>
                  <a:lnTo>
                    <a:pt x="66" y="162"/>
                  </a:lnTo>
                  <a:lnTo>
                    <a:pt x="68" y="152"/>
                  </a:lnTo>
                  <a:lnTo>
                    <a:pt x="53" y="144"/>
                  </a:lnTo>
                  <a:lnTo>
                    <a:pt x="43" y="134"/>
                  </a:lnTo>
                  <a:lnTo>
                    <a:pt x="43" y="114"/>
                  </a:lnTo>
                  <a:lnTo>
                    <a:pt x="47" y="98"/>
                  </a:lnTo>
                  <a:lnTo>
                    <a:pt x="47" y="9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2" name="Freeform 174">
              <a:extLst>
                <a:ext uri="{FF2B5EF4-FFF2-40B4-BE49-F238E27FC236}">
                  <a16:creationId xmlns:a16="http://schemas.microsoft.com/office/drawing/2014/main" xmlns="" id="{FFC87261-0605-4393-AD86-D74A51CBB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3128" y="1910359"/>
              <a:ext cx="90351" cy="68973"/>
            </a:xfrm>
            <a:custGeom>
              <a:avLst/>
              <a:gdLst>
                <a:gd name="T0" fmla="*/ 33 w 67"/>
                <a:gd name="T1" fmla="*/ 7 h 52"/>
                <a:gd name="T2" fmla="*/ 22 w 67"/>
                <a:gd name="T3" fmla="*/ 17 h 52"/>
                <a:gd name="T4" fmla="*/ 11 w 67"/>
                <a:gd name="T5" fmla="*/ 19 h 52"/>
                <a:gd name="T6" fmla="*/ 0 w 67"/>
                <a:gd name="T7" fmla="*/ 26 h 52"/>
                <a:gd name="T8" fmla="*/ 8 w 67"/>
                <a:gd name="T9" fmla="*/ 40 h 52"/>
                <a:gd name="T10" fmla="*/ 25 w 67"/>
                <a:gd name="T11" fmla="*/ 51 h 52"/>
                <a:gd name="T12" fmla="*/ 48 w 67"/>
                <a:gd name="T13" fmla="*/ 41 h 52"/>
                <a:gd name="T14" fmla="*/ 66 w 67"/>
                <a:gd name="T15" fmla="*/ 32 h 52"/>
                <a:gd name="T16" fmla="*/ 62 w 67"/>
                <a:gd name="T17" fmla="*/ 11 h 52"/>
                <a:gd name="T18" fmla="*/ 43 w 67"/>
                <a:gd name="T19" fmla="*/ 0 h 52"/>
                <a:gd name="T20" fmla="*/ 33 w 67"/>
                <a:gd name="T21" fmla="*/ 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2">
                  <a:moveTo>
                    <a:pt x="33" y="7"/>
                  </a:moveTo>
                  <a:lnTo>
                    <a:pt x="22" y="17"/>
                  </a:lnTo>
                  <a:lnTo>
                    <a:pt x="11" y="19"/>
                  </a:lnTo>
                  <a:lnTo>
                    <a:pt x="0" y="26"/>
                  </a:lnTo>
                  <a:lnTo>
                    <a:pt x="8" y="40"/>
                  </a:lnTo>
                  <a:lnTo>
                    <a:pt x="25" y="51"/>
                  </a:lnTo>
                  <a:lnTo>
                    <a:pt x="48" y="41"/>
                  </a:lnTo>
                  <a:lnTo>
                    <a:pt x="66" y="32"/>
                  </a:lnTo>
                  <a:lnTo>
                    <a:pt x="62" y="11"/>
                  </a:lnTo>
                  <a:lnTo>
                    <a:pt x="43" y="0"/>
                  </a:lnTo>
                  <a:lnTo>
                    <a:pt x="33" y="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3" name="Freeform 175">
              <a:extLst>
                <a:ext uri="{FF2B5EF4-FFF2-40B4-BE49-F238E27FC236}">
                  <a16:creationId xmlns:a16="http://schemas.microsoft.com/office/drawing/2014/main" xmlns="" id="{C940816F-5C66-4602-88E8-514D1819D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3758" y="1960304"/>
              <a:ext cx="86784" cy="58270"/>
            </a:xfrm>
            <a:custGeom>
              <a:avLst/>
              <a:gdLst>
                <a:gd name="T0" fmla="*/ 17 w 64"/>
                <a:gd name="T1" fmla="*/ 15 h 44"/>
                <a:gd name="T2" fmla="*/ 24 w 64"/>
                <a:gd name="T3" fmla="*/ 3 h 44"/>
                <a:gd name="T4" fmla="*/ 36 w 64"/>
                <a:gd name="T5" fmla="*/ 0 h 44"/>
                <a:gd name="T6" fmla="*/ 46 w 64"/>
                <a:gd name="T7" fmla="*/ 3 h 44"/>
                <a:gd name="T8" fmla="*/ 56 w 64"/>
                <a:gd name="T9" fmla="*/ 17 h 44"/>
                <a:gd name="T10" fmla="*/ 56 w 64"/>
                <a:gd name="T11" fmla="*/ 28 h 44"/>
                <a:gd name="T12" fmla="*/ 63 w 64"/>
                <a:gd name="T13" fmla="*/ 26 h 44"/>
                <a:gd name="T14" fmla="*/ 63 w 64"/>
                <a:gd name="T15" fmla="*/ 37 h 44"/>
                <a:gd name="T16" fmla="*/ 41 w 64"/>
                <a:gd name="T17" fmla="*/ 43 h 44"/>
                <a:gd name="T18" fmla="*/ 21 w 64"/>
                <a:gd name="T19" fmla="*/ 34 h 44"/>
                <a:gd name="T20" fmla="*/ 0 w 64"/>
                <a:gd name="T21" fmla="*/ 26 h 44"/>
                <a:gd name="T22" fmla="*/ 4 w 64"/>
                <a:gd name="T23" fmla="*/ 16 h 44"/>
                <a:gd name="T24" fmla="*/ 17 w 64"/>
                <a:gd name="T25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44">
                  <a:moveTo>
                    <a:pt x="17" y="15"/>
                  </a:moveTo>
                  <a:lnTo>
                    <a:pt x="24" y="3"/>
                  </a:lnTo>
                  <a:lnTo>
                    <a:pt x="36" y="0"/>
                  </a:lnTo>
                  <a:lnTo>
                    <a:pt x="46" y="3"/>
                  </a:lnTo>
                  <a:lnTo>
                    <a:pt x="56" y="17"/>
                  </a:lnTo>
                  <a:lnTo>
                    <a:pt x="56" y="28"/>
                  </a:lnTo>
                  <a:lnTo>
                    <a:pt x="63" y="26"/>
                  </a:lnTo>
                  <a:lnTo>
                    <a:pt x="63" y="37"/>
                  </a:lnTo>
                  <a:lnTo>
                    <a:pt x="41" y="43"/>
                  </a:lnTo>
                  <a:lnTo>
                    <a:pt x="21" y="34"/>
                  </a:lnTo>
                  <a:lnTo>
                    <a:pt x="0" y="26"/>
                  </a:lnTo>
                  <a:lnTo>
                    <a:pt x="4" y="16"/>
                  </a:lnTo>
                  <a:lnTo>
                    <a:pt x="17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4" name="Freeform 176">
              <a:extLst>
                <a:ext uri="{FF2B5EF4-FFF2-40B4-BE49-F238E27FC236}">
                  <a16:creationId xmlns:a16="http://schemas.microsoft.com/office/drawing/2014/main" xmlns="" id="{0CAFA41C-D246-49F6-B050-30375E30E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053" y="1984088"/>
              <a:ext cx="71330" cy="57081"/>
            </a:xfrm>
            <a:custGeom>
              <a:avLst/>
              <a:gdLst>
                <a:gd name="T0" fmla="*/ 7 w 54"/>
                <a:gd name="T1" fmla="*/ 19 h 43"/>
                <a:gd name="T2" fmla="*/ 12 w 54"/>
                <a:gd name="T3" fmla="*/ 8 h 43"/>
                <a:gd name="T4" fmla="*/ 24 w 54"/>
                <a:gd name="T5" fmla="*/ 0 h 43"/>
                <a:gd name="T6" fmla="*/ 27 w 54"/>
                <a:gd name="T7" fmla="*/ 8 h 43"/>
                <a:gd name="T8" fmla="*/ 33 w 54"/>
                <a:gd name="T9" fmla="*/ 11 h 43"/>
                <a:gd name="T10" fmla="*/ 41 w 54"/>
                <a:gd name="T11" fmla="*/ 11 h 43"/>
                <a:gd name="T12" fmla="*/ 51 w 54"/>
                <a:gd name="T13" fmla="*/ 15 h 43"/>
                <a:gd name="T14" fmla="*/ 53 w 54"/>
                <a:gd name="T15" fmla="*/ 27 h 43"/>
                <a:gd name="T16" fmla="*/ 46 w 54"/>
                <a:gd name="T17" fmla="*/ 39 h 43"/>
                <a:gd name="T18" fmla="*/ 29 w 54"/>
                <a:gd name="T19" fmla="*/ 42 h 43"/>
                <a:gd name="T20" fmla="*/ 7 w 54"/>
                <a:gd name="T21" fmla="*/ 39 h 43"/>
                <a:gd name="T22" fmla="*/ 0 w 54"/>
                <a:gd name="T23" fmla="*/ 33 h 43"/>
                <a:gd name="T24" fmla="*/ 7 w 54"/>
                <a:gd name="T25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43">
                  <a:moveTo>
                    <a:pt x="7" y="19"/>
                  </a:moveTo>
                  <a:lnTo>
                    <a:pt x="12" y="8"/>
                  </a:lnTo>
                  <a:lnTo>
                    <a:pt x="24" y="0"/>
                  </a:lnTo>
                  <a:lnTo>
                    <a:pt x="27" y="8"/>
                  </a:lnTo>
                  <a:lnTo>
                    <a:pt x="33" y="11"/>
                  </a:lnTo>
                  <a:lnTo>
                    <a:pt x="41" y="11"/>
                  </a:lnTo>
                  <a:lnTo>
                    <a:pt x="51" y="15"/>
                  </a:lnTo>
                  <a:lnTo>
                    <a:pt x="53" y="27"/>
                  </a:lnTo>
                  <a:lnTo>
                    <a:pt x="46" y="39"/>
                  </a:lnTo>
                  <a:lnTo>
                    <a:pt x="29" y="42"/>
                  </a:lnTo>
                  <a:lnTo>
                    <a:pt x="7" y="39"/>
                  </a:lnTo>
                  <a:lnTo>
                    <a:pt x="0" y="33"/>
                  </a:lnTo>
                  <a:lnTo>
                    <a:pt x="7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5" name="Freeform 177">
              <a:extLst>
                <a:ext uri="{FF2B5EF4-FFF2-40B4-BE49-F238E27FC236}">
                  <a16:creationId xmlns:a16="http://schemas.microsoft.com/office/drawing/2014/main" xmlns="" id="{FB19AE3B-087D-4F8A-BD78-3F9CFAE92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7753" y="2105385"/>
              <a:ext cx="126016" cy="58270"/>
            </a:xfrm>
            <a:custGeom>
              <a:avLst/>
              <a:gdLst>
                <a:gd name="T0" fmla="*/ 51 w 94"/>
                <a:gd name="T1" fmla="*/ 4 h 44"/>
                <a:gd name="T2" fmla="*/ 49 w 94"/>
                <a:gd name="T3" fmla="*/ 15 h 44"/>
                <a:gd name="T4" fmla="*/ 33 w 94"/>
                <a:gd name="T5" fmla="*/ 15 h 44"/>
                <a:gd name="T6" fmla="*/ 28 w 94"/>
                <a:gd name="T7" fmla="*/ 8 h 44"/>
                <a:gd name="T8" fmla="*/ 13 w 94"/>
                <a:gd name="T9" fmla="*/ 0 h 44"/>
                <a:gd name="T10" fmla="*/ 0 w 94"/>
                <a:gd name="T11" fmla="*/ 8 h 44"/>
                <a:gd name="T12" fmla="*/ 0 w 94"/>
                <a:gd name="T13" fmla="*/ 26 h 44"/>
                <a:gd name="T14" fmla="*/ 19 w 94"/>
                <a:gd name="T15" fmla="*/ 40 h 44"/>
                <a:gd name="T16" fmla="*/ 43 w 94"/>
                <a:gd name="T17" fmla="*/ 43 h 44"/>
                <a:gd name="T18" fmla="*/ 53 w 94"/>
                <a:gd name="T19" fmla="*/ 34 h 44"/>
                <a:gd name="T20" fmla="*/ 67 w 94"/>
                <a:gd name="T21" fmla="*/ 40 h 44"/>
                <a:gd name="T22" fmla="*/ 86 w 94"/>
                <a:gd name="T23" fmla="*/ 39 h 44"/>
                <a:gd name="T24" fmla="*/ 93 w 94"/>
                <a:gd name="T25" fmla="*/ 29 h 44"/>
                <a:gd name="T26" fmla="*/ 79 w 94"/>
                <a:gd name="T27" fmla="*/ 23 h 44"/>
                <a:gd name="T28" fmla="*/ 71 w 94"/>
                <a:gd name="T29" fmla="*/ 8 h 44"/>
                <a:gd name="T30" fmla="*/ 57 w 94"/>
                <a:gd name="T31" fmla="*/ 1 h 44"/>
                <a:gd name="T32" fmla="*/ 51 w 94"/>
                <a:gd name="T33" fmla="*/ 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" h="44">
                  <a:moveTo>
                    <a:pt x="51" y="4"/>
                  </a:moveTo>
                  <a:lnTo>
                    <a:pt x="49" y="15"/>
                  </a:lnTo>
                  <a:lnTo>
                    <a:pt x="33" y="15"/>
                  </a:lnTo>
                  <a:lnTo>
                    <a:pt x="28" y="8"/>
                  </a:lnTo>
                  <a:lnTo>
                    <a:pt x="13" y="0"/>
                  </a:lnTo>
                  <a:lnTo>
                    <a:pt x="0" y="8"/>
                  </a:lnTo>
                  <a:lnTo>
                    <a:pt x="0" y="26"/>
                  </a:lnTo>
                  <a:lnTo>
                    <a:pt x="19" y="40"/>
                  </a:lnTo>
                  <a:lnTo>
                    <a:pt x="43" y="43"/>
                  </a:lnTo>
                  <a:lnTo>
                    <a:pt x="53" y="34"/>
                  </a:lnTo>
                  <a:lnTo>
                    <a:pt x="67" y="40"/>
                  </a:lnTo>
                  <a:lnTo>
                    <a:pt x="86" y="39"/>
                  </a:lnTo>
                  <a:lnTo>
                    <a:pt x="93" y="29"/>
                  </a:lnTo>
                  <a:lnTo>
                    <a:pt x="79" y="23"/>
                  </a:lnTo>
                  <a:lnTo>
                    <a:pt x="71" y="8"/>
                  </a:lnTo>
                  <a:lnTo>
                    <a:pt x="57" y="1"/>
                  </a:lnTo>
                  <a:lnTo>
                    <a:pt x="51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6" name="Freeform 178">
              <a:extLst>
                <a:ext uri="{FF2B5EF4-FFF2-40B4-BE49-F238E27FC236}">
                  <a16:creationId xmlns:a16="http://schemas.microsoft.com/office/drawing/2014/main" xmlns="" id="{80A443FB-1DAB-4955-BC48-0E6FBE19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3489" y="2124411"/>
              <a:ext cx="76085" cy="30919"/>
            </a:xfrm>
            <a:custGeom>
              <a:avLst/>
              <a:gdLst>
                <a:gd name="T0" fmla="*/ 1 w 58"/>
                <a:gd name="T1" fmla="*/ 0 h 23"/>
                <a:gd name="T2" fmla="*/ 9 w 58"/>
                <a:gd name="T3" fmla="*/ 6 h 23"/>
                <a:gd name="T4" fmla="*/ 30 w 58"/>
                <a:gd name="T5" fmla="*/ 6 h 23"/>
                <a:gd name="T6" fmla="*/ 54 w 58"/>
                <a:gd name="T7" fmla="*/ 6 h 23"/>
                <a:gd name="T8" fmla="*/ 57 w 58"/>
                <a:gd name="T9" fmla="*/ 19 h 23"/>
                <a:gd name="T10" fmla="*/ 26 w 58"/>
                <a:gd name="T11" fmla="*/ 22 h 23"/>
                <a:gd name="T12" fmla="*/ 9 w 58"/>
                <a:gd name="T13" fmla="*/ 17 h 23"/>
                <a:gd name="T14" fmla="*/ 0 w 58"/>
                <a:gd name="T15" fmla="*/ 7 h 23"/>
                <a:gd name="T16" fmla="*/ 1 w 58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23">
                  <a:moveTo>
                    <a:pt x="1" y="0"/>
                  </a:moveTo>
                  <a:lnTo>
                    <a:pt x="9" y="6"/>
                  </a:lnTo>
                  <a:lnTo>
                    <a:pt x="30" y="6"/>
                  </a:lnTo>
                  <a:lnTo>
                    <a:pt x="54" y="6"/>
                  </a:lnTo>
                  <a:lnTo>
                    <a:pt x="57" y="19"/>
                  </a:lnTo>
                  <a:lnTo>
                    <a:pt x="26" y="22"/>
                  </a:lnTo>
                  <a:lnTo>
                    <a:pt x="9" y="17"/>
                  </a:lnTo>
                  <a:lnTo>
                    <a:pt x="0" y="7"/>
                  </a:lnTo>
                  <a:lnTo>
                    <a:pt x="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7" name="Freeform 179">
              <a:extLst>
                <a:ext uri="{FF2B5EF4-FFF2-40B4-BE49-F238E27FC236}">
                  <a16:creationId xmlns:a16="http://schemas.microsoft.com/office/drawing/2014/main" xmlns="" id="{271E6E66-6E09-4981-BC64-ED4EC2D18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169" y="2259978"/>
              <a:ext cx="53497" cy="35675"/>
            </a:xfrm>
            <a:custGeom>
              <a:avLst/>
              <a:gdLst>
                <a:gd name="T0" fmla="*/ 15 w 41"/>
                <a:gd name="T1" fmla="*/ 2 h 27"/>
                <a:gd name="T2" fmla="*/ 3 w 41"/>
                <a:gd name="T3" fmla="*/ 13 h 27"/>
                <a:gd name="T4" fmla="*/ 0 w 41"/>
                <a:gd name="T5" fmla="*/ 26 h 27"/>
                <a:gd name="T6" fmla="*/ 20 w 41"/>
                <a:gd name="T7" fmla="*/ 24 h 27"/>
                <a:gd name="T8" fmla="*/ 36 w 41"/>
                <a:gd name="T9" fmla="*/ 23 h 27"/>
                <a:gd name="T10" fmla="*/ 40 w 41"/>
                <a:gd name="T11" fmla="*/ 8 h 27"/>
                <a:gd name="T12" fmla="*/ 26 w 41"/>
                <a:gd name="T13" fmla="*/ 0 h 27"/>
                <a:gd name="T14" fmla="*/ 15 w 41"/>
                <a:gd name="T15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27">
                  <a:moveTo>
                    <a:pt x="15" y="2"/>
                  </a:moveTo>
                  <a:lnTo>
                    <a:pt x="3" y="13"/>
                  </a:lnTo>
                  <a:lnTo>
                    <a:pt x="0" y="26"/>
                  </a:lnTo>
                  <a:lnTo>
                    <a:pt x="20" y="24"/>
                  </a:lnTo>
                  <a:lnTo>
                    <a:pt x="36" y="23"/>
                  </a:lnTo>
                  <a:lnTo>
                    <a:pt x="40" y="8"/>
                  </a:lnTo>
                  <a:lnTo>
                    <a:pt x="26" y="0"/>
                  </a:lnTo>
                  <a:lnTo>
                    <a:pt x="15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8" name="Freeform 180">
              <a:extLst>
                <a:ext uri="{FF2B5EF4-FFF2-40B4-BE49-F238E27FC236}">
                  <a16:creationId xmlns:a16="http://schemas.microsoft.com/office/drawing/2014/main" xmlns="" id="{9EC8F80A-6F05-4C82-93A2-FCF81EFE8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260" y="3507430"/>
              <a:ext cx="316228" cy="355565"/>
            </a:xfrm>
            <a:custGeom>
              <a:avLst/>
              <a:gdLst>
                <a:gd name="T0" fmla="*/ 0 w 237"/>
                <a:gd name="T1" fmla="*/ 191 h 266"/>
                <a:gd name="T2" fmla="*/ 14 w 237"/>
                <a:gd name="T3" fmla="*/ 173 h 266"/>
                <a:gd name="T4" fmla="*/ 26 w 237"/>
                <a:gd name="T5" fmla="*/ 179 h 266"/>
                <a:gd name="T6" fmla="*/ 78 w 237"/>
                <a:gd name="T7" fmla="*/ 182 h 266"/>
                <a:gd name="T8" fmla="*/ 96 w 237"/>
                <a:gd name="T9" fmla="*/ 180 h 266"/>
                <a:gd name="T10" fmla="*/ 95 w 237"/>
                <a:gd name="T11" fmla="*/ 162 h 266"/>
                <a:gd name="T12" fmla="*/ 83 w 237"/>
                <a:gd name="T13" fmla="*/ 158 h 266"/>
                <a:gd name="T14" fmla="*/ 85 w 237"/>
                <a:gd name="T15" fmla="*/ 47 h 266"/>
                <a:gd name="T16" fmla="*/ 78 w 237"/>
                <a:gd name="T17" fmla="*/ 38 h 266"/>
                <a:gd name="T18" fmla="*/ 78 w 237"/>
                <a:gd name="T19" fmla="*/ 16 h 266"/>
                <a:gd name="T20" fmla="*/ 87 w 237"/>
                <a:gd name="T21" fmla="*/ 14 h 266"/>
                <a:gd name="T22" fmla="*/ 88 w 237"/>
                <a:gd name="T23" fmla="*/ 0 h 266"/>
                <a:gd name="T24" fmla="*/ 103 w 237"/>
                <a:gd name="T25" fmla="*/ 9 h 266"/>
                <a:gd name="T26" fmla="*/ 204 w 237"/>
                <a:gd name="T27" fmla="*/ 89 h 266"/>
                <a:gd name="T28" fmla="*/ 217 w 237"/>
                <a:gd name="T29" fmla="*/ 96 h 266"/>
                <a:gd name="T30" fmla="*/ 221 w 237"/>
                <a:gd name="T31" fmla="*/ 119 h 266"/>
                <a:gd name="T32" fmla="*/ 233 w 237"/>
                <a:gd name="T33" fmla="*/ 117 h 266"/>
                <a:gd name="T34" fmla="*/ 236 w 237"/>
                <a:gd name="T35" fmla="*/ 164 h 266"/>
                <a:gd name="T36" fmla="*/ 226 w 237"/>
                <a:gd name="T37" fmla="*/ 166 h 266"/>
                <a:gd name="T38" fmla="*/ 226 w 237"/>
                <a:gd name="T39" fmla="*/ 174 h 266"/>
                <a:gd name="T40" fmla="*/ 188 w 237"/>
                <a:gd name="T41" fmla="*/ 179 h 266"/>
                <a:gd name="T42" fmla="*/ 177 w 237"/>
                <a:gd name="T43" fmla="*/ 187 h 266"/>
                <a:gd name="T44" fmla="*/ 153 w 237"/>
                <a:gd name="T45" fmla="*/ 186 h 266"/>
                <a:gd name="T46" fmla="*/ 145 w 237"/>
                <a:gd name="T47" fmla="*/ 196 h 266"/>
                <a:gd name="T48" fmla="*/ 137 w 237"/>
                <a:gd name="T49" fmla="*/ 203 h 266"/>
                <a:gd name="T50" fmla="*/ 118 w 237"/>
                <a:gd name="T51" fmla="*/ 209 h 266"/>
                <a:gd name="T52" fmla="*/ 115 w 237"/>
                <a:gd name="T53" fmla="*/ 217 h 266"/>
                <a:gd name="T54" fmla="*/ 110 w 237"/>
                <a:gd name="T55" fmla="*/ 228 h 266"/>
                <a:gd name="T56" fmla="*/ 100 w 237"/>
                <a:gd name="T57" fmla="*/ 242 h 266"/>
                <a:gd name="T58" fmla="*/ 95 w 237"/>
                <a:gd name="T59" fmla="*/ 262 h 266"/>
                <a:gd name="T60" fmla="*/ 78 w 237"/>
                <a:gd name="T61" fmla="*/ 264 h 266"/>
                <a:gd name="T62" fmla="*/ 65 w 237"/>
                <a:gd name="T63" fmla="*/ 265 h 266"/>
                <a:gd name="T64" fmla="*/ 60 w 237"/>
                <a:gd name="T65" fmla="*/ 246 h 266"/>
                <a:gd name="T66" fmla="*/ 49 w 237"/>
                <a:gd name="T67" fmla="*/ 235 h 266"/>
                <a:gd name="T68" fmla="*/ 33 w 237"/>
                <a:gd name="T69" fmla="*/ 231 h 266"/>
                <a:gd name="T70" fmla="*/ 19 w 237"/>
                <a:gd name="T71" fmla="*/ 227 h 266"/>
                <a:gd name="T72" fmla="*/ 11 w 237"/>
                <a:gd name="T73" fmla="*/ 210 h 266"/>
                <a:gd name="T74" fmla="*/ 3 w 237"/>
                <a:gd name="T75" fmla="*/ 204 h 266"/>
                <a:gd name="T76" fmla="*/ 0 w 237"/>
                <a:gd name="T77" fmla="*/ 19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7" h="266">
                  <a:moveTo>
                    <a:pt x="0" y="191"/>
                  </a:moveTo>
                  <a:lnTo>
                    <a:pt x="14" y="173"/>
                  </a:lnTo>
                  <a:lnTo>
                    <a:pt x="26" y="179"/>
                  </a:lnTo>
                  <a:lnTo>
                    <a:pt x="78" y="182"/>
                  </a:lnTo>
                  <a:lnTo>
                    <a:pt x="96" y="180"/>
                  </a:lnTo>
                  <a:lnTo>
                    <a:pt x="95" y="162"/>
                  </a:lnTo>
                  <a:lnTo>
                    <a:pt x="83" y="158"/>
                  </a:lnTo>
                  <a:lnTo>
                    <a:pt x="85" y="47"/>
                  </a:lnTo>
                  <a:lnTo>
                    <a:pt x="78" y="38"/>
                  </a:lnTo>
                  <a:lnTo>
                    <a:pt x="78" y="16"/>
                  </a:lnTo>
                  <a:lnTo>
                    <a:pt x="87" y="14"/>
                  </a:lnTo>
                  <a:lnTo>
                    <a:pt x="88" y="0"/>
                  </a:lnTo>
                  <a:lnTo>
                    <a:pt x="103" y="9"/>
                  </a:lnTo>
                  <a:lnTo>
                    <a:pt x="204" y="89"/>
                  </a:lnTo>
                  <a:lnTo>
                    <a:pt x="217" y="96"/>
                  </a:lnTo>
                  <a:lnTo>
                    <a:pt x="221" y="119"/>
                  </a:lnTo>
                  <a:lnTo>
                    <a:pt x="233" y="117"/>
                  </a:lnTo>
                  <a:lnTo>
                    <a:pt x="236" y="164"/>
                  </a:lnTo>
                  <a:lnTo>
                    <a:pt x="226" y="166"/>
                  </a:lnTo>
                  <a:lnTo>
                    <a:pt x="226" y="174"/>
                  </a:lnTo>
                  <a:lnTo>
                    <a:pt x="188" y="179"/>
                  </a:lnTo>
                  <a:lnTo>
                    <a:pt x="177" y="187"/>
                  </a:lnTo>
                  <a:lnTo>
                    <a:pt x="153" y="186"/>
                  </a:lnTo>
                  <a:lnTo>
                    <a:pt x="145" y="196"/>
                  </a:lnTo>
                  <a:lnTo>
                    <a:pt x="137" y="203"/>
                  </a:lnTo>
                  <a:lnTo>
                    <a:pt x="118" y="209"/>
                  </a:lnTo>
                  <a:lnTo>
                    <a:pt x="115" y="217"/>
                  </a:lnTo>
                  <a:lnTo>
                    <a:pt x="110" y="228"/>
                  </a:lnTo>
                  <a:lnTo>
                    <a:pt x="100" y="242"/>
                  </a:lnTo>
                  <a:lnTo>
                    <a:pt x="95" y="262"/>
                  </a:lnTo>
                  <a:lnTo>
                    <a:pt x="78" y="264"/>
                  </a:lnTo>
                  <a:lnTo>
                    <a:pt x="65" y="265"/>
                  </a:lnTo>
                  <a:lnTo>
                    <a:pt x="60" y="246"/>
                  </a:lnTo>
                  <a:lnTo>
                    <a:pt x="49" y="235"/>
                  </a:lnTo>
                  <a:lnTo>
                    <a:pt x="33" y="231"/>
                  </a:lnTo>
                  <a:lnTo>
                    <a:pt x="19" y="227"/>
                  </a:lnTo>
                  <a:lnTo>
                    <a:pt x="11" y="210"/>
                  </a:lnTo>
                  <a:lnTo>
                    <a:pt x="3" y="204"/>
                  </a:lnTo>
                  <a:lnTo>
                    <a:pt x="0" y="19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9" name="Freeform 181">
              <a:extLst>
                <a:ext uri="{FF2B5EF4-FFF2-40B4-BE49-F238E27FC236}">
                  <a16:creationId xmlns:a16="http://schemas.microsoft.com/office/drawing/2014/main" xmlns="" id="{126DEBE6-6BBE-4B5C-B813-A8CAFDFAF0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634" y="3779753"/>
              <a:ext cx="210422" cy="209296"/>
            </a:xfrm>
            <a:custGeom>
              <a:avLst/>
              <a:gdLst>
                <a:gd name="T0" fmla="*/ 126 w 158"/>
                <a:gd name="T1" fmla="*/ 101 h 156"/>
                <a:gd name="T2" fmla="*/ 135 w 158"/>
                <a:gd name="T3" fmla="*/ 84 h 156"/>
                <a:gd name="T4" fmla="*/ 142 w 158"/>
                <a:gd name="T5" fmla="*/ 57 h 156"/>
                <a:gd name="T6" fmla="*/ 146 w 158"/>
                <a:gd name="T7" fmla="*/ 49 h 156"/>
                <a:gd name="T8" fmla="*/ 154 w 158"/>
                <a:gd name="T9" fmla="*/ 44 h 156"/>
                <a:gd name="T10" fmla="*/ 157 w 158"/>
                <a:gd name="T11" fmla="*/ 24 h 156"/>
                <a:gd name="T12" fmla="*/ 154 w 158"/>
                <a:gd name="T13" fmla="*/ 0 h 156"/>
                <a:gd name="T14" fmla="*/ 143 w 158"/>
                <a:gd name="T15" fmla="*/ 6 h 156"/>
                <a:gd name="T16" fmla="*/ 137 w 158"/>
                <a:gd name="T17" fmla="*/ 13 h 156"/>
                <a:gd name="T18" fmla="*/ 129 w 158"/>
                <a:gd name="T19" fmla="*/ 6 h 156"/>
                <a:gd name="T20" fmla="*/ 111 w 158"/>
                <a:gd name="T21" fmla="*/ 6 h 156"/>
                <a:gd name="T22" fmla="*/ 109 w 158"/>
                <a:gd name="T23" fmla="*/ 13 h 156"/>
                <a:gd name="T24" fmla="*/ 96 w 158"/>
                <a:gd name="T25" fmla="*/ 13 h 156"/>
                <a:gd name="T26" fmla="*/ 89 w 158"/>
                <a:gd name="T27" fmla="*/ 4 h 156"/>
                <a:gd name="T28" fmla="*/ 78 w 158"/>
                <a:gd name="T29" fmla="*/ 6 h 156"/>
                <a:gd name="T30" fmla="*/ 60 w 158"/>
                <a:gd name="T31" fmla="*/ 7 h 156"/>
                <a:gd name="T32" fmla="*/ 59 w 158"/>
                <a:gd name="T33" fmla="*/ 13 h 156"/>
                <a:gd name="T34" fmla="*/ 52 w 158"/>
                <a:gd name="T35" fmla="*/ 3 h 156"/>
                <a:gd name="T36" fmla="*/ 41 w 158"/>
                <a:gd name="T37" fmla="*/ 2 h 156"/>
                <a:gd name="T38" fmla="*/ 28 w 158"/>
                <a:gd name="T39" fmla="*/ 6 h 156"/>
                <a:gd name="T40" fmla="*/ 23 w 158"/>
                <a:gd name="T41" fmla="*/ 16 h 156"/>
                <a:gd name="T42" fmla="*/ 18 w 158"/>
                <a:gd name="T43" fmla="*/ 23 h 156"/>
                <a:gd name="T44" fmla="*/ 14 w 158"/>
                <a:gd name="T45" fmla="*/ 23 h 156"/>
                <a:gd name="T46" fmla="*/ 16 w 158"/>
                <a:gd name="T47" fmla="*/ 42 h 156"/>
                <a:gd name="T48" fmla="*/ 8 w 158"/>
                <a:gd name="T49" fmla="*/ 74 h 156"/>
                <a:gd name="T50" fmla="*/ 0 w 158"/>
                <a:gd name="T51" fmla="*/ 85 h 156"/>
                <a:gd name="T52" fmla="*/ 3 w 158"/>
                <a:gd name="T53" fmla="*/ 117 h 156"/>
                <a:gd name="T54" fmla="*/ 15 w 158"/>
                <a:gd name="T55" fmla="*/ 119 h 156"/>
                <a:gd name="T56" fmla="*/ 28 w 158"/>
                <a:gd name="T57" fmla="*/ 117 h 156"/>
                <a:gd name="T58" fmla="*/ 34 w 158"/>
                <a:gd name="T59" fmla="*/ 124 h 156"/>
                <a:gd name="T60" fmla="*/ 40 w 158"/>
                <a:gd name="T61" fmla="*/ 132 h 156"/>
                <a:gd name="T62" fmla="*/ 39 w 158"/>
                <a:gd name="T63" fmla="*/ 147 h 156"/>
                <a:gd name="T64" fmla="*/ 50 w 158"/>
                <a:gd name="T65" fmla="*/ 154 h 156"/>
                <a:gd name="T66" fmla="*/ 63 w 158"/>
                <a:gd name="T67" fmla="*/ 155 h 156"/>
                <a:gd name="T68" fmla="*/ 89 w 158"/>
                <a:gd name="T69" fmla="*/ 133 h 156"/>
                <a:gd name="T70" fmla="*/ 98 w 158"/>
                <a:gd name="T71" fmla="*/ 122 h 156"/>
                <a:gd name="T72" fmla="*/ 110 w 158"/>
                <a:gd name="T73" fmla="*/ 111 h 156"/>
                <a:gd name="T74" fmla="*/ 126 w 158"/>
                <a:gd name="T75" fmla="*/ 101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8" h="156">
                  <a:moveTo>
                    <a:pt x="126" y="101"/>
                  </a:moveTo>
                  <a:lnTo>
                    <a:pt x="135" y="84"/>
                  </a:lnTo>
                  <a:lnTo>
                    <a:pt x="142" y="57"/>
                  </a:lnTo>
                  <a:lnTo>
                    <a:pt x="146" y="49"/>
                  </a:lnTo>
                  <a:lnTo>
                    <a:pt x="154" y="44"/>
                  </a:lnTo>
                  <a:lnTo>
                    <a:pt x="157" y="24"/>
                  </a:lnTo>
                  <a:lnTo>
                    <a:pt x="154" y="0"/>
                  </a:lnTo>
                  <a:lnTo>
                    <a:pt x="143" y="6"/>
                  </a:lnTo>
                  <a:lnTo>
                    <a:pt x="137" y="13"/>
                  </a:lnTo>
                  <a:lnTo>
                    <a:pt x="129" y="6"/>
                  </a:lnTo>
                  <a:lnTo>
                    <a:pt x="111" y="6"/>
                  </a:lnTo>
                  <a:lnTo>
                    <a:pt x="109" y="13"/>
                  </a:lnTo>
                  <a:lnTo>
                    <a:pt x="96" y="13"/>
                  </a:lnTo>
                  <a:lnTo>
                    <a:pt x="89" y="4"/>
                  </a:lnTo>
                  <a:lnTo>
                    <a:pt x="78" y="6"/>
                  </a:lnTo>
                  <a:lnTo>
                    <a:pt x="60" y="7"/>
                  </a:lnTo>
                  <a:lnTo>
                    <a:pt x="59" y="13"/>
                  </a:lnTo>
                  <a:lnTo>
                    <a:pt x="52" y="3"/>
                  </a:lnTo>
                  <a:lnTo>
                    <a:pt x="41" y="2"/>
                  </a:lnTo>
                  <a:lnTo>
                    <a:pt x="28" y="6"/>
                  </a:lnTo>
                  <a:lnTo>
                    <a:pt x="23" y="16"/>
                  </a:lnTo>
                  <a:lnTo>
                    <a:pt x="18" y="23"/>
                  </a:lnTo>
                  <a:lnTo>
                    <a:pt x="14" y="23"/>
                  </a:lnTo>
                  <a:lnTo>
                    <a:pt x="16" y="42"/>
                  </a:lnTo>
                  <a:lnTo>
                    <a:pt x="8" y="74"/>
                  </a:lnTo>
                  <a:lnTo>
                    <a:pt x="0" y="85"/>
                  </a:lnTo>
                  <a:lnTo>
                    <a:pt x="3" y="117"/>
                  </a:lnTo>
                  <a:lnTo>
                    <a:pt x="15" y="119"/>
                  </a:lnTo>
                  <a:lnTo>
                    <a:pt x="28" y="117"/>
                  </a:lnTo>
                  <a:lnTo>
                    <a:pt x="34" y="124"/>
                  </a:lnTo>
                  <a:lnTo>
                    <a:pt x="40" y="132"/>
                  </a:lnTo>
                  <a:lnTo>
                    <a:pt x="39" y="147"/>
                  </a:lnTo>
                  <a:lnTo>
                    <a:pt x="50" y="154"/>
                  </a:lnTo>
                  <a:lnTo>
                    <a:pt x="63" y="155"/>
                  </a:lnTo>
                  <a:lnTo>
                    <a:pt x="89" y="133"/>
                  </a:lnTo>
                  <a:lnTo>
                    <a:pt x="98" y="122"/>
                  </a:lnTo>
                  <a:lnTo>
                    <a:pt x="110" y="111"/>
                  </a:lnTo>
                  <a:lnTo>
                    <a:pt x="126" y="10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0" name="Freeform 182">
              <a:extLst>
                <a:ext uri="{FF2B5EF4-FFF2-40B4-BE49-F238E27FC236}">
                  <a16:creationId xmlns:a16="http://schemas.microsoft.com/office/drawing/2014/main" xmlns="" id="{C64959D8-174D-406A-A4A8-0B75E1221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399" y="3839212"/>
              <a:ext cx="235388" cy="190269"/>
            </a:xfrm>
            <a:custGeom>
              <a:avLst/>
              <a:gdLst>
                <a:gd name="T0" fmla="*/ 174 w 177"/>
                <a:gd name="T1" fmla="*/ 101 h 142"/>
                <a:gd name="T2" fmla="*/ 166 w 177"/>
                <a:gd name="T3" fmla="*/ 100 h 142"/>
                <a:gd name="T4" fmla="*/ 150 w 177"/>
                <a:gd name="T5" fmla="*/ 103 h 142"/>
                <a:gd name="T6" fmla="*/ 136 w 177"/>
                <a:gd name="T7" fmla="*/ 101 h 142"/>
                <a:gd name="T8" fmla="*/ 135 w 177"/>
                <a:gd name="T9" fmla="*/ 108 h 142"/>
                <a:gd name="T10" fmla="*/ 106 w 177"/>
                <a:gd name="T11" fmla="*/ 110 h 142"/>
                <a:gd name="T12" fmla="*/ 103 w 177"/>
                <a:gd name="T13" fmla="*/ 116 h 142"/>
                <a:gd name="T14" fmla="*/ 79 w 177"/>
                <a:gd name="T15" fmla="*/ 120 h 142"/>
                <a:gd name="T16" fmla="*/ 74 w 177"/>
                <a:gd name="T17" fmla="*/ 109 h 142"/>
                <a:gd name="T18" fmla="*/ 64 w 177"/>
                <a:gd name="T19" fmla="*/ 105 h 142"/>
                <a:gd name="T20" fmla="*/ 58 w 177"/>
                <a:gd name="T21" fmla="*/ 114 h 142"/>
                <a:gd name="T22" fmla="*/ 51 w 177"/>
                <a:gd name="T23" fmla="*/ 117 h 142"/>
                <a:gd name="T24" fmla="*/ 46 w 177"/>
                <a:gd name="T25" fmla="*/ 121 h 142"/>
                <a:gd name="T26" fmla="*/ 35 w 177"/>
                <a:gd name="T27" fmla="*/ 123 h 142"/>
                <a:gd name="T28" fmla="*/ 28 w 177"/>
                <a:gd name="T29" fmla="*/ 132 h 142"/>
                <a:gd name="T30" fmla="*/ 22 w 177"/>
                <a:gd name="T31" fmla="*/ 141 h 142"/>
                <a:gd name="T32" fmla="*/ 17 w 177"/>
                <a:gd name="T33" fmla="*/ 132 h 142"/>
                <a:gd name="T34" fmla="*/ 10 w 177"/>
                <a:gd name="T35" fmla="*/ 111 h 142"/>
                <a:gd name="T36" fmla="*/ 0 w 177"/>
                <a:gd name="T37" fmla="*/ 94 h 142"/>
                <a:gd name="T38" fmla="*/ 6 w 177"/>
                <a:gd name="T39" fmla="*/ 75 h 142"/>
                <a:gd name="T40" fmla="*/ 13 w 177"/>
                <a:gd name="T41" fmla="*/ 66 h 142"/>
                <a:gd name="T42" fmla="*/ 21 w 177"/>
                <a:gd name="T43" fmla="*/ 61 h 142"/>
                <a:gd name="T44" fmla="*/ 35 w 177"/>
                <a:gd name="T45" fmla="*/ 62 h 142"/>
                <a:gd name="T46" fmla="*/ 39 w 177"/>
                <a:gd name="T47" fmla="*/ 53 h 142"/>
                <a:gd name="T48" fmla="*/ 55 w 177"/>
                <a:gd name="T49" fmla="*/ 52 h 142"/>
                <a:gd name="T50" fmla="*/ 62 w 177"/>
                <a:gd name="T51" fmla="*/ 42 h 142"/>
                <a:gd name="T52" fmla="*/ 75 w 177"/>
                <a:gd name="T53" fmla="*/ 38 h 142"/>
                <a:gd name="T54" fmla="*/ 80 w 177"/>
                <a:gd name="T55" fmla="*/ 27 h 142"/>
                <a:gd name="T56" fmla="*/ 90 w 177"/>
                <a:gd name="T57" fmla="*/ 24 h 142"/>
                <a:gd name="T58" fmla="*/ 96 w 177"/>
                <a:gd name="T59" fmla="*/ 12 h 142"/>
                <a:gd name="T60" fmla="*/ 106 w 177"/>
                <a:gd name="T61" fmla="*/ 3 h 142"/>
                <a:gd name="T62" fmla="*/ 113 w 177"/>
                <a:gd name="T63" fmla="*/ 0 h 142"/>
                <a:gd name="T64" fmla="*/ 119 w 177"/>
                <a:gd name="T65" fmla="*/ 11 h 142"/>
                <a:gd name="T66" fmla="*/ 126 w 177"/>
                <a:gd name="T67" fmla="*/ 26 h 142"/>
                <a:gd name="T68" fmla="*/ 124 w 177"/>
                <a:gd name="T69" fmla="*/ 38 h 142"/>
                <a:gd name="T70" fmla="*/ 131 w 177"/>
                <a:gd name="T71" fmla="*/ 41 h 142"/>
                <a:gd name="T72" fmla="*/ 132 w 177"/>
                <a:gd name="T73" fmla="*/ 50 h 142"/>
                <a:gd name="T74" fmla="*/ 143 w 177"/>
                <a:gd name="T75" fmla="*/ 47 h 142"/>
                <a:gd name="T76" fmla="*/ 146 w 177"/>
                <a:gd name="T77" fmla="*/ 61 h 142"/>
                <a:gd name="T78" fmla="*/ 159 w 177"/>
                <a:gd name="T79" fmla="*/ 64 h 142"/>
                <a:gd name="T80" fmla="*/ 162 w 177"/>
                <a:gd name="T81" fmla="*/ 80 h 142"/>
                <a:gd name="T82" fmla="*/ 169 w 177"/>
                <a:gd name="T83" fmla="*/ 83 h 142"/>
                <a:gd name="T84" fmla="*/ 173 w 177"/>
                <a:gd name="T85" fmla="*/ 89 h 142"/>
                <a:gd name="T86" fmla="*/ 176 w 177"/>
                <a:gd name="T87" fmla="*/ 94 h 142"/>
                <a:gd name="T88" fmla="*/ 174 w 177"/>
                <a:gd name="T89" fmla="*/ 10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7" h="142">
                  <a:moveTo>
                    <a:pt x="174" y="101"/>
                  </a:moveTo>
                  <a:lnTo>
                    <a:pt x="166" y="100"/>
                  </a:lnTo>
                  <a:lnTo>
                    <a:pt x="150" y="103"/>
                  </a:lnTo>
                  <a:lnTo>
                    <a:pt x="136" y="101"/>
                  </a:lnTo>
                  <a:lnTo>
                    <a:pt x="135" y="108"/>
                  </a:lnTo>
                  <a:lnTo>
                    <a:pt x="106" y="110"/>
                  </a:lnTo>
                  <a:lnTo>
                    <a:pt x="103" y="116"/>
                  </a:lnTo>
                  <a:lnTo>
                    <a:pt x="79" y="120"/>
                  </a:lnTo>
                  <a:lnTo>
                    <a:pt x="74" y="109"/>
                  </a:lnTo>
                  <a:lnTo>
                    <a:pt x="64" y="105"/>
                  </a:lnTo>
                  <a:lnTo>
                    <a:pt x="58" y="114"/>
                  </a:lnTo>
                  <a:lnTo>
                    <a:pt x="51" y="117"/>
                  </a:lnTo>
                  <a:lnTo>
                    <a:pt x="46" y="121"/>
                  </a:lnTo>
                  <a:lnTo>
                    <a:pt x="35" y="123"/>
                  </a:lnTo>
                  <a:lnTo>
                    <a:pt x="28" y="132"/>
                  </a:lnTo>
                  <a:lnTo>
                    <a:pt x="22" y="141"/>
                  </a:lnTo>
                  <a:lnTo>
                    <a:pt x="17" y="132"/>
                  </a:lnTo>
                  <a:lnTo>
                    <a:pt x="10" y="111"/>
                  </a:lnTo>
                  <a:lnTo>
                    <a:pt x="0" y="94"/>
                  </a:lnTo>
                  <a:lnTo>
                    <a:pt x="6" y="75"/>
                  </a:lnTo>
                  <a:lnTo>
                    <a:pt x="13" y="66"/>
                  </a:lnTo>
                  <a:lnTo>
                    <a:pt x="21" y="61"/>
                  </a:lnTo>
                  <a:lnTo>
                    <a:pt x="35" y="62"/>
                  </a:lnTo>
                  <a:lnTo>
                    <a:pt x="39" y="53"/>
                  </a:lnTo>
                  <a:lnTo>
                    <a:pt x="55" y="52"/>
                  </a:lnTo>
                  <a:lnTo>
                    <a:pt x="62" y="42"/>
                  </a:lnTo>
                  <a:lnTo>
                    <a:pt x="75" y="38"/>
                  </a:lnTo>
                  <a:lnTo>
                    <a:pt x="80" y="27"/>
                  </a:lnTo>
                  <a:lnTo>
                    <a:pt x="90" y="24"/>
                  </a:lnTo>
                  <a:lnTo>
                    <a:pt x="96" y="12"/>
                  </a:lnTo>
                  <a:lnTo>
                    <a:pt x="106" y="3"/>
                  </a:lnTo>
                  <a:lnTo>
                    <a:pt x="113" y="0"/>
                  </a:lnTo>
                  <a:lnTo>
                    <a:pt x="119" y="11"/>
                  </a:lnTo>
                  <a:lnTo>
                    <a:pt x="126" y="26"/>
                  </a:lnTo>
                  <a:lnTo>
                    <a:pt x="124" y="38"/>
                  </a:lnTo>
                  <a:lnTo>
                    <a:pt x="131" y="41"/>
                  </a:lnTo>
                  <a:lnTo>
                    <a:pt x="132" y="50"/>
                  </a:lnTo>
                  <a:lnTo>
                    <a:pt x="143" y="47"/>
                  </a:lnTo>
                  <a:lnTo>
                    <a:pt x="146" y="61"/>
                  </a:lnTo>
                  <a:lnTo>
                    <a:pt x="159" y="64"/>
                  </a:lnTo>
                  <a:lnTo>
                    <a:pt x="162" y="80"/>
                  </a:lnTo>
                  <a:lnTo>
                    <a:pt x="169" y="83"/>
                  </a:lnTo>
                  <a:lnTo>
                    <a:pt x="173" y="89"/>
                  </a:lnTo>
                  <a:lnTo>
                    <a:pt x="176" y="94"/>
                  </a:lnTo>
                  <a:lnTo>
                    <a:pt x="174" y="10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" name="Freeform 183">
              <a:extLst>
                <a:ext uri="{FF2B5EF4-FFF2-40B4-BE49-F238E27FC236}">
                  <a16:creationId xmlns:a16="http://schemas.microsoft.com/office/drawing/2014/main" xmlns="" id="{BE10D0AD-8DE8-4089-9EE4-D07AE1538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0667" y="3373053"/>
              <a:ext cx="204478" cy="239026"/>
            </a:xfrm>
            <a:custGeom>
              <a:avLst/>
              <a:gdLst>
                <a:gd name="T0" fmla="*/ 0 w 172"/>
                <a:gd name="T1" fmla="*/ 2 h 201"/>
                <a:gd name="T2" fmla="*/ 0 w 172"/>
                <a:gd name="T3" fmla="*/ 201 h 201"/>
                <a:gd name="T4" fmla="*/ 10 w 172"/>
                <a:gd name="T5" fmla="*/ 195 h 201"/>
                <a:gd name="T6" fmla="*/ 22 w 172"/>
                <a:gd name="T7" fmla="*/ 186 h 201"/>
                <a:gd name="T8" fmla="*/ 129 w 172"/>
                <a:gd name="T9" fmla="*/ 186 h 201"/>
                <a:gd name="T10" fmla="*/ 138 w 172"/>
                <a:gd name="T11" fmla="*/ 195 h 201"/>
                <a:gd name="T12" fmla="*/ 166 w 172"/>
                <a:gd name="T13" fmla="*/ 172 h 201"/>
                <a:gd name="T14" fmla="*/ 166 w 172"/>
                <a:gd name="T15" fmla="*/ 149 h 201"/>
                <a:gd name="T16" fmla="*/ 172 w 172"/>
                <a:gd name="T17" fmla="*/ 146 h 201"/>
                <a:gd name="T18" fmla="*/ 134 w 172"/>
                <a:gd name="T19" fmla="*/ 85 h 201"/>
                <a:gd name="T20" fmla="*/ 112 w 172"/>
                <a:gd name="T21" fmla="*/ 48 h 201"/>
                <a:gd name="T22" fmla="*/ 112 w 172"/>
                <a:gd name="T23" fmla="*/ 32 h 201"/>
                <a:gd name="T24" fmla="*/ 125 w 172"/>
                <a:gd name="T25" fmla="*/ 45 h 201"/>
                <a:gd name="T26" fmla="*/ 143 w 172"/>
                <a:gd name="T27" fmla="*/ 65 h 201"/>
                <a:gd name="T28" fmla="*/ 151 w 172"/>
                <a:gd name="T29" fmla="*/ 48 h 201"/>
                <a:gd name="T30" fmla="*/ 151 w 172"/>
                <a:gd name="T31" fmla="*/ 28 h 201"/>
                <a:gd name="T32" fmla="*/ 136 w 172"/>
                <a:gd name="T33" fmla="*/ 5 h 201"/>
                <a:gd name="T34" fmla="*/ 112 w 172"/>
                <a:gd name="T35" fmla="*/ 2 h 201"/>
                <a:gd name="T36" fmla="*/ 91 w 172"/>
                <a:gd name="T37" fmla="*/ 3 h 201"/>
                <a:gd name="T38" fmla="*/ 67 w 172"/>
                <a:gd name="T39" fmla="*/ 19 h 201"/>
                <a:gd name="T40" fmla="*/ 55 w 172"/>
                <a:gd name="T41" fmla="*/ 12 h 201"/>
                <a:gd name="T42" fmla="*/ 44 w 172"/>
                <a:gd name="T43" fmla="*/ 0 h 201"/>
                <a:gd name="T44" fmla="*/ 0 w 172"/>
                <a:gd name="T45" fmla="*/ 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2" h="201">
                  <a:moveTo>
                    <a:pt x="0" y="2"/>
                  </a:moveTo>
                  <a:lnTo>
                    <a:pt x="0" y="201"/>
                  </a:lnTo>
                  <a:lnTo>
                    <a:pt x="10" y="195"/>
                  </a:lnTo>
                  <a:lnTo>
                    <a:pt x="22" y="186"/>
                  </a:lnTo>
                  <a:lnTo>
                    <a:pt x="129" y="186"/>
                  </a:lnTo>
                  <a:lnTo>
                    <a:pt x="138" y="195"/>
                  </a:lnTo>
                  <a:lnTo>
                    <a:pt x="166" y="172"/>
                  </a:lnTo>
                  <a:lnTo>
                    <a:pt x="166" y="149"/>
                  </a:lnTo>
                  <a:lnTo>
                    <a:pt x="172" y="146"/>
                  </a:lnTo>
                  <a:lnTo>
                    <a:pt x="134" y="85"/>
                  </a:lnTo>
                  <a:lnTo>
                    <a:pt x="112" y="48"/>
                  </a:lnTo>
                  <a:lnTo>
                    <a:pt x="112" y="32"/>
                  </a:lnTo>
                  <a:lnTo>
                    <a:pt x="125" y="45"/>
                  </a:lnTo>
                  <a:lnTo>
                    <a:pt x="143" y="65"/>
                  </a:lnTo>
                  <a:lnTo>
                    <a:pt x="151" y="48"/>
                  </a:lnTo>
                  <a:lnTo>
                    <a:pt x="151" y="28"/>
                  </a:lnTo>
                  <a:lnTo>
                    <a:pt x="136" y="5"/>
                  </a:lnTo>
                  <a:lnTo>
                    <a:pt x="112" y="2"/>
                  </a:lnTo>
                  <a:lnTo>
                    <a:pt x="91" y="3"/>
                  </a:lnTo>
                  <a:lnTo>
                    <a:pt x="67" y="19"/>
                  </a:lnTo>
                  <a:lnTo>
                    <a:pt x="55" y="12"/>
                  </a:lnTo>
                  <a:lnTo>
                    <a:pt x="44" y="0"/>
                  </a:lnTo>
                  <a:lnTo>
                    <a:pt x="0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2" name="Freeform 184">
              <a:extLst>
                <a:ext uri="{FF2B5EF4-FFF2-40B4-BE49-F238E27FC236}">
                  <a16:creationId xmlns:a16="http://schemas.microsoft.com/office/drawing/2014/main" xmlns="" id="{D26219CC-9273-41D3-AF55-AEEB0FACF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509" y="3269594"/>
              <a:ext cx="237765" cy="285404"/>
            </a:xfrm>
            <a:custGeom>
              <a:avLst/>
              <a:gdLst>
                <a:gd name="T0" fmla="*/ 136 w 177"/>
                <a:gd name="T1" fmla="*/ 0 h 214"/>
                <a:gd name="T2" fmla="*/ 123 w 177"/>
                <a:gd name="T3" fmla="*/ 4 h 214"/>
                <a:gd name="T4" fmla="*/ 119 w 177"/>
                <a:gd name="T5" fmla="*/ 20 h 214"/>
                <a:gd name="T6" fmla="*/ 113 w 177"/>
                <a:gd name="T7" fmla="*/ 38 h 214"/>
                <a:gd name="T8" fmla="*/ 107 w 177"/>
                <a:gd name="T9" fmla="*/ 54 h 214"/>
                <a:gd name="T10" fmla="*/ 97 w 177"/>
                <a:gd name="T11" fmla="*/ 60 h 214"/>
                <a:gd name="T12" fmla="*/ 94 w 177"/>
                <a:gd name="T13" fmla="*/ 78 h 214"/>
                <a:gd name="T14" fmla="*/ 81 w 177"/>
                <a:gd name="T15" fmla="*/ 78 h 214"/>
                <a:gd name="T16" fmla="*/ 65 w 177"/>
                <a:gd name="T17" fmla="*/ 89 h 214"/>
                <a:gd name="T18" fmla="*/ 53 w 177"/>
                <a:gd name="T19" fmla="*/ 97 h 214"/>
                <a:gd name="T20" fmla="*/ 47 w 177"/>
                <a:gd name="T21" fmla="*/ 112 h 214"/>
                <a:gd name="T22" fmla="*/ 6 w 177"/>
                <a:gd name="T23" fmla="*/ 117 h 214"/>
                <a:gd name="T24" fmla="*/ 0 w 177"/>
                <a:gd name="T25" fmla="*/ 129 h 214"/>
                <a:gd name="T26" fmla="*/ 4 w 177"/>
                <a:gd name="T27" fmla="*/ 145 h 214"/>
                <a:gd name="T28" fmla="*/ 15 w 177"/>
                <a:gd name="T29" fmla="*/ 147 h 214"/>
                <a:gd name="T30" fmla="*/ 20 w 177"/>
                <a:gd name="T31" fmla="*/ 155 h 214"/>
                <a:gd name="T32" fmla="*/ 12 w 177"/>
                <a:gd name="T33" fmla="*/ 166 h 214"/>
                <a:gd name="T34" fmla="*/ 0 w 177"/>
                <a:gd name="T35" fmla="*/ 170 h 214"/>
                <a:gd name="T36" fmla="*/ 12 w 177"/>
                <a:gd name="T37" fmla="*/ 174 h 214"/>
                <a:gd name="T38" fmla="*/ 18 w 177"/>
                <a:gd name="T39" fmla="*/ 187 h 214"/>
                <a:gd name="T40" fmla="*/ 42 w 177"/>
                <a:gd name="T41" fmla="*/ 187 h 214"/>
                <a:gd name="T42" fmla="*/ 59 w 177"/>
                <a:gd name="T43" fmla="*/ 181 h 214"/>
                <a:gd name="T44" fmla="*/ 61 w 177"/>
                <a:gd name="T45" fmla="*/ 193 h 214"/>
                <a:gd name="T46" fmla="*/ 78 w 177"/>
                <a:gd name="T47" fmla="*/ 204 h 214"/>
                <a:gd name="T48" fmla="*/ 91 w 177"/>
                <a:gd name="T49" fmla="*/ 213 h 214"/>
                <a:gd name="T50" fmla="*/ 99 w 177"/>
                <a:gd name="T51" fmla="*/ 204 h 214"/>
                <a:gd name="T52" fmla="*/ 127 w 177"/>
                <a:gd name="T53" fmla="*/ 204 h 214"/>
                <a:gd name="T54" fmla="*/ 129 w 177"/>
                <a:gd name="T55" fmla="*/ 192 h 214"/>
                <a:gd name="T56" fmla="*/ 113 w 177"/>
                <a:gd name="T57" fmla="*/ 171 h 214"/>
                <a:gd name="T58" fmla="*/ 102 w 177"/>
                <a:gd name="T59" fmla="*/ 158 h 214"/>
                <a:gd name="T60" fmla="*/ 106 w 177"/>
                <a:gd name="T61" fmla="*/ 144 h 214"/>
                <a:gd name="T62" fmla="*/ 115 w 177"/>
                <a:gd name="T63" fmla="*/ 135 h 214"/>
                <a:gd name="T64" fmla="*/ 140 w 177"/>
                <a:gd name="T65" fmla="*/ 144 h 214"/>
                <a:gd name="T66" fmla="*/ 144 w 177"/>
                <a:gd name="T67" fmla="*/ 134 h 214"/>
                <a:gd name="T68" fmla="*/ 146 w 177"/>
                <a:gd name="T69" fmla="*/ 123 h 214"/>
                <a:gd name="T70" fmla="*/ 161 w 177"/>
                <a:gd name="T71" fmla="*/ 109 h 214"/>
                <a:gd name="T72" fmla="*/ 167 w 177"/>
                <a:gd name="T73" fmla="*/ 95 h 214"/>
                <a:gd name="T74" fmla="*/ 176 w 177"/>
                <a:gd name="T75" fmla="*/ 85 h 214"/>
                <a:gd name="T76" fmla="*/ 174 w 177"/>
                <a:gd name="T77" fmla="*/ 63 h 214"/>
                <a:gd name="T78" fmla="*/ 161 w 177"/>
                <a:gd name="T79" fmla="*/ 52 h 214"/>
                <a:gd name="T80" fmla="*/ 162 w 177"/>
                <a:gd name="T81" fmla="*/ 32 h 214"/>
                <a:gd name="T82" fmla="*/ 155 w 177"/>
                <a:gd name="T83" fmla="*/ 22 h 214"/>
                <a:gd name="T84" fmla="*/ 157 w 177"/>
                <a:gd name="T85" fmla="*/ 9 h 214"/>
                <a:gd name="T86" fmla="*/ 146 w 177"/>
                <a:gd name="T87" fmla="*/ 2 h 214"/>
                <a:gd name="T88" fmla="*/ 136 w 177"/>
                <a:gd name="T8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7" h="214">
                  <a:moveTo>
                    <a:pt x="136" y="0"/>
                  </a:moveTo>
                  <a:lnTo>
                    <a:pt x="123" y="4"/>
                  </a:lnTo>
                  <a:lnTo>
                    <a:pt x="119" y="20"/>
                  </a:lnTo>
                  <a:lnTo>
                    <a:pt x="113" y="38"/>
                  </a:lnTo>
                  <a:lnTo>
                    <a:pt x="107" y="54"/>
                  </a:lnTo>
                  <a:lnTo>
                    <a:pt x="97" y="60"/>
                  </a:lnTo>
                  <a:lnTo>
                    <a:pt x="94" y="78"/>
                  </a:lnTo>
                  <a:lnTo>
                    <a:pt x="81" y="78"/>
                  </a:lnTo>
                  <a:lnTo>
                    <a:pt x="65" y="89"/>
                  </a:lnTo>
                  <a:lnTo>
                    <a:pt x="53" y="97"/>
                  </a:lnTo>
                  <a:lnTo>
                    <a:pt x="47" y="112"/>
                  </a:lnTo>
                  <a:lnTo>
                    <a:pt x="6" y="117"/>
                  </a:lnTo>
                  <a:lnTo>
                    <a:pt x="0" y="129"/>
                  </a:lnTo>
                  <a:lnTo>
                    <a:pt x="4" y="145"/>
                  </a:lnTo>
                  <a:lnTo>
                    <a:pt x="15" y="147"/>
                  </a:lnTo>
                  <a:lnTo>
                    <a:pt x="20" y="155"/>
                  </a:lnTo>
                  <a:lnTo>
                    <a:pt x="12" y="166"/>
                  </a:lnTo>
                  <a:lnTo>
                    <a:pt x="0" y="170"/>
                  </a:lnTo>
                  <a:lnTo>
                    <a:pt x="12" y="174"/>
                  </a:lnTo>
                  <a:lnTo>
                    <a:pt x="18" y="187"/>
                  </a:lnTo>
                  <a:lnTo>
                    <a:pt x="42" y="187"/>
                  </a:lnTo>
                  <a:lnTo>
                    <a:pt x="59" y="181"/>
                  </a:lnTo>
                  <a:lnTo>
                    <a:pt x="61" y="193"/>
                  </a:lnTo>
                  <a:lnTo>
                    <a:pt x="78" y="204"/>
                  </a:lnTo>
                  <a:lnTo>
                    <a:pt x="91" y="213"/>
                  </a:lnTo>
                  <a:lnTo>
                    <a:pt x="99" y="204"/>
                  </a:lnTo>
                  <a:lnTo>
                    <a:pt x="127" y="204"/>
                  </a:lnTo>
                  <a:lnTo>
                    <a:pt x="129" y="192"/>
                  </a:lnTo>
                  <a:lnTo>
                    <a:pt x="113" y="171"/>
                  </a:lnTo>
                  <a:lnTo>
                    <a:pt x="102" y="158"/>
                  </a:lnTo>
                  <a:lnTo>
                    <a:pt x="106" y="144"/>
                  </a:lnTo>
                  <a:lnTo>
                    <a:pt x="115" y="135"/>
                  </a:lnTo>
                  <a:lnTo>
                    <a:pt x="140" y="144"/>
                  </a:lnTo>
                  <a:lnTo>
                    <a:pt x="144" y="134"/>
                  </a:lnTo>
                  <a:lnTo>
                    <a:pt x="146" y="123"/>
                  </a:lnTo>
                  <a:lnTo>
                    <a:pt x="161" y="109"/>
                  </a:lnTo>
                  <a:lnTo>
                    <a:pt x="167" y="95"/>
                  </a:lnTo>
                  <a:lnTo>
                    <a:pt x="176" y="85"/>
                  </a:lnTo>
                  <a:lnTo>
                    <a:pt x="174" y="63"/>
                  </a:lnTo>
                  <a:lnTo>
                    <a:pt x="161" y="52"/>
                  </a:lnTo>
                  <a:lnTo>
                    <a:pt x="162" y="32"/>
                  </a:lnTo>
                  <a:lnTo>
                    <a:pt x="155" y="22"/>
                  </a:lnTo>
                  <a:lnTo>
                    <a:pt x="157" y="9"/>
                  </a:lnTo>
                  <a:lnTo>
                    <a:pt x="146" y="2"/>
                  </a:lnTo>
                  <a:lnTo>
                    <a:pt x="136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3" name="Freeform 185">
              <a:extLst>
                <a:ext uri="{FF2B5EF4-FFF2-40B4-BE49-F238E27FC236}">
                  <a16:creationId xmlns:a16="http://schemas.microsoft.com/office/drawing/2014/main" xmlns="" id="{A24DBCAA-0A45-43C6-A88C-DB995E154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258" y="3194676"/>
              <a:ext cx="72518" cy="117729"/>
            </a:xfrm>
            <a:custGeom>
              <a:avLst/>
              <a:gdLst>
                <a:gd name="T0" fmla="*/ 25 w 55"/>
                <a:gd name="T1" fmla="*/ 0 h 87"/>
                <a:gd name="T2" fmla="*/ 20 w 55"/>
                <a:gd name="T3" fmla="*/ 15 h 87"/>
                <a:gd name="T4" fmla="*/ 0 w 55"/>
                <a:gd name="T5" fmla="*/ 23 h 87"/>
                <a:gd name="T6" fmla="*/ 8 w 55"/>
                <a:gd name="T7" fmla="*/ 35 h 87"/>
                <a:gd name="T8" fmla="*/ 7 w 55"/>
                <a:gd name="T9" fmla="*/ 46 h 87"/>
                <a:gd name="T10" fmla="*/ 19 w 55"/>
                <a:gd name="T11" fmla="*/ 51 h 87"/>
                <a:gd name="T12" fmla="*/ 17 w 55"/>
                <a:gd name="T13" fmla="*/ 79 h 87"/>
                <a:gd name="T14" fmla="*/ 32 w 55"/>
                <a:gd name="T15" fmla="*/ 86 h 87"/>
                <a:gd name="T16" fmla="*/ 54 w 55"/>
                <a:gd name="T17" fmla="*/ 72 h 87"/>
                <a:gd name="T18" fmla="*/ 54 w 55"/>
                <a:gd name="T19" fmla="*/ 38 h 87"/>
                <a:gd name="T20" fmla="*/ 25 w 55"/>
                <a:gd name="T2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87">
                  <a:moveTo>
                    <a:pt x="25" y="0"/>
                  </a:moveTo>
                  <a:lnTo>
                    <a:pt x="20" y="15"/>
                  </a:lnTo>
                  <a:lnTo>
                    <a:pt x="0" y="23"/>
                  </a:lnTo>
                  <a:lnTo>
                    <a:pt x="8" y="35"/>
                  </a:lnTo>
                  <a:lnTo>
                    <a:pt x="7" y="46"/>
                  </a:lnTo>
                  <a:lnTo>
                    <a:pt x="19" y="51"/>
                  </a:lnTo>
                  <a:lnTo>
                    <a:pt x="17" y="79"/>
                  </a:lnTo>
                  <a:lnTo>
                    <a:pt x="32" y="86"/>
                  </a:lnTo>
                  <a:lnTo>
                    <a:pt x="54" y="72"/>
                  </a:lnTo>
                  <a:lnTo>
                    <a:pt x="54" y="38"/>
                  </a:lnTo>
                  <a:lnTo>
                    <a:pt x="2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4" name="Freeform 186">
              <a:extLst>
                <a:ext uri="{FF2B5EF4-FFF2-40B4-BE49-F238E27FC236}">
                  <a16:creationId xmlns:a16="http://schemas.microsoft.com/office/drawing/2014/main" xmlns="" id="{B86CC695-4780-4E78-A0FD-BD3940346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9925" y="2798678"/>
              <a:ext cx="71330" cy="145080"/>
            </a:xfrm>
            <a:custGeom>
              <a:avLst/>
              <a:gdLst>
                <a:gd name="T0" fmla="*/ 3 w 54"/>
                <a:gd name="T1" fmla="*/ 9 h 109"/>
                <a:gd name="T2" fmla="*/ 3 w 54"/>
                <a:gd name="T3" fmla="*/ 20 h 109"/>
                <a:gd name="T4" fmla="*/ 8 w 54"/>
                <a:gd name="T5" fmla="*/ 34 h 109"/>
                <a:gd name="T6" fmla="*/ 12 w 54"/>
                <a:gd name="T7" fmla="*/ 52 h 109"/>
                <a:gd name="T8" fmla="*/ 17 w 54"/>
                <a:gd name="T9" fmla="*/ 72 h 109"/>
                <a:gd name="T10" fmla="*/ 26 w 54"/>
                <a:gd name="T11" fmla="*/ 81 h 109"/>
                <a:gd name="T12" fmla="*/ 21 w 54"/>
                <a:gd name="T13" fmla="*/ 95 h 109"/>
                <a:gd name="T14" fmla="*/ 23 w 54"/>
                <a:gd name="T15" fmla="*/ 101 h 109"/>
                <a:gd name="T16" fmla="*/ 29 w 54"/>
                <a:gd name="T17" fmla="*/ 101 h 109"/>
                <a:gd name="T18" fmla="*/ 45 w 54"/>
                <a:gd name="T19" fmla="*/ 108 h 109"/>
                <a:gd name="T20" fmla="*/ 53 w 54"/>
                <a:gd name="T21" fmla="*/ 102 h 109"/>
                <a:gd name="T22" fmla="*/ 45 w 54"/>
                <a:gd name="T23" fmla="*/ 83 h 109"/>
                <a:gd name="T24" fmla="*/ 34 w 54"/>
                <a:gd name="T25" fmla="*/ 55 h 109"/>
                <a:gd name="T26" fmla="*/ 44 w 54"/>
                <a:gd name="T27" fmla="*/ 57 h 109"/>
                <a:gd name="T28" fmla="*/ 30 w 54"/>
                <a:gd name="T29" fmla="*/ 37 h 109"/>
                <a:gd name="T30" fmla="*/ 19 w 54"/>
                <a:gd name="T31" fmla="*/ 23 h 109"/>
                <a:gd name="T32" fmla="*/ 16 w 54"/>
                <a:gd name="T33" fmla="*/ 3 h 109"/>
                <a:gd name="T34" fmla="*/ 0 w 54"/>
                <a:gd name="T35" fmla="*/ 0 h 109"/>
                <a:gd name="T36" fmla="*/ 3 w 54"/>
                <a:gd name="T37" fmla="*/ 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109">
                  <a:moveTo>
                    <a:pt x="3" y="9"/>
                  </a:moveTo>
                  <a:lnTo>
                    <a:pt x="3" y="20"/>
                  </a:lnTo>
                  <a:lnTo>
                    <a:pt x="8" y="34"/>
                  </a:lnTo>
                  <a:lnTo>
                    <a:pt x="12" y="52"/>
                  </a:lnTo>
                  <a:lnTo>
                    <a:pt x="17" y="72"/>
                  </a:lnTo>
                  <a:lnTo>
                    <a:pt x="26" y="81"/>
                  </a:lnTo>
                  <a:lnTo>
                    <a:pt x="21" y="95"/>
                  </a:lnTo>
                  <a:lnTo>
                    <a:pt x="23" y="101"/>
                  </a:lnTo>
                  <a:lnTo>
                    <a:pt x="29" y="101"/>
                  </a:lnTo>
                  <a:lnTo>
                    <a:pt x="45" y="108"/>
                  </a:lnTo>
                  <a:lnTo>
                    <a:pt x="53" y="102"/>
                  </a:lnTo>
                  <a:lnTo>
                    <a:pt x="45" y="83"/>
                  </a:lnTo>
                  <a:lnTo>
                    <a:pt x="34" y="55"/>
                  </a:lnTo>
                  <a:lnTo>
                    <a:pt x="44" y="57"/>
                  </a:lnTo>
                  <a:lnTo>
                    <a:pt x="30" y="37"/>
                  </a:lnTo>
                  <a:lnTo>
                    <a:pt x="19" y="23"/>
                  </a:lnTo>
                  <a:lnTo>
                    <a:pt x="16" y="3"/>
                  </a:lnTo>
                  <a:lnTo>
                    <a:pt x="0" y="0"/>
                  </a:lnTo>
                  <a:lnTo>
                    <a:pt x="3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5" name="Freeform 187">
              <a:extLst>
                <a:ext uri="{FF2B5EF4-FFF2-40B4-BE49-F238E27FC236}">
                  <a16:creationId xmlns:a16="http://schemas.microsoft.com/office/drawing/2014/main" xmlns="" id="{DFC54DD0-45AC-4315-BF9E-57A9C8F80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0958" y="3336188"/>
              <a:ext cx="545671" cy="569618"/>
            </a:xfrm>
            <a:custGeom>
              <a:avLst/>
              <a:gdLst>
                <a:gd name="T0" fmla="*/ 407 w 409"/>
                <a:gd name="T1" fmla="*/ 105 h 426"/>
                <a:gd name="T2" fmla="*/ 377 w 409"/>
                <a:gd name="T3" fmla="*/ 129 h 426"/>
                <a:gd name="T4" fmla="*/ 359 w 409"/>
                <a:gd name="T5" fmla="*/ 163 h 426"/>
                <a:gd name="T6" fmla="*/ 349 w 409"/>
                <a:gd name="T7" fmla="*/ 184 h 426"/>
                <a:gd name="T8" fmla="*/ 341 w 409"/>
                <a:gd name="T9" fmla="*/ 143 h 426"/>
                <a:gd name="T10" fmla="*/ 309 w 409"/>
                <a:gd name="T11" fmla="*/ 131 h 426"/>
                <a:gd name="T12" fmla="*/ 281 w 409"/>
                <a:gd name="T13" fmla="*/ 148 h 426"/>
                <a:gd name="T14" fmla="*/ 292 w 409"/>
                <a:gd name="T15" fmla="*/ 190 h 426"/>
                <a:gd name="T16" fmla="*/ 272 w 409"/>
                <a:gd name="T17" fmla="*/ 198 h 426"/>
                <a:gd name="T18" fmla="*/ 267 w 409"/>
                <a:gd name="T19" fmla="*/ 221 h 426"/>
                <a:gd name="T20" fmla="*/ 238 w 409"/>
                <a:gd name="T21" fmla="*/ 243 h 426"/>
                <a:gd name="T22" fmla="*/ 213 w 409"/>
                <a:gd name="T23" fmla="*/ 262 h 426"/>
                <a:gd name="T24" fmla="*/ 191 w 409"/>
                <a:gd name="T25" fmla="*/ 293 h 426"/>
                <a:gd name="T26" fmla="*/ 176 w 409"/>
                <a:gd name="T27" fmla="*/ 357 h 426"/>
                <a:gd name="T28" fmla="*/ 176 w 409"/>
                <a:gd name="T29" fmla="*/ 383 h 426"/>
                <a:gd name="T30" fmla="*/ 156 w 409"/>
                <a:gd name="T31" fmla="*/ 417 h 426"/>
                <a:gd name="T32" fmla="*/ 131 w 409"/>
                <a:gd name="T33" fmla="*/ 419 h 426"/>
                <a:gd name="T34" fmla="*/ 110 w 409"/>
                <a:gd name="T35" fmla="*/ 361 h 426"/>
                <a:gd name="T36" fmla="*/ 77 w 409"/>
                <a:gd name="T37" fmla="*/ 290 h 426"/>
                <a:gd name="T38" fmla="*/ 70 w 409"/>
                <a:gd name="T39" fmla="*/ 224 h 426"/>
                <a:gd name="T40" fmla="*/ 59 w 409"/>
                <a:gd name="T41" fmla="*/ 184 h 426"/>
                <a:gd name="T42" fmla="*/ 48 w 409"/>
                <a:gd name="T43" fmla="*/ 208 h 426"/>
                <a:gd name="T44" fmla="*/ 11 w 409"/>
                <a:gd name="T45" fmla="*/ 185 h 426"/>
                <a:gd name="T46" fmla="*/ 7 w 409"/>
                <a:gd name="T47" fmla="*/ 175 h 426"/>
                <a:gd name="T48" fmla="*/ 8 w 409"/>
                <a:gd name="T49" fmla="*/ 154 h 426"/>
                <a:gd name="T50" fmla="*/ 38 w 409"/>
                <a:gd name="T51" fmla="*/ 142 h 426"/>
                <a:gd name="T52" fmla="*/ 11 w 409"/>
                <a:gd name="T53" fmla="*/ 109 h 426"/>
                <a:gd name="T54" fmla="*/ 25 w 409"/>
                <a:gd name="T55" fmla="*/ 86 h 426"/>
                <a:gd name="T56" fmla="*/ 53 w 409"/>
                <a:gd name="T57" fmla="*/ 84 h 426"/>
                <a:gd name="T58" fmla="*/ 70 w 409"/>
                <a:gd name="T59" fmla="*/ 59 h 426"/>
                <a:gd name="T60" fmla="*/ 86 w 409"/>
                <a:gd name="T61" fmla="*/ 36 h 426"/>
                <a:gd name="T62" fmla="*/ 104 w 409"/>
                <a:gd name="T63" fmla="*/ 0 h 426"/>
                <a:gd name="T64" fmla="*/ 132 w 409"/>
                <a:gd name="T65" fmla="*/ 10 h 426"/>
                <a:gd name="T66" fmla="*/ 154 w 409"/>
                <a:gd name="T67" fmla="*/ 41 h 426"/>
                <a:gd name="T68" fmla="*/ 169 w 409"/>
                <a:gd name="T69" fmla="*/ 78 h 426"/>
                <a:gd name="T70" fmla="*/ 198 w 409"/>
                <a:gd name="T71" fmla="*/ 97 h 426"/>
                <a:gd name="T72" fmla="*/ 238 w 409"/>
                <a:gd name="T73" fmla="*/ 109 h 426"/>
                <a:gd name="T74" fmla="*/ 265 w 409"/>
                <a:gd name="T75" fmla="*/ 115 h 426"/>
                <a:gd name="T76" fmla="*/ 287 w 409"/>
                <a:gd name="T77" fmla="*/ 101 h 426"/>
                <a:gd name="T78" fmla="*/ 310 w 409"/>
                <a:gd name="T79" fmla="*/ 94 h 426"/>
                <a:gd name="T80" fmla="*/ 342 w 409"/>
                <a:gd name="T81" fmla="*/ 83 h 426"/>
                <a:gd name="T82" fmla="*/ 383 w 409"/>
                <a:gd name="T83" fmla="*/ 73 h 426"/>
                <a:gd name="T84" fmla="*/ 408 w 409"/>
                <a:gd name="T85" fmla="*/ 97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9" h="426">
                  <a:moveTo>
                    <a:pt x="408" y="97"/>
                  </a:moveTo>
                  <a:lnTo>
                    <a:pt x="407" y="105"/>
                  </a:lnTo>
                  <a:lnTo>
                    <a:pt x="388" y="115"/>
                  </a:lnTo>
                  <a:lnTo>
                    <a:pt x="377" y="129"/>
                  </a:lnTo>
                  <a:lnTo>
                    <a:pt x="372" y="148"/>
                  </a:lnTo>
                  <a:lnTo>
                    <a:pt x="359" y="163"/>
                  </a:lnTo>
                  <a:lnTo>
                    <a:pt x="359" y="192"/>
                  </a:lnTo>
                  <a:lnTo>
                    <a:pt x="349" y="184"/>
                  </a:lnTo>
                  <a:lnTo>
                    <a:pt x="344" y="160"/>
                  </a:lnTo>
                  <a:lnTo>
                    <a:pt x="341" y="143"/>
                  </a:lnTo>
                  <a:lnTo>
                    <a:pt x="323" y="133"/>
                  </a:lnTo>
                  <a:lnTo>
                    <a:pt x="309" y="131"/>
                  </a:lnTo>
                  <a:lnTo>
                    <a:pt x="291" y="118"/>
                  </a:lnTo>
                  <a:lnTo>
                    <a:pt x="281" y="148"/>
                  </a:lnTo>
                  <a:lnTo>
                    <a:pt x="291" y="152"/>
                  </a:lnTo>
                  <a:lnTo>
                    <a:pt x="292" y="190"/>
                  </a:lnTo>
                  <a:lnTo>
                    <a:pt x="282" y="192"/>
                  </a:lnTo>
                  <a:lnTo>
                    <a:pt x="272" y="198"/>
                  </a:lnTo>
                  <a:lnTo>
                    <a:pt x="272" y="216"/>
                  </a:lnTo>
                  <a:lnTo>
                    <a:pt x="267" y="221"/>
                  </a:lnTo>
                  <a:lnTo>
                    <a:pt x="256" y="237"/>
                  </a:lnTo>
                  <a:lnTo>
                    <a:pt x="238" y="243"/>
                  </a:lnTo>
                  <a:lnTo>
                    <a:pt x="228" y="256"/>
                  </a:lnTo>
                  <a:lnTo>
                    <a:pt x="213" y="262"/>
                  </a:lnTo>
                  <a:lnTo>
                    <a:pt x="206" y="282"/>
                  </a:lnTo>
                  <a:lnTo>
                    <a:pt x="191" y="293"/>
                  </a:lnTo>
                  <a:lnTo>
                    <a:pt x="170" y="305"/>
                  </a:lnTo>
                  <a:lnTo>
                    <a:pt x="176" y="357"/>
                  </a:lnTo>
                  <a:lnTo>
                    <a:pt x="170" y="359"/>
                  </a:lnTo>
                  <a:lnTo>
                    <a:pt x="176" y="383"/>
                  </a:lnTo>
                  <a:lnTo>
                    <a:pt x="165" y="400"/>
                  </a:lnTo>
                  <a:lnTo>
                    <a:pt x="156" y="417"/>
                  </a:lnTo>
                  <a:lnTo>
                    <a:pt x="139" y="425"/>
                  </a:lnTo>
                  <a:lnTo>
                    <a:pt x="131" y="419"/>
                  </a:lnTo>
                  <a:lnTo>
                    <a:pt x="128" y="400"/>
                  </a:lnTo>
                  <a:lnTo>
                    <a:pt x="110" y="361"/>
                  </a:lnTo>
                  <a:lnTo>
                    <a:pt x="95" y="316"/>
                  </a:lnTo>
                  <a:lnTo>
                    <a:pt x="77" y="290"/>
                  </a:lnTo>
                  <a:lnTo>
                    <a:pt x="70" y="255"/>
                  </a:lnTo>
                  <a:lnTo>
                    <a:pt x="70" y="224"/>
                  </a:lnTo>
                  <a:lnTo>
                    <a:pt x="66" y="199"/>
                  </a:lnTo>
                  <a:lnTo>
                    <a:pt x="59" y="184"/>
                  </a:lnTo>
                  <a:lnTo>
                    <a:pt x="59" y="198"/>
                  </a:lnTo>
                  <a:lnTo>
                    <a:pt x="48" y="208"/>
                  </a:lnTo>
                  <a:lnTo>
                    <a:pt x="27" y="207"/>
                  </a:lnTo>
                  <a:lnTo>
                    <a:pt x="11" y="185"/>
                  </a:lnTo>
                  <a:lnTo>
                    <a:pt x="20" y="174"/>
                  </a:lnTo>
                  <a:lnTo>
                    <a:pt x="7" y="175"/>
                  </a:lnTo>
                  <a:lnTo>
                    <a:pt x="0" y="163"/>
                  </a:lnTo>
                  <a:lnTo>
                    <a:pt x="8" y="154"/>
                  </a:lnTo>
                  <a:lnTo>
                    <a:pt x="36" y="154"/>
                  </a:lnTo>
                  <a:lnTo>
                    <a:pt x="38" y="142"/>
                  </a:lnTo>
                  <a:lnTo>
                    <a:pt x="23" y="121"/>
                  </a:lnTo>
                  <a:lnTo>
                    <a:pt x="11" y="109"/>
                  </a:lnTo>
                  <a:lnTo>
                    <a:pt x="15" y="94"/>
                  </a:lnTo>
                  <a:lnTo>
                    <a:pt x="25" y="86"/>
                  </a:lnTo>
                  <a:lnTo>
                    <a:pt x="49" y="94"/>
                  </a:lnTo>
                  <a:lnTo>
                    <a:pt x="53" y="84"/>
                  </a:lnTo>
                  <a:lnTo>
                    <a:pt x="55" y="73"/>
                  </a:lnTo>
                  <a:lnTo>
                    <a:pt x="70" y="59"/>
                  </a:lnTo>
                  <a:lnTo>
                    <a:pt x="76" y="46"/>
                  </a:lnTo>
                  <a:lnTo>
                    <a:pt x="86" y="36"/>
                  </a:lnTo>
                  <a:lnTo>
                    <a:pt x="84" y="14"/>
                  </a:lnTo>
                  <a:lnTo>
                    <a:pt x="104" y="0"/>
                  </a:lnTo>
                  <a:lnTo>
                    <a:pt x="121" y="2"/>
                  </a:lnTo>
                  <a:lnTo>
                    <a:pt x="132" y="10"/>
                  </a:lnTo>
                  <a:lnTo>
                    <a:pt x="132" y="36"/>
                  </a:lnTo>
                  <a:lnTo>
                    <a:pt x="154" y="41"/>
                  </a:lnTo>
                  <a:lnTo>
                    <a:pt x="166" y="53"/>
                  </a:lnTo>
                  <a:lnTo>
                    <a:pt x="169" y="78"/>
                  </a:lnTo>
                  <a:lnTo>
                    <a:pt x="180" y="92"/>
                  </a:lnTo>
                  <a:lnTo>
                    <a:pt x="198" y="97"/>
                  </a:lnTo>
                  <a:lnTo>
                    <a:pt x="220" y="105"/>
                  </a:lnTo>
                  <a:lnTo>
                    <a:pt x="238" y="109"/>
                  </a:lnTo>
                  <a:lnTo>
                    <a:pt x="250" y="116"/>
                  </a:lnTo>
                  <a:lnTo>
                    <a:pt x="265" y="115"/>
                  </a:lnTo>
                  <a:lnTo>
                    <a:pt x="279" y="115"/>
                  </a:lnTo>
                  <a:lnTo>
                    <a:pt x="287" y="101"/>
                  </a:lnTo>
                  <a:lnTo>
                    <a:pt x="294" y="87"/>
                  </a:lnTo>
                  <a:lnTo>
                    <a:pt x="310" y="94"/>
                  </a:lnTo>
                  <a:lnTo>
                    <a:pt x="334" y="94"/>
                  </a:lnTo>
                  <a:lnTo>
                    <a:pt x="342" y="83"/>
                  </a:lnTo>
                  <a:lnTo>
                    <a:pt x="360" y="73"/>
                  </a:lnTo>
                  <a:lnTo>
                    <a:pt x="383" y="73"/>
                  </a:lnTo>
                  <a:lnTo>
                    <a:pt x="399" y="82"/>
                  </a:lnTo>
                  <a:lnTo>
                    <a:pt x="408" y="9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6" name="Freeform 188">
              <a:extLst>
                <a:ext uri="{FF2B5EF4-FFF2-40B4-BE49-F238E27FC236}">
                  <a16:creationId xmlns:a16="http://schemas.microsoft.com/office/drawing/2014/main" xmlns="" id="{C855A210-DFB1-4647-B824-37A8F8D98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3060" y="3494349"/>
              <a:ext cx="108183" cy="114161"/>
            </a:xfrm>
            <a:custGeom>
              <a:avLst/>
              <a:gdLst>
                <a:gd name="T0" fmla="*/ 79 w 80"/>
                <a:gd name="T1" fmla="*/ 72 h 85"/>
                <a:gd name="T2" fmla="*/ 72 w 80"/>
                <a:gd name="T3" fmla="*/ 84 h 85"/>
                <a:gd name="T4" fmla="*/ 64 w 80"/>
                <a:gd name="T5" fmla="*/ 82 h 85"/>
                <a:gd name="T6" fmla="*/ 52 w 80"/>
                <a:gd name="T7" fmla="*/ 66 h 85"/>
                <a:gd name="T8" fmla="*/ 54 w 80"/>
                <a:gd name="T9" fmla="*/ 52 h 85"/>
                <a:gd name="T10" fmla="*/ 46 w 80"/>
                <a:gd name="T11" fmla="*/ 41 h 85"/>
                <a:gd name="T12" fmla="*/ 42 w 80"/>
                <a:gd name="T13" fmla="*/ 52 h 85"/>
                <a:gd name="T14" fmla="*/ 29 w 80"/>
                <a:gd name="T15" fmla="*/ 57 h 85"/>
                <a:gd name="T16" fmla="*/ 28 w 80"/>
                <a:gd name="T17" fmla="*/ 73 h 85"/>
                <a:gd name="T18" fmla="*/ 11 w 80"/>
                <a:gd name="T19" fmla="*/ 71 h 85"/>
                <a:gd name="T20" fmla="*/ 10 w 80"/>
                <a:gd name="T21" fmla="*/ 33 h 85"/>
                <a:gd name="T22" fmla="*/ 0 w 80"/>
                <a:gd name="T23" fmla="*/ 30 h 85"/>
                <a:gd name="T24" fmla="*/ 10 w 80"/>
                <a:gd name="T25" fmla="*/ 0 h 85"/>
                <a:gd name="T26" fmla="*/ 28 w 80"/>
                <a:gd name="T27" fmla="*/ 12 h 85"/>
                <a:gd name="T28" fmla="*/ 43 w 80"/>
                <a:gd name="T29" fmla="*/ 15 h 85"/>
                <a:gd name="T30" fmla="*/ 61 w 80"/>
                <a:gd name="T31" fmla="*/ 24 h 85"/>
                <a:gd name="T32" fmla="*/ 64 w 80"/>
                <a:gd name="T33" fmla="*/ 42 h 85"/>
                <a:gd name="T34" fmla="*/ 70 w 80"/>
                <a:gd name="T35" fmla="*/ 65 h 85"/>
                <a:gd name="T36" fmla="*/ 79 w 80"/>
                <a:gd name="T37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0" h="85">
                  <a:moveTo>
                    <a:pt x="79" y="72"/>
                  </a:moveTo>
                  <a:lnTo>
                    <a:pt x="72" y="84"/>
                  </a:lnTo>
                  <a:lnTo>
                    <a:pt x="64" y="82"/>
                  </a:lnTo>
                  <a:lnTo>
                    <a:pt x="52" y="66"/>
                  </a:lnTo>
                  <a:lnTo>
                    <a:pt x="54" y="52"/>
                  </a:lnTo>
                  <a:lnTo>
                    <a:pt x="46" y="41"/>
                  </a:lnTo>
                  <a:lnTo>
                    <a:pt x="42" y="52"/>
                  </a:lnTo>
                  <a:lnTo>
                    <a:pt x="29" y="57"/>
                  </a:lnTo>
                  <a:lnTo>
                    <a:pt x="28" y="73"/>
                  </a:lnTo>
                  <a:lnTo>
                    <a:pt x="11" y="71"/>
                  </a:lnTo>
                  <a:lnTo>
                    <a:pt x="10" y="33"/>
                  </a:lnTo>
                  <a:lnTo>
                    <a:pt x="0" y="30"/>
                  </a:lnTo>
                  <a:lnTo>
                    <a:pt x="10" y="0"/>
                  </a:lnTo>
                  <a:lnTo>
                    <a:pt x="28" y="12"/>
                  </a:lnTo>
                  <a:lnTo>
                    <a:pt x="43" y="15"/>
                  </a:lnTo>
                  <a:lnTo>
                    <a:pt x="61" y="24"/>
                  </a:lnTo>
                  <a:lnTo>
                    <a:pt x="64" y="42"/>
                  </a:lnTo>
                  <a:lnTo>
                    <a:pt x="70" y="65"/>
                  </a:lnTo>
                  <a:lnTo>
                    <a:pt x="79" y="7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7" name="Freeform 189">
              <a:extLst>
                <a:ext uri="{FF2B5EF4-FFF2-40B4-BE49-F238E27FC236}">
                  <a16:creationId xmlns:a16="http://schemas.microsoft.com/office/drawing/2014/main" xmlns="" id="{1B789AFF-241E-4905-BE0F-C25681590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3526" y="3273162"/>
              <a:ext cx="199723" cy="186702"/>
            </a:xfrm>
            <a:custGeom>
              <a:avLst/>
              <a:gdLst>
                <a:gd name="T0" fmla="*/ 118 w 149"/>
                <a:gd name="T1" fmla="*/ 19 h 140"/>
                <a:gd name="T2" fmla="*/ 135 w 149"/>
                <a:gd name="T3" fmla="*/ 16 h 140"/>
                <a:gd name="T4" fmla="*/ 146 w 149"/>
                <a:gd name="T5" fmla="*/ 27 h 140"/>
                <a:gd name="T6" fmla="*/ 139 w 149"/>
                <a:gd name="T7" fmla="*/ 41 h 140"/>
                <a:gd name="T8" fmla="*/ 148 w 149"/>
                <a:gd name="T9" fmla="*/ 46 h 140"/>
                <a:gd name="T10" fmla="*/ 141 w 149"/>
                <a:gd name="T11" fmla="*/ 70 h 140"/>
                <a:gd name="T12" fmla="*/ 126 w 149"/>
                <a:gd name="T13" fmla="*/ 71 h 140"/>
                <a:gd name="T14" fmla="*/ 122 w 149"/>
                <a:gd name="T15" fmla="*/ 82 h 140"/>
                <a:gd name="T16" fmla="*/ 130 w 149"/>
                <a:gd name="T17" fmla="*/ 89 h 140"/>
                <a:gd name="T18" fmla="*/ 111 w 149"/>
                <a:gd name="T19" fmla="*/ 105 h 140"/>
                <a:gd name="T20" fmla="*/ 100 w 149"/>
                <a:gd name="T21" fmla="*/ 118 h 140"/>
                <a:gd name="T22" fmla="*/ 88 w 149"/>
                <a:gd name="T23" fmla="*/ 124 h 140"/>
                <a:gd name="T24" fmla="*/ 77 w 149"/>
                <a:gd name="T25" fmla="*/ 124 h 140"/>
                <a:gd name="T26" fmla="*/ 74 w 149"/>
                <a:gd name="T27" fmla="*/ 131 h 140"/>
                <a:gd name="T28" fmla="*/ 63 w 149"/>
                <a:gd name="T29" fmla="*/ 130 h 140"/>
                <a:gd name="T30" fmla="*/ 61 w 149"/>
                <a:gd name="T31" fmla="*/ 139 h 140"/>
                <a:gd name="T32" fmla="*/ 46 w 149"/>
                <a:gd name="T33" fmla="*/ 139 h 140"/>
                <a:gd name="T34" fmla="*/ 48 w 149"/>
                <a:gd name="T35" fmla="*/ 132 h 140"/>
                <a:gd name="T36" fmla="*/ 37 w 149"/>
                <a:gd name="T37" fmla="*/ 132 h 140"/>
                <a:gd name="T38" fmla="*/ 0 w 149"/>
                <a:gd name="T39" fmla="*/ 132 h 140"/>
                <a:gd name="T40" fmla="*/ 9 w 149"/>
                <a:gd name="T41" fmla="*/ 120 h 140"/>
                <a:gd name="T42" fmla="*/ 17 w 149"/>
                <a:gd name="T43" fmla="*/ 115 h 140"/>
                <a:gd name="T44" fmla="*/ 25 w 149"/>
                <a:gd name="T45" fmla="*/ 108 h 140"/>
                <a:gd name="T46" fmla="*/ 31 w 149"/>
                <a:gd name="T47" fmla="*/ 64 h 140"/>
                <a:gd name="T48" fmla="*/ 36 w 149"/>
                <a:gd name="T49" fmla="*/ 49 h 140"/>
                <a:gd name="T50" fmla="*/ 42 w 149"/>
                <a:gd name="T51" fmla="*/ 51 h 140"/>
                <a:gd name="T52" fmla="*/ 43 w 149"/>
                <a:gd name="T53" fmla="*/ 41 h 140"/>
                <a:gd name="T54" fmla="*/ 67 w 149"/>
                <a:gd name="T55" fmla="*/ 40 h 140"/>
                <a:gd name="T56" fmla="*/ 67 w 149"/>
                <a:gd name="T57" fmla="*/ 28 h 140"/>
                <a:gd name="T58" fmla="*/ 76 w 149"/>
                <a:gd name="T59" fmla="*/ 19 h 140"/>
                <a:gd name="T60" fmla="*/ 82 w 149"/>
                <a:gd name="T61" fmla="*/ 9 h 140"/>
                <a:gd name="T62" fmla="*/ 85 w 149"/>
                <a:gd name="T63" fmla="*/ 0 h 140"/>
                <a:gd name="T64" fmla="*/ 96 w 149"/>
                <a:gd name="T65" fmla="*/ 7 h 140"/>
                <a:gd name="T66" fmla="*/ 108 w 149"/>
                <a:gd name="T67" fmla="*/ 8 h 140"/>
                <a:gd name="T68" fmla="*/ 118 w 149"/>
                <a:gd name="T69" fmla="*/ 1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9" h="140">
                  <a:moveTo>
                    <a:pt x="118" y="19"/>
                  </a:moveTo>
                  <a:lnTo>
                    <a:pt x="135" y="16"/>
                  </a:lnTo>
                  <a:lnTo>
                    <a:pt x="146" y="27"/>
                  </a:lnTo>
                  <a:lnTo>
                    <a:pt x="139" y="41"/>
                  </a:lnTo>
                  <a:lnTo>
                    <a:pt x="148" y="46"/>
                  </a:lnTo>
                  <a:lnTo>
                    <a:pt x="141" y="70"/>
                  </a:lnTo>
                  <a:lnTo>
                    <a:pt x="126" y="71"/>
                  </a:lnTo>
                  <a:lnTo>
                    <a:pt x="122" y="82"/>
                  </a:lnTo>
                  <a:lnTo>
                    <a:pt x="130" y="89"/>
                  </a:lnTo>
                  <a:lnTo>
                    <a:pt x="111" y="105"/>
                  </a:lnTo>
                  <a:lnTo>
                    <a:pt x="100" y="118"/>
                  </a:lnTo>
                  <a:lnTo>
                    <a:pt x="88" y="124"/>
                  </a:lnTo>
                  <a:lnTo>
                    <a:pt x="77" y="124"/>
                  </a:lnTo>
                  <a:lnTo>
                    <a:pt x="74" y="131"/>
                  </a:lnTo>
                  <a:lnTo>
                    <a:pt x="63" y="130"/>
                  </a:lnTo>
                  <a:lnTo>
                    <a:pt x="61" y="139"/>
                  </a:lnTo>
                  <a:lnTo>
                    <a:pt x="46" y="139"/>
                  </a:lnTo>
                  <a:lnTo>
                    <a:pt x="48" y="132"/>
                  </a:lnTo>
                  <a:lnTo>
                    <a:pt x="37" y="132"/>
                  </a:lnTo>
                  <a:lnTo>
                    <a:pt x="0" y="132"/>
                  </a:lnTo>
                  <a:lnTo>
                    <a:pt x="9" y="120"/>
                  </a:lnTo>
                  <a:lnTo>
                    <a:pt x="17" y="115"/>
                  </a:lnTo>
                  <a:lnTo>
                    <a:pt x="25" y="108"/>
                  </a:lnTo>
                  <a:lnTo>
                    <a:pt x="31" y="64"/>
                  </a:lnTo>
                  <a:lnTo>
                    <a:pt x="36" y="49"/>
                  </a:lnTo>
                  <a:lnTo>
                    <a:pt x="42" y="51"/>
                  </a:lnTo>
                  <a:lnTo>
                    <a:pt x="43" y="41"/>
                  </a:lnTo>
                  <a:lnTo>
                    <a:pt x="67" y="40"/>
                  </a:lnTo>
                  <a:lnTo>
                    <a:pt x="67" y="28"/>
                  </a:lnTo>
                  <a:lnTo>
                    <a:pt x="76" y="19"/>
                  </a:lnTo>
                  <a:lnTo>
                    <a:pt x="82" y="9"/>
                  </a:lnTo>
                  <a:lnTo>
                    <a:pt x="85" y="0"/>
                  </a:lnTo>
                  <a:lnTo>
                    <a:pt x="96" y="7"/>
                  </a:lnTo>
                  <a:lnTo>
                    <a:pt x="108" y="8"/>
                  </a:lnTo>
                  <a:lnTo>
                    <a:pt x="118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8" name="Freeform 190">
              <a:extLst>
                <a:ext uri="{FF2B5EF4-FFF2-40B4-BE49-F238E27FC236}">
                  <a16:creationId xmlns:a16="http://schemas.microsoft.com/office/drawing/2014/main" xmlns="" id="{9D583804-9842-4557-8A3A-B914665BC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345" y="3242243"/>
              <a:ext cx="380425" cy="426916"/>
            </a:xfrm>
            <a:custGeom>
              <a:avLst/>
              <a:gdLst>
                <a:gd name="T0" fmla="*/ 89 w 285"/>
                <a:gd name="T1" fmla="*/ 41 h 320"/>
                <a:gd name="T2" fmla="*/ 100 w 285"/>
                <a:gd name="T3" fmla="*/ 52 h 320"/>
                <a:gd name="T4" fmla="*/ 94 w 285"/>
                <a:gd name="T5" fmla="*/ 65 h 320"/>
                <a:gd name="T6" fmla="*/ 102 w 285"/>
                <a:gd name="T7" fmla="*/ 70 h 320"/>
                <a:gd name="T8" fmla="*/ 95 w 285"/>
                <a:gd name="T9" fmla="*/ 95 h 320"/>
                <a:gd name="T10" fmla="*/ 80 w 285"/>
                <a:gd name="T11" fmla="*/ 96 h 320"/>
                <a:gd name="T12" fmla="*/ 77 w 285"/>
                <a:gd name="T13" fmla="*/ 107 h 320"/>
                <a:gd name="T14" fmla="*/ 84 w 285"/>
                <a:gd name="T15" fmla="*/ 113 h 320"/>
                <a:gd name="T16" fmla="*/ 65 w 285"/>
                <a:gd name="T17" fmla="*/ 129 h 320"/>
                <a:gd name="T18" fmla="*/ 54 w 285"/>
                <a:gd name="T19" fmla="*/ 142 h 320"/>
                <a:gd name="T20" fmla="*/ 42 w 285"/>
                <a:gd name="T21" fmla="*/ 148 h 320"/>
                <a:gd name="T22" fmla="*/ 31 w 285"/>
                <a:gd name="T23" fmla="*/ 148 h 320"/>
                <a:gd name="T24" fmla="*/ 28 w 285"/>
                <a:gd name="T25" fmla="*/ 156 h 320"/>
                <a:gd name="T26" fmla="*/ 17 w 285"/>
                <a:gd name="T27" fmla="*/ 154 h 320"/>
                <a:gd name="T28" fmla="*/ 15 w 285"/>
                <a:gd name="T29" fmla="*/ 163 h 320"/>
                <a:gd name="T30" fmla="*/ 0 w 285"/>
                <a:gd name="T31" fmla="*/ 163 h 320"/>
                <a:gd name="T32" fmla="*/ 31 w 285"/>
                <a:gd name="T33" fmla="*/ 200 h 320"/>
                <a:gd name="T34" fmla="*/ 46 w 285"/>
                <a:gd name="T35" fmla="*/ 209 h 320"/>
                <a:gd name="T36" fmla="*/ 146 w 285"/>
                <a:gd name="T37" fmla="*/ 289 h 320"/>
                <a:gd name="T38" fmla="*/ 160 w 285"/>
                <a:gd name="T39" fmla="*/ 295 h 320"/>
                <a:gd name="T40" fmla="*/ 163 w 285"/>
                <a:gd name="T41" fmla="*/ 319 h 320"/>
                <a:gd name="T42" fmla="*/ 176 w 285"/>
                <a:gd name="T43" fmla="*/ 316 h 320"/>
                <a:gd name="T44" fmla="*/ 178 w 285"/>
                <a:gd name="T45" fmla="*/ 309 h 320"/>
                <a:gd name="T46" fmla="*/ 202 w 285"/>
                <a:gd name="T47" fmla="*/ 307 h 320"/>
                <a:gd name="T48" fmla="*/ 212 w 285"/>
                <a:gd name="T49" fmla="*/ 296 h 320"/>
                <a:gd name="T50" fmla="*/ 220 w 285"/>
                <a:gd name="T51" fmla="*/ 291 h 320"/>
                <a:gd name="T52" fmla="*/ 223 w 285"/>
                <a:gd name="T53" fmla="*/ 282 h 320"/>
                <a:gd name="T54" fmla="*/ 246 w 285"/>
                <a:gd name="T55" fmla="*/ 274 h 320"/>
                <a:gd name="T56" fmla="*/ 253 w 285"/>
                <a:gd name="T57" fmla="*/ 264 h 320"/>
                <a:gd name="T58" fmla="*/ 264 w 285"/>
                <a:gd name="T59" fmla="*/ 254 h 320"/>
                <a:gd name="T60" fmla="*/ 279 w 285"/>
                <a:gd name="T61" fmla="*/ 248 h 320"/>
                <a:gd name="T62" fmla="*/ 284 w 285"/>
                <a:gd name="T63" fmla="*/ 241 h 320"/>
                <a:gd name="T64" fmla="*/ 282 w 285"/>
                <a:gd name="T65" fmla="*/ 227 h 320"/>
                <a:gd name="T66" fmla="*/ 259 w 285"/>
                <a:gd name="T67" fmla="*/ 223 h 320"/>
                <a:gd name="T68" fmla="*/ 252 w 285"/>
                <a:gd name="T69" fmla="*/ 216 h 320"/>
                <a:gd name="T70" fmla="*/ 250 w 285"/>
                <a:gd name="T71" fmla="*/ 198 h 320"/>
                <a:gd name="T72" fmla="*/ 253 w 285"/>
                <a:gd name="T73" fmla="*/ 102 h 320"/>
                <a:gd name="T74" fmla="*/ 246 w 285"/>
                <a:gd name="T75" fmla="*/ 101 h 320"/>
                <a:gd name="T76" fmla="*/ 242 w 285"/>
                <a:gd name="T77" fmla="*/ 85 h 320"/>
                <a:gd name="T78" fmla="*/ 229 w 285"/>
                <a:gd name="T79" fmla="*/ 80 h 320"/>
                <a:gd name="T80" fmla="*/ 224 w 285"/>
                <a:gd name="T81" fmla="*/ 63 h 320"/>
                <a:gd name="T82" fmla="*/ 227 w 285"/>
                <a:gd name="T83" fmla="*/ 48 h 320"/>
                <a:gd name="T84" fmla="*/ 241 w 285"/>
                <a:gd name="T85" fmla="*/ 44 h 320"/>
                <a:gd name="T86" fmla="*/ 233 w 285"/>
                <a:gd name="T87" fmla="*/ 33 h 320"/>
                <a:gd name="T88" fmla="*/ 235 w 285"/>
                <a:gd name="T89" fmla="*/ 21 h 320"/>
                <a:gd name="T90" fmla="*/ 242 w 285"/>
                <a:gd name="T91" fmla="*/ 21 h 320"/>
                <a:gd name="T92" fmla="*/ 239 w 285"/>
                <a:gd name="T93" fmla="*/ 3 h 320"/>
                <a:gd name="T94" fmla="*/ 196 w 285"/>
                <a:gd name="T95" fmla="*/ 0 h 320"/>
                <a:gd name="T96" fmla="*/ 176 w 285"/>
                <a:gd name="T97" fmla="*/ 3 h 320"/>
                <a:gd name="T98" fmla="*/ 160 w 285"/>
                <a:gd name="T99" fmla="*/ 8 h 320"/>
                <a:gd name="T100" fmla="*/ 128 w 285"/>
                <a:gd name="T101" fmla="*/ 11 h 320"/>
                <a:gd name="T102" fmla="*/ 117 w 285"/>
                <a:gd name="T103" fmla="*/ 21 h 320"/>
                <a:gd name="T104" fmla="*/ 96 w 285"/>
                <a:gd name="T105" fmla="*/ 25 h 320"/>
                <a:gd name="T106" fmla="*/ 89 w 285"/>
                <a:gd name="T107" fmla="*/ 4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5" h="320">
                  <a:moveTo>
                    <a:pt x="89" y="41"/>
                  </a:moveTo>
                  <a:lnTo>
                    <a:pt x="100" y="52"/>
                  </a:lnTo>
                  <a:lnTo>
                    <a:pt x="94" y="65"/>
                  </a:lnTo>
                  <a:lnTo>
                    <a:pt x="102" y="70"/>
                  </a:lnTo>
                  <a:lnTo>
                    <a:pt x="95" y="95"/>
                  </a:lnTo>
                  <a:lnTo>
                    <a:pt x="80" y="96"/>
                  </a:lnTo>
                  <a:lnTo>
                    <a:pt x="77" y="107"/>
                  </a:lnTo>
                  <a:lnTo>
                    <a:pt x="84" y="113"/>
                  </a:lnTo>
                  <a:lnTo>
                    <a:pt x="65" y="129"/>
                  </a:lnTo>
                  <a:lnTo>
                    <a:pt x="54" y="142"/>
                  </a:lnTo>
                  <a:lnTo>
                    <a:pt x="42" y="148"/>
                  </a:lnTo>
                  <a:lnTo>
                    <a:pt x="31" y="148"/>
                  </a:lnTo>
                  <a:lnTo>
                    <a:pt x="28" y="156"/>
                  </a:lnTo>
                  <a:lnTo>
                    <a:pt x="17" y="154"/>
                  </a:lnTo>
                  <a:lnTo>
                    <a:pt x="15" y="163"/>
                  </a:lnTo>
                  <a:lnTo>
                    <a:pt x="0" y="163"/>
                  </a:lnTo>
                  <a:lnTo>
                    <a:pt x="31" y="200"/>
                  </a:lnTo>
                  <a:lnTo>
                    <a:pt x="46" y="209"/>
                  </a:lnTo>
                  <a:lnTo>
                    <a:pt x="146" y="289"/>
                  </a:lnTo>
                  <a:lnTo>
                    <a:pt x="160" y="295"/>
                  </a:lnTo>
                  <a:lnTo>
                    <a:pt x="163" y="319"/>
                  </a:lnTo>
                  <a:lnTo>
                    <a:pt x="176" y="316"/>
                  </a:lnTo>
                  <a:lnTo>
                    <a:pt x="178" y="309"/>
                  </a:lnTo>
                  <a:lnTo>
                    <a:pt x="202" y="307"/>
                  </a:lnTo>
                  <a:lnTo>
                    <a:pt x="212" y="296"/>
                  </a:lnTo>
                  <a:lnTo>
                    <a:pt x="220" y="291"/>
                  </a:lnTo>
                  <a:lnTo>
                    <a:pt x="223" y="282"/>
                  </a:lnTo>
                  <a:lnTo>
                    <a:pt x="246" y="274"/>
                  </a:lnTo>
                  <a:lnTo>
                    <a:pt x="253" y="264"/>
                  </a:lnTo>
                  <a:lnTo>
                    <a:pt x="264" y="254"/>
                  </a:lnTo>
                  <a:lnTo>
                    <a:pt x="279" y="248"/>
                  </a:lnTo>
                  <a:lnTo>
                    <a:pt x="284" y="241"/>
                  </a:lnTo>
                  <a:lnTo>
                    <a:pt x="282" y="227"/>
                  </a:lnTo>
                  <a:lnTo>
                    <a:pt x="259" y="223"/>
                  </a:lnTo>
                  <a:lnTo>
                    <a:pt x="252" y="216"/>
                  </a:lnTo>
                  <a:lnTo>
                    <a:pt x="250" y="198"/>
                  </a:lnTo>
                  <a:lnTo>
                    <a:pt x="253" y="102"/>
                  </a:lnTo>
                  <a:lnTo>
                    <a:pt x="246" y="101"/>
                  </a:lnTo>
                  <a:lnTo>
                    <a:pt x="242" y="85"/>
                  </a:lnTo>
                  <a:lnTo>
                    <a:pt x="229" y="80"/>
                  </a:lnTo>
                  <a:lnTo>
                    <a:pt x="224" y="63"/>
                  </a:lnTo>
                  <a:lnTo>
                    <a:pt x="227" y="48"/>
                  </a:lnTo>
                  <a:lnTo>
                    <a:pt x="241" y="44"/>
                  </a:lnTo>
                  <a:lnTo>
                    <a:pt x="233" y="33"/>
                  </a:lnTo>
                  <a:lnTo>
                    <a:pt x="235" y="21"/>
                  </a:lnTo>
                  <a:lnTo>
                    <a:pt x="242" y="21"/>
                  </a:lnTo>
                  <a:lnTo>
                    <a:pt x="239" y="3"/>
                  </a:lnTo>
                  <a:lnTo>
                    <a:pt x="196" y="0"/>
                  </a:lnTo>
                  <a:lnTo>
                    <a:pt x="176" y="3"/>
                  </a:lnTo>
                  <a:lnTo>
                    <a:pt x="160" y="8"/>
                  </a:lnTo>
                  <a:lnTo>
                    <a:pt x="128" y="11"/>
                  </a:lnTo>
                  <a:lnTo>
                    <a:pt x="117" y="21"/>
                  </a:lnTo>
                  <a:lnTo>
                    <a:pt x="96" y="25"/>
                  </a:lnTo>
                  <a:lnTo>
                    <a:pt x="89" y="4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9" name="Freeform 191">
              <a:extLst>
                <a:ext uri="{FF2B5EF4-FFF2-40B4-BE49-F238E27FC236}">
                  <a16:creationId xmlns:a16="http://schemas.microsoft.com/office/drawing/2014/main" xmlns="" id="{341B28F3-23BB-4066-A2E8-36D709142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041" y="3779753"/>
              <a:ext cx="183079" cy="279458"/>
            </a:xfrm>
            <a:custGeom>
              <a:avLst/>
              <a:gdLst>
                <a:gd name="T0" fmla="*/ 0 w 138"/>
                <a:gd name="T1" fmla="*/ 157 h 209"/>
                <a:gd name="T2" fmla="*/ 26 w 138"/>
                <a:gd name="T3" fmla="*/ 135 h 209"/>
                <a:gd name="T4" fmla="*/ 35 w 138"/>
                <a:gd name="T5" fmla="*/ 124 h 209"/>
                <a:gd name="T6" fmla="*/ 47 w 138"/>
                <a:gd name="T7" fmla="*/ 113 h 209"/>
                <a:gd name="T8" fmla="*/ 63 w 138"/>
                <a:gd name="T9" fmla="*/ 102 h 209"/>
                <a:gd name="T10" fmla="*/ 72 w 138"/>
                <a:gd name="T11" fmla="*/ 85 h 209"/>
                <a:gd name="T12" fmla="*/ 79 w 138"/>
                <a:gd name="T13" fmla="*/ 58 h 209"/>
                <a:gd name="T14" fmla="*/ 83 w 138"/>
                <a:gd name="T15" fmla="*/ 51 h 209"/>
                <a:gd name="T16" fmla="*/ 92 w 138"/>
                <a:gd name="T17" fmla="*/ 45 h 209"/>
                <a:gd name="T18" fmla="*/ 94 w 138"/>
                <a:gd name="T19" fmla="*/ 25 h 209"/>
                <a:gd name="T20" fmla="*/ 91 w 138"/>
                <a:gd name="T21" fmla="*/ 1 h 209"/>
                <a:gd name="T22" fmla="*/ 97 w 138"/>
                <a:gd name="T23" fmla="*/ 0 h 209"/>
                <a:gd name="T24" fmla="*/ 100 w 138"/>
                <a:gd name="T25" fmla="*/ 10 h 209"/>
                <a:gd name="T26" fmla="*/ 104 w 138"/>
                <a:gd name="T27" fmla="*/ 18 h 209"/>
                <a:gd name="T28" fmla="*/ 111 w 138"/>
                <a:gd name="T29" fmla="*/ 32 h 209"/>
                <a:gd name="T30" fmla="*/ 111 w 138"/>
                <a:gd name="T31" fmla="*/ 40 h 209"/>
                <a:gd name="T32" fmla="*/ 105 w 138"/>
                <a:gd name="T33" fmla="*/ 43 h 209"/>
                <a:gd name="T34" fmla="*/ 108 w 138"/>
                <a:gd name="T35" fmla="*/ 46 h 209"/>
                <a:gd name="T36" fmla="*/ 111 w 138"/>
                <a:gd name="T37" fmla="*/ 54 h 209"/>
                <a:gd name="T38" fmla="*/ 116 w 138"/>
                <a:gd name="T39" fmla="*/ 62 h 209"/>
                <a:gd name="T40" fmla="*/ 115 w 138"/>
                <a:gd name="T41" fmla="*/ 69 h 209"/>
                <a:gd name="T42" fmla="*/ 108 w 138"/>
                <a:gd name="T43" fmla="*/ 73 h 209"/>
                <a:gd name="T44" fmla="*/ 109 w 138"/>
                <a:gd name="T45" fmla="*/ 81 h 209"/>
                <a:gd name="T46" fmla="*/ 120 w 138"/>
                <a:gd name="T47" fmla="*/ 95 h 209"/>
                <a:gd name="T48" fmla="*/ 128 w 138"/>
                <a:gd name="T49" fmla="*/ 111 h 209"/>
                <a:gd name="T50" fmla="*/ 121 w 138"/>
                <a:gd name="T51" fmla="*/ 120 h 209"/>
                <a:gd name="T52" fmla="*/ 115 w 138"/>
                <a:gd name="T53" fmla="*/ 139 h 209"/>
                <a:gd name="T54" fmla="*/ 125 w 138"/>
                <a:gd name="T55" fmla="*/ 156 h 209"/>
                <a:gd name="T56" fmla="*/ 132 w 138"/>
                <a:gd name="T57" fmla="*/ 176 h 209"/>
                <a:gd name="T58" fmla="*/ 137 w 138"/>
                <a:gd name="T59" fmla="*/ 185 h 209"/>
                <a:gd name="T60" fmla="*/ 92 w 138"/>
                <a:gd name="T61" fmla="*/ 190 h 209"/>
                <a:gd name="T62" fmla="*/ 69 w 138"/>
                <a:gd name="T63" fmla="*/ 193 h 209"/>
                <a:gd name="T64" fmla="*/ 60 w 138"/>
                <a:gd name="T65" fmla="*/ 200 h 209"/>
                <a:gd name="T66" fmla="*/ 60 w 138"/>
                <a:gd name="T67" fmla="*/ 206 h 209"/>
                <a:gd name="T68" fmla="*/ 40 w 138"/>
                <a:gd name="T69" fmla="*/ 208 h 209"/>
                <a:gd name="T70" fmla="*/ 37 w 138"/>
                <a:gd name="T71" fmla="*/ 193 h 209"/>
                <a:gd name="T72" fmla="*/ 44 w 138"/>
                <a:gd name="T73" fmla="*/ 178 h 209"/>
                <a:gd name="T74" fmla="*/ 37 w 138"/>
                <a:gd name="T75" fmla="*/ 170 h 209"/>
                <a:gd name="T76" fmla="*/ 22 w 138"/>
                <a:gd name="T77" fmla="*/ 164 h 209"/>
                <a:gd name="T78" fmla="*/ 0 w 138"/>
                <a:gd name="T79" fmla="*/ 15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8" h="209">
                  <a:moveTo>
                    <a:pt x="0" y="157"/>
                  </a:moveTo>
                  <a:lnTo>
                    <a:pt x="26" y="135"/>
                  </a:lnTo>
                  <a:lnTo>
                    <a:pt x="35" y="124"/>
                  </a:lnTo>
                  <a:lnTo>
                    <a:pt x="47" y="113"/>
                  </a:lnTo>
                  <a:lnTo>
                    <a:pt x="63" y="102"/>
                  </a:lnTo>
                  <a:lnTo>
                    <a:pt x="72" y="85"/>
                  </a:lnTo>
                  <a:lnTo>
                    <a:pt x="79" y="58"/>
                  </a:lnTo>
                  <a:lnTo>
                    <a:pt x="83" y="51"/>
                  </a:lnTo>
                  <a:lnTo>
                    <a:pt x="92" y="45"/>
                  </a:lnTo>
                  <a:lnTo>
                    <a:pt x="94" y="25"/>
                  </a:lnTo>
                  <a:lnTo>
                    <a:pt x="91" y="1"/>
                  </a:lnTo>
                  <a:lnTo>
                    <a:pt x="97" y="0"/>
                  </a:lnTo>
                  <a:lnTo>
                    <a:pt x="100" y="10"/>
                  </a:lnTo>
                  <a:lnTo>
                    <a:pt x="104" y="18"/>
                  </a:lnTo>
                  <a:lnTo>
                    <a:pt x="111" y="32"/>
                  </a:lnTo>
                  <a:lnTo>
                    <a:pt x="111" y="40"/>
                  </a:lnTo>
                  <a:lnTo>
                    <a:pt x="105" y="43"/>
                  </a:lnTo>
                  <a:lnTo>
                    <a:pt x="108" y="46"/>
                  </a:lnTo>
                  <a:lnTo>
                    <a:pt x="111" y="54"/>
                  </a:lnTo>
                  <a:lnTo>
                    <a:pt x="116" y="62"/>
                  </a:lnTo>
                  <a:lnTo>
                    <a:pt x="115" y="69"/>
                  </a:lnTo>
                  <a:lnTo>
                    <a:pt x="108" y="73"/>
                  </a:lnTo>
                  <a:lnTo>
                    <a:pt x="109" y="81"/>
                  </a:lnTo>
                  <a:lnTo>
                    <a:pt x="120" y="95"/>
                  </a:lnTo>
                  <a:lnTo>
                    <a:pt x="128" y="111"/>
                  </a:lnTo>
                  <a:lnTo>
                    <a:pt x="121" y="120"/>
                  </a:lnTo>
                  <a:lnTo>
                    <a:pt x="115" y="139"/>
                  </a:lnTo>
                  <a:lnTo>
                    <a:pt x="125" y="156"/>
                  </a:lnTo>
                  <a:lnTo>
                    <a:pt x="132" y="176"/>
                  </a:lnTo>
                  <a:lnTo>
                    <a:pt x="137" y="185"/>
                  </a:lnTo>
                  <a:lnTo>
                    <a:pt x="92" y="190"/>
                  </a:lnTo>
                  <a:lnTo>
                    <a:pt x="69" y="193"/>
                  </a:lnTo>
                  <a:lnTo>
                    <a:pt x="60" y="200"/>
                  </a:lnTo>
                  <a:lnTo>
                    <a:pt x="60" y="206"/>
                  </a:lnTo>
                  <a:lnTo>
                    <a:pt x="40" y="208"/>
                  </a:lnTo>
                  <a:lnTo>
                    <a:pt x="37" y="193"/>
                  </a:lnTo>
                  <a:lnTo>
                    <a:pt x="44" y="178"/>
                  </a:lnTo>
                  <a:lnTo>
                    <a:pt x="37" y="170"/>
                  </a:lnTo>
                  <a:lnTo>
                    <a:pt x="22" y="164"/>
                  </a:lnTo>
                  <a:lnTo>
                    <a:pt x="0" y="15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0" name="Freeform 192">
              <a:extLst>
                <a:ext uri="{FF2B5EF4-FFF2-40B4-BE49-F238E27FC236}">
                  <a16:creationId xmlns:a16="http://schemas.microsoft.com/office/drawing/2014/main" xmlns="" id="{0474C5A2-F352-4C44-BC85-877677F91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8645" y="2804624"/>
              <a:ext cx="706163" cy="359133"/>
            </a:xfrm>
            <a:custGeom>
              <a:avLst/>
              <a:gdLst>
                <a:gd name="T0" fmla="*/ 516 w 531"/>
                <a:gd name="T1" fmla="*/ 78 h 270"/>
                <a:gd name="T2" fmla="*/ 486 w 531"/>
                <a:gd name="T3" fmla="*/ 58 h 270"/>
                <a:gd name="T4" fmla="*/ 449 w 531"/>
                <a:gd name="T5" fmla="*/ 16 h 270"/>
                <a:gd name="T6" fmla="*/ 408 w 531"/>
                <a:gd name="T7" fmla="*/ 25 h 270"/>
                <a:gd name="T8" fmla="*/ 391 w 531"/>
                <a:gd name="T9" fmla="*/ 11 h 270"/>
                <a:gd name="T10" fmla="*/ 351 w 531"/>
                <a:gd name="T11" fmla="*/ 5 h 270"/>
                <a:gd name="T12" fmla="*/ 294 w 531"/>
                <a:gd name="T13" fmla="*/ 7 h 270"/>
                <a:gd name="T14" fmla="*/ 265 w 531"/>
                <a:gd name="T15" fmla="*/ 3 h 270"/>
                <a:gd name="T16" fmla="*/ 252 w 531"/>
                <a:gd name="T17" fmla="*/ 32 h 270"/>
                <a:gd name="T18" fmla="*/ 250 w 531"/>
                <a:gd name="T19" fmla="*/ 34 h 270"/>
                <a:gd name="T20" fmla="*/ 247 w 531"/>
                <a:gd name="T21" fmla="*/ 36 h 270"/>
                <a:gd name="T22" fmla="*/ 244 w 531"/>
                <a:gd name="T23" fmla="*/ 37 h 270"/>
                <a:gd name="T24" fmla="*/ 242 w 531"/>
                <a:gd name="T25" fmla="*/ 39 h 270"/>
                <a:gd name="T26" fmla="*/ 239 w 531"/>
                <a:gd name="T27" fmla="*/ 40 h 270"/>
                <a:gd name="T28" fmla="*/ 237 w 531"/>
                <a:gd name="T29" fmla="*/ 40 h 270"/>
                <a:gd name="T30" fmla="*/ 237 w 531"/>
                <a:gd name="T31" fmla="*/ 43 h 270"/>
                <a:gd name="T32" fmla="*/ 238 w 531"/>
                <a:gd name="T33" fmla="*/ 47 h 270"/>
                <a:gd name="T34" fmla="*/ 240 w 531"/>
                <a:gd name="T35" fmla="*/ 52 h 270"/>
                <a:gd name="T36" fmla="*/ 242 w 531"/>
                <a:gd name="T37" fmla="*/ 56 h 270"/>
                <a:gd name="T38" fmla="*/ 236 w 531"/>
                <a:gd name="T39" fmla="*/ 67 h 270"/>
                <a:gd name="T40" fmla="*/ 196 w 531"/>
                <a:gd name="T41" fmla="*/ 47 h 270"/>
                <a:gd name="T42" fmla="*/ 164 w 531"/>
                <a:gd name="T43" fmla="*/ 44 h 270"/>
                <a:gd name="T44" fmla="*/ 130 w 531"/>
                <a:gd name="T45" fmla="*/ 12 h 270"/>
                <a:gd name="T46" fmla="*/ 85 w 531"/>
                <a:gd name="T47" fmla="*/ 7 h 270"/>
                <a:gd name="T48" fmla="*/ 59 w 531"/>
                <a:gd name="T49" fmla="*/ 25 h 270"/>
                <a:gd name="T50" fmla="*/ 20 w 531"/>
                <a:gd name="T51" fmla="*/ 34 h 270"/>
                <a:gd name="T52" fmla="*/ 7 w 531"/>
                <a:gd name="T53" fmla="*/ 74 h 270"/>
                <a:gd name="T54" fmla="*/ 25 w 531"/>
                <a:gd name="T55" fmla="*/ 104 h 270"/>
                <a:gd name="T56" fmla="*/ 6 w 531"/>
                <a:gd name="T57" fmla="*/ 145 h 270"/>
                <a:gd name="T58" fmla="*/ 43 w 531"/>
                <a:gd name="T59" fmla="*/ 145 h 270"/>
                <a:gd name="T60" fmla="*/ 59 w 531"/>
                <a:gd name="T61" fmla="*/ 144 h 270"/>
                <a:gd name="T62" fmla="*/ 59 w 531"/>
                <a:gd name="T63" fmla="*/ 171 h 270"/>
                <a:gd name="T64" fmla="*/ 31 w 531"/>
                <a:gd name="T65" fmla="*/ 178 h 270"/>
                <a:gd name="T66" fmla="*/ 19 w 531"/>
                <a:gd name="T67" fmla="*/ 190 h 270"/>
                <a:gd name="T68" fmla="*/ 26 w 531"/>
                <a:gd name="T69" fmla="*/ 215 h 270"/>
                <a:gd name="T70" fmla="*/ 54 w 531"/>
                <a:gd name="T71" fmla="*/ 240 h 270"/>
                <a:gd name="T72" fmla="*/ 75 w 531"/>
                <a:gd name="T73" fmla="*/ 228 h 270"/>
                <a:gd name="T74" fmla="*/ 93 w 531"/>
                <a:gd name="T75" fmla="*/ 242 h 270"/>
                <a:gd name="T76" fmla="*/ 105 w 531"/>
                <a:gd name="T77" fmla="*/ 256 h 270"/>
                <a:gd name="T78" fmla="*/ 130 w 531"/>
                <a:gd name="T79" fmla="*/ 189 h 270"/>
                <a:gd name="T80" fmla="*/ 174 w 531"/>
                <a:gd name="T81" fmla="*/ 161 h 270"/>
                <a:gd name="T82" fmla="*/ 202 w 531"/>
                <a:gd name="T83" fmla="*/ 145 h 270"/>
                <a:gd name="T84" fmla="*/ 210 w 531"/>
                <a:gd name="T85" fmla="*/ 178 h 270"/>
                <a:gd name="T86" fmla="*/ 214 w 531"/>
                <a:gd name="T87" fmla="*/ 201 h 270"/>
                <a:gd name="T88" fmla="*/ 237 w 531"/>
                <a:gd name="T89" fmla="*/ 209 h 270"/>
                <a:gd name="T90" fmla="*/ 269 w 531"/>
                <a:gd name="T91" fmla="*/ 218 h 270"/>
                <a:gd name="T92" fmla="*/ 275 w 531"/>
                <a:gd name="T93" fmla="*/ 253 h 270"/>
                <a:gd name="T94" fmla="*/ 302 w 531"/>
                <a:gd name="T95" fmla="*/ 269 h 270"/>
                <a:gd name="T96" fmla="*/ 354 w 531"/>
                <a:gd name="T97" fmla="*/ 244 h 270"/>
                <a:gd name="T98" fmla="*/ 347 w 531"/>
                <a:gd name="T99" fmla="*/ 226 h 270"/>
                <a:gd name="T100" fmla="*/ 323 w 531"/>
                <a:gd name="T101" fmla="*/ 217 h 270"/>
                <a:gd name="T102" fmla="*/ 328 w 531"/>
                <a:gd name="T103" fmla="*/ 199 h 270"/>
                <a:gd name="T104" fmla="*/ 338 w 531"/>
                <a:gd name="T105" fmla="*/ 186 h 270"/>
                <a:gd name="T106" fmla="*/ 357 w 531"/>
                <a:gd name="T107" fmla="*/ 189 h 270"/>
                <a:gd name="T108" fmla="*/ 387 w 531"/>
                <a:gd name="T109" fmla="*/ 193 h 270"/>
                <a:gd name="T110" fmla="*/ 437 w 531"/>
                <a:gd name="T111" fmla="*/ 189 h 270"/>
                <a:gd name="T112" fmla="*/ 459 w 531"/>
                <a:gd name="T113" fmla="*/ 195 h 270"/>
                <a:gd name="T114" fmla="*/ 475 w 531"/>
                <a:gd name="T115" fmla="*/ 167 h 270"/>
                <a:gd name="T116" fmla="*/ 499 w 531"/>
                <a:gd name="T117" fmla="*/ 140 h 270"/>
                <a:gd name="T118" fmla="*/ 517 w 531"/>
                <a:gd name="T119" fmla="*/ 130 h 270"/>
                <a:gd name="T120" fmla="*/ 530 w 531"/>
                <a:gd name="T121" fmla="*/ 113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1" h="270">
                  <a:moveTo>
                    <a:pt x="530" y="113"/>
                  </a:moveTo>
                  <a:lnTo>
                    <a:pt x="516" y="78"/>
                  </a:lnTo>
                  <a:lnTo>
                    <a:pt x="494" y="69"/>
                  </a:lnTo>
                  <a:lnTo>
                    <a:pt x="486" y="58"/>
                  </a:lnTo>
                  <a:lnTo>
                    <a:pt x="471" y="57"/>
                  </a:lnTo>
                  <a:lnTo>
                    <a:pt x="449" y="16"/>
                  </a:lnTo>
                  <a:lnTo>
                    <a:pt x="431" y="16"/>
                  </a:lnTo>
                  <a:lnTo>
                    <a:pt x="408" y="25"/>
                  </a:lnTo>
                  <a:lnTo>
                    <a:pt x="393" y="23"/>
                  </a:lnTo>
                  <a:lnTo>
                    <a:pt x="391" y="11"/>
                  </a:lnTo>
                  <a:lnTo>
                    <a:pt x="379" y="0"/>
                  </a:lnTo>
                  <a:lnTo>
                    <a:pt x="351" y="5"/>
                  </a:lnTo>
                  <a:lnTo>
                    <a:pt x="330" y="10"/>
                  </a:lnTo>
                  <a:lnTo>
                    <a:pt x="294" y="7"/>
                  </a:lnTo>
                  <a:lnTo>
                    <a:pt x="275" y="2"/>
                  </a:lnTo>
                  <a:lnTo>
                    <a:pt x="265" y="3"/>
                  </a:lnTo>
                  <a:lnTo>
                    <a:pt x="269" y="25"/>
                  </a:lnTo>
                  <a:lnTo>
                    <a:pt x="252" y="32"/>
                  </a:lnTo>
                  <a:lnTo>
                    <a:pt x="251" y="33"/>
                  </a:lnTo>
                  <a:lnTo>
                    <a:pt x="250" y="34"/>
                  </a:lnTo>
                  <a:lnTo>
                    <a:pt x="248" y="35"/>
                  </a:lnTo>
                  <a:lnTo>
                    <a:pt x="247" y="36"/>
                  </a:lnTo>
                  <a:lnTo>
                    <a:pt x="246" y="36"/>
                  </a:lnTo>
                  <a:lnTo>
                    <a:pt x="244" y="37"/>
                  </a:lnTo>
                  <a:lnTo>
                    <a:pt x="243" y="38"/>
                  </a:lnTo>
                  <a:lnTo>
                    <a:pt x="242" y="39"/>
                  </a:lnTo>
                  <a:lnTo>
                    <a:pt x="240" y="40"/>
                  </a:lnTo>
                  <a:lnTo>
                    <a:pt x="239" y="40"/>
                  </a:lnTo>
                  <a:lnTo>
                    <a:pt x="238" y="40"/>
                  </a:lnTo>
                  <a:lnTo>
                    <a:pt x="237" y="40"/>
                  </a:lnTo>
                  <a:lnTo>
                    <a:pt x="237" y="41"/>
                  </a:lnTo>
                  <a:lnTo>
                    <a:pt x="237" y="43"/>
                  </a:lnTo>
                  <a:lnTo>
                    <a:pt x="237" y="45"/>
                  </a:lnTo>
                  <a:lnTo>
                    <a:pt x="238" y="47"/>
                  </a:lnTo>
                  <a:lnTo>
                    <a:pt x="239" y="50"/>
                  </a:lnTo>
                  <a:lnTo>
                    <a:pt x="240" y="52"/>
                  </a:lnTo>
                  <a:lnTo>
                    <a:pt x="241" y="54"/>
                  </a:lnTo>
                  <a:lnTo>
                    <a:pt x="242" y="56"/>
                  </a:lnTo>
                  <a:lnTo>
                    <a:pt x="243" y="58"/>
                  </a:lnTo>
                  <a:lnTo>
                    <a:pt x="236" y="67"/>
                  </a:lnTo>
                  <a:lnTo>
                    <a:pt x="222" y="62"/>
                  </a:lnTo>
                  <a:lnTo>
                    <a:pt x="196" y="47"/>
                  </a:lnTo>
                  <a:lnTo>
                    <a:pt x="177" y="49"/>
                  </a:lnTo>
                  <a:lnTo>
                    <a:pt x="164" y="44"/>
                  </a:lnTo>
                  <a:lnTo>
                    <a:pt x="165" y="35"/>
                  </a:lnTo>
                  <a:lnTo>
                    <a:pt x="130" y="12"/>
                  </a:lnTo>
                  <a:lnTo>
                    <a:pt x="107" y="11"/>
                  </a:lnTo>
                  <a:lnTo>
                    <a:pt x="85" y="7"/>
                  </a:lnTo>
                  <a:lnTo>
                    <a:pt x="66" y="12"/>
                  </a:lnTo>
                  <a:lnTo>
                    <a:pt x="59" y="25"/>
                  </a:lnTo>
                  <a:lnTo>
                    <a:pt x="44" y="7"/>
                  </a:lnTo>
                  <a:lnTo>
                    <a:pt x="20" y="34"/>
                  </a:lnTo>
                  <a:lnTo>
                    <a:pt x="0" y="58"/>
                  </a:lnTo>
                  <a:lnTo>
                    <a:pt x="7" y="74"/>
                  </a:lnTo>
                  <a:lnTo>
                    <a:pt x="24" y="85"/>
                  </a:lnTo>
                  <a:lnTo>
                    <a:pt x="25" y="104"/>
                  </a:lnTo>
                  <a:lnTo>
                    <a:pt x="12" y="118"/>
                  </a:lnTo>
                  <a:lnTo>
                    <a:pt x="6" y="145"/>
                  </a:lnTo>
                  <a:lnTo>
                    <a:pt x="25" y="140"/>
                  </a:lnTo>
                  <a:lnTo>
                    <a:pt x="43" y="145"/>
                  </a:lnTo>
                  <a:lnTo>
                    <a:pt x="48" y="138"/>
                  </a:lnTo>
                  <a:lnTo>
                    <a:pt x="59" y="144"/>
                  </a:lnTo>
                  <a:lnTo>
                    <a:pt x="54" y="162"/>
                  </a:lnTo>
                  <a:lnTo>
                    <a:pt x="59" y="171"/>
                  </a:lnTo>
                  <a:lnTo>
                    <a:pt x="38" y="171"/>
                  </a:lnTo>
                  <a:lnTo>
                    <a:pt x="31" y="178"/>
                  </a:lnTo>
                  <a:lnTo>
                    <a:pt x="30" y="189"/>
                  </a:lnTo>
                  <a:lnTo>
                    <a:pt x="19" y="190"/>
                  </a:lnTo>
                  <a:lnTo>
                    <a:pt x="20" y="200"/>
                  </a:lnTo>
                  <a:lnTo>
                    <a:pt x="26" y="215"/>
                  </a:lnTo>
                  <a:lnTo>
                    <a:pt x="48" y="215"/>
                  </a:lnTo>
                  <a:lnTo>
                    <a:pt x="54" y="240"/>
                  </a:lnTo>
                  <a:lnTo>
                    <a:pt x="59" y="226"/>
                  </a:lnTo>
                  <a:lnTo>
                    <a:pt x="75" y="228"/>
                  </a:lnTo>
                  <a:lnTo>
                    <a:pt x="80" y="248"/>
                  </a:lnTo>
                  <a:lnTo>
                    <a:pt x="93" y="242"/>
                  </a:lnTo>
                  <a:lnTo>
                    <a:pt x="105" y="247"/>
                  </a:lnTo>
                  <a:lnTo>
                    <a:pt x="105" y="256"/>
                  </a:lnTo>
                  <a:lnTo>
                    <a:pt x="119" y="261"/>
                  </a:lnTo>
                  <a:lnTo>
                    <a:pt x="130" y="189"/>
                  </a:lnTo>
                  <a:lnTo>
                    <a:pt x="160" y="164"/>
                  </a:lnTo>
                  <a:lnTo>
                    <a:pt x="174" y="161"/>
                  </a:lnTo>
                  <a:lnTo>
                    <a:pt x="174" y="145"/>
                  </a:lnTo>
                  <a:lnTo>
                    <a:pt x="202" y="145"/>
                  </a:lnTo>
                  <a:lnTo>
                    <a:pt x="202" y="167"/>
                  </a:lnTo>
                  <a:lnTo>
                    <a:pt x="210" y="178"/>
                  </a:lnTo>
                  <a:lnTo>
                    <a:pt x="204" y="184"/>
                  </a:lnTo>
                  <a:lnTo>
                    <a:pt x="214" y="201"/>
                  </a:lnTo>
                  <a:lnTo>
                    <a:pt x="219" y="214"/>
                  </a:lnTo>
                  <a:lnTo>
                    <a:pt x="237" y="209"/>
                  </a:lnTo>
                  <a:lnTo>
                    <a:pt x="254" y="211"/>
                  </a:lnTo>
                  <a:lnTo>
                    <a:pt x="269" y="218"/>
                  </a:lnTo>
                  <a:lnTo>
                    <a:pt x="270" y="240"/>
                  </a:lnTo>
                  <a:lnTo>
                    <a:pt x="275" y="253"/>
                  </a:lnTo>
                  <a:lnTo>
                    <a:pt x="295" y="263"/>
                  </a:lnTo>
                  <a:lnTo>
                    <a:pt x="302" y="269"/>
                  </a:lnTo>
                  <a:lnTo>
                    <a:pt x="320" y="256"/>
                  </a:lnTo>
                  <a:lnTo>
                    <a:pt x="354" y="244"/>
                  </a:lnTo>
                  <a:lnTo>
                    <a:pt x="359" y="237"/>
                  </a:lnTo>
                  <a:lnTo>
                    <a:pt x="347" y="226"/>
                  </a:lnTo>
                  <a:lnTo>
                    <a:pt x="335" y="228"/>
                  </a:lnTo>
                  <a:lnTo>
                    <a:pt x="323" y="217"/>
                  </a:lnTo>
                  <a:lnTo>
                    <a:pt x="330" y="207"/>
                  </a:lnTo>
                  <a:lnTo>
                    <a:pt x="328" y="199"/>
                  </a:lnTo>
                  <a:lnTo>
                    <a:pt x="328" y="195"/>
                  </a:lnTo>
                  <a:lnTo>
                    <a:pt x="338" y="186"/>
                  </a:lnTo>
                  <a:lnTo>
                    <a:pt x="351" y="200"/>
                  </a:lnTo>
                  <a:lnTo>
                    <a:pt x="357" y="189"/>
                  </a:lnTo>
                  <a:lnTo>
                    <a:pt x="376" y="184"/>
                  </a:lnTo>
                  <a:lnTo>
                    <a:pt x="387" y="193"/>
                  </a:lnTo>
                  <a:lnTo>
                    <a:pt x="417" y="189"/>
                  </a:lnTo>
                  <a:lnTo>
                    <a:pt x="437" y="189"/>
                  </a:lnTo>
                  <a:lnTo>
                    <a:pt x="453" y="203"/>
                  </a:lnTo>
                  <a:lnTo>
                    <a:pt x="459" y="195"/>
                  </a:lnTo>
                  <a:lnTo>
                    <a:pt x="460" y="175"/>
                  </a:lnTo>
                  <a:lnTo>
                    <a:pt x="475" y="167"/>
                  </a:lnTo>
                  <a:lnTo>
                    <a:pt x="493" y="173"/>
                  </a:lnTo>
                  <a:lnTo>
                    <a:pt x="499" y="140"/>
                  </a:lnTo>
                  <a:lnTo>
                    <a:pt x="505" y="133"/>
                  </a:lnTo>
                  <a:lnTo>
                    <a:pt x="517" y="130"/>
                  </a:lnTo>
                  <a:lnTo>
                    <a:pt x="521" y="119"/>
                  </a:lnTo>
                  <a:lnTo>
                    <a:pt x="530" y="1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1" name="Freeform 193">
              <a:extLst>
                <a:ext uri="{FF2B5EF4-FFF2-40B4-BE49-F238E27FC236}">
                  <a16:creationId xmlns:a16="http://schemas.microsoft.com/office/drawing/2014/main" xmlns="" id="{12B08925-99C8-47F9-B55D-DA97DCB15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280" y="3049595"/>
              <a:ext cx="200912" cy="149837"/>
            </a:xfrm>
            <a:custGeom>
              <a:avLst/>
              <a:gdLst>
                <a:gd name="T0" fmla="*/ 144 w 169"/>
                <a:gd name="T1" fmla="*/ 21 h 126"/>
                <a:gd name="T2" fmla="*/ 134 w 169"/>
                <a:gd name="T3" fmla="*/ 33 h 126"/>
                <a:gd name="T4" fmla="*/ 144 w 169"/>
                <a:gd name="T5" fmla="*/ 42 h 126"/>
                <a:gd name="T6" fmla="*/ 143 w 169"/>
                <a:gd name="T7" fmla="*/ 87 h 126"/>
                <a:gd name="T8" fmla="*/ 130 w 169"/>
                <a:gd name="T9" fmla="*/ 91 h 126"/>
                <a:gd name="T10" fmla="*/ 124 w 169"/>
                <a:gd name="T11" fmla="*/ 102 h 126"/>
                <a:gd name="T12" fmla="*/ 97 w 169"/>
                <a:gd name="T13" fmla="*/ 108 h 126"/>
                <a:gd name="T14" fmla="*/ 98 w 169"/>
                <a:gd name="T15" fmla="*/ 117 h 126"/>
                <a:gd name="T16" fmla="*/ 91 w 169"/>
                <a:gd name="T17" fmla="*/ 126 h 126"/>
                <a:gd name="T18" fmla="*/ 76 w 169"/>
                <a:gd name="T19" fmla="*/ 85 h 126"/>
                <a:gd name="T20" fmla="*/ 57 w 169"/>
                <a:gd name="T21" fmla="*/ 99 h 126"/>
                <a:gd name="T22" fmla="*/ 40 w 169"/>
                <a:gd name="T23" fmla="*/ 101 h 126"/>
                <a:gd name="T24" fmla="*/ 0 w 169"/>
                <a:gd name="T25" fmla="*/ 96 h 126"/>
                <a:gd name="T26" fmla="*/ 20 w 169"/>
                <a:gd name="T27" fmla="*/ 81 h 126"/>
                <a:gd name="T28" fmla="*/ 58 w 169"/>
                <a:gd name="T29" fmla="*/ 68 h 126"/>
                <a:gd name="T30" fmla="*/ 64 w 169"/>
                <a:gd name="T31" fmla="*/ 60 h 126"/>
                <a:gd name="T32" fmla="*/ 50 w 169"/>
                <a:gd name="T33" fmla="*/ 47 h 126"/>
                <a:gd name="T34" fmla="*/ 37 w 169"/>
                <a:gd name="T35" fmla="*/ 50 h 126"/>
                <a:gd name="T36" fmla="*/ 23 w 169"/>
                <a:gd name="T37" fmla="*/ 38 h 126"/>
                <a:gd name="T38" fmla="*/ 31 w 169"/>
                <a:gd name="T39" fmla="*/ 27 h 126"/>
                <a:gd name="T40" fmla="*/ 29 w 169"/>
                <a:gd name="T41" fmla="*/ 12 h 126"/>
                <a:gd name="T42" fmla="*/ 40 w 169"/>
                <a:gd name="T43" fmla="*/ 3 h 126"/>
                <a:gd name="T44" fmla="*/ 55 w 169"/>
                <a:gd name="T45" fmla="*/ 18 h 126"/>
                <a:gd name="T46" fmla="*/ 62 w 169"/>
                <a:gd name="T47" fmla="*/ 6 h 126"/>
                <a:gd name="T48" fmla="*/ 83 w 169"/>
                <a:gd name="T49" fmla="*/ 0 h 126"/>
                <a:gd name="T50" fmla="*/ 95 w 169"/>
                <a:gd name="T51" fmla="*/ 10 h 126"/>
                <a:gd name="T52" fmla="*/ 129 w 169"/>
                <a:gd name="T53" fmla="*/ 6 h 126"/>
                <a:gd name="T54" fmla="*/ 151 w 169"/>
                <a:gd name="T55" fmla="*/ 7 h 126"/>
                <a:gd name="T56" fmla="*/ 169 w 169"/>
                <a:gd name="T57" fmla="*/ 2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9" h="126">
                  <a:moveTo>
                    <a:pt x="144" y="21"/>
                  </a:moveTo>
                  <a:lnTo>
                    <a:pt x="134" y="33"/>
                  </a:lnTo>
                  <a:lnTo>
                    <a:pt x="144" y="42"/>
                  </a:lnTo>
                  <a:lnTo>
                    <a:pt x="143" y="87"/>
                  </a:lnTo>
                  <a:lnTo>
                    <a:pt x="130" y="91"/>
                  </a:lnTo>
                  <a:lnTo>
                    <a:pt x="124" y="102"/>
                  </a:lnTo>
                  <a:lnTo>
                    <a:pt x="97" y="108"/>
                  </a:lnTo>
                  <a:lnTo>
                    <a:pt x="98" y="117"/>
                  </a:lnTo>
                  <a:lnTo>
                    <a:pt x="91" y="126"/>
                  </a:lnTo>
                  <a:lnTo>
                    <a:pt x="76" y="85"/>
                  </a:lnTo>
                  <a:lnTo>
                    <a:pt x="57" y="99"/>
                  </a:lnTo>
                  <a:lnTo>
                    <a:pt x="40" y="101"/>
                  </a:lnTo>
                  <a:lnTo>
                    <a:pt x="0" y="96"/>
                  </a:lnTo>
                  <a:lnTo>
                    <a:pt x="20" y="81"/>
                  </a:lnTo>
                  <a:lnTo>
                    <a:pt x="58" y="68"/>
                  </a:lnTo>
                  <a:lnTo>
                    <a:pt x="64" y="60"/>
                  </a:lnTo>
                  <a:lnTo>
                    <a:pt x="50" y="47"/>
                  </a:lnTo>
                  <a:lnTo>
                    <a:pt x="37" y="50"/>
                  </a:lnTo>
                  <a:lnTo>
                    <a:pt x="23" y="38"/>
                  </a:lnTo>
                  <a:lnTo>
                    <a:pt x="31" y="27"/>
                  </a:lnTo>
                  <a:lnTo>
                    <a:pt x="29" y="12"/>
                  </a:lnTo>
                  <a:lnTo>
                    <a:pt x="40" y="3"/>
                  </a:lnTo>
                  <a:lnTo>
                    <a:pt x="55" y="18"/>
                  </a:lnTo>
                  <a:lnTo>
                    <a:pt x="62" y="6"/>
                  </a:lnTo>
                  <a:lnTo>
                    <a:pt x="83" y="0"/>
                  </a:lnTo>
                  <a:lnTo>
                    <a:pt x="95" y="10"/>
                  </a:lnTo>
                  <a:lnTo>
                    <a:pt x="129" y="6"/>
                  </a:lnTo>
                  <a:lnTo>
                    <a:pt x="151" y="7"/>
                  </a:lnTo>
                  <a:lnTo>
                    <a:pt x="169" y="2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2" name="Freeform 194">
              <a:extLst>
                <a:ext uri="{FF2B5EF4-FFF2-40B4-BE49-F238E27FC236}">
                  <a16:creationId xmlns:a16="http://schemas.microsoft.com/office/drawing/2014/main" xmlns="" id="{692A4FDB-0B93-4826-9574-B7E12A752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244" y="3042460"/>
              <a:ext cx="118883" cy="86810"/>
            </a:xfrm>
            <a:custGeom>
              <a:avLst/>
              <a:gdLst>
                <a:gd name="T0" fmla="*/ 0 w 90"/>
                <a:gd name="T1" fmla="*/ 18 h 65"/>
                <a:gd name="T2" fmla="*/ 32 w 90"/>
                <a:gd name="T3" fmla="*/ 0 h 65"/>
                <a:gd name="T4" fmla="*/ 50 w 90"/>
                <a:gd name="T5" fmla="*/ 9 h 65"/>
                <a:gd name="T6" fmla="*/ 62 w 90"/>
                <a:gd name="T7" fmla="*/ 9 h 65"/>
                <a:gd name="T8" fmla="*/ 74 w 90"/>
                <a:gd name="T9" fmla="*/ 21 h 65"/>
                <a:gd name="T10" fmla="*/ 89 w 90"/>
                <a:gd name="T11" fmla="*/ 37 h 65"/>
                <a:gd name="T12" fmla="*/ 80 w 90"/>
                <a:gd name="T13" fmla="*/ 55 h 65"/>
                <a:gd name="T14" fmla="*/ 64 w 90"/>
                <a:gd name="T15" fmla="*/ 62 h 65"/>
                <a:gd name="T16" fmla="*/ 45 w 90"/>
                <a:gd name="T17" fmla="*/ 64 h 65"/>
                <a:gd name="T18" fmla="*/ 42 w 90"/>
                <a:gd name="T19" fmla="*/ 50 h 65"/>
                <a:gd name="T20" fmla="*/ 35 w 90"/>
                <a:gd name="T21" fmla="*/ 37 h 65"/>
                <a:gd name="T22" fmla="*/ 15 w 90"/>
                <a:gd name="T23" fmla="*/ 31 h 65"/>
                <a:gd name="T24" fmla="*/ 0 w 90"/>
                <a:gd name="T25" fmla="*/ 1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0" h="65">
                  <a:moveTo>
                    <a:pt x="0" y="18"/>
                  </a:moveTo>
                  <a:lnTo>
                    <a:pt x="32" y="0"/>
                  </a:lnTo>
                  <a:lnTo>
                    <a:pt x="50" y="9"/>
                  </a:lnTo>
                  <a:lnTo>
                    <a:pt x="62" y="9"/>
                  </a:lnTo>
                  <a:lnTo>
                    <a:pt x="74" y="21"/>
                  </a:lnTo>
                  <a:lnTo>
                    <a:pt x="89" y="37"/>
                  </a:lnTo>
                  <a:lnTo>
                    <a:pt x="80" y="55"/>
                  </a:lnTo>
                  <a:lnTo>
                    <a:pt x="64" y="62"/>
                  </a:lnTo>
                  <a:lnTo>
                    <a:pt x="45" y="64"/>
                  </a:lnTo>
                  <a:lnTo>
                    <a:pt x="42" y="50"/>
                  </a:lnTo>
                  <a:lnTo>
                    <a:pt x="35" y="37"/>
                  </a:lnTo>
                  <a:lnTo>
                    <a:pt x="15" y="31"/>
                  </a:lnTo>
                  <a:lnTo>
                    <a:pt x="0" y="1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3" name="Freeform 196">
              <a:extLst>
                <a:ext uri="{FF2B5EF4-FFF2-40B4-BE49-F238E27FC236}">
                  <a16:creationId xmlns:a16="http://schemas.microsoft.com/office/drawing/2014/main" xmlns="" id="{7FBFC9C0-E753-446E-A472-542CCC01A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0835" y="3003217"/>
              <a:ext cx="93917" cy="117729"/>
            </a:xfrm>
            <a:custGeom>
              <a:avLst/>
              <a:gdLst>
                <a:gd name="T0" fmla="*/ 12 w 71"/>
                <a:gd name="T1" fmla="*/ 8 h 89"/>
                <a:gd name="T2" fmla="*/ 15 w 71"/>
                <a:gd name="T3" fmla="*/ 26 h 89"/>
                <a:gd name="T4" fmla="*/ 17 w 71"/>
                <a:gd name="T5" fmla="*/ 42 h 89"/>
                <a:gd name="T6" fmla="*/ 8 w 71"/>
                <a:gd name="T7" fmla="*/ 58 h 89"/>
                <a:gd name="T8" fmla="*/ 0 w 71"/>
                <a:gd name="T9" fmla="*/ 73 h 89"/>
                <a:gd name="T10" fmla="*/ 9 w 71"/>
                <a:gd name="T11" fmla="*/ 80 h 89"/>
                <a:gd name="T12" fmla="*/ 26 w 71"/>
                <a:gd name="T13" fmla="*/ 74 h 89"/>
                <a:gd name="T14" fmla="*/ 42 w 71"/>
                <a:gd name="T15" fmla="*/ 77 h 89"/>
                <a:gd name="T16" fmla="*/ 42 w 71"/>
                <a:gd name="T17" fmla="*/ 78 h 89"/>
                <a:gd name="T18" fmla="*/ 42 w 71"/>
                <a:gd name="T19" fmla="*/ 79 h 89"/>
                <a:gd name="T20" fmla="*/ 43 w 71"/>
                <a:gd name="T21" fmla="*/ 80 h 89"/>
                <a:gd name="T22" fmla="*/ 44 w 71"/>
                <a:gd name="T23" fmla="*/ 80 h 89"/>
                <a:gd name="T24" fmla="*/ 44 w 71"/>
                <a:gd name="T25" fmla="*/ 83 h 89"/>
                <a:gd name="T26" fmla="*/ 45 w 71"/>
                <a:gd name="T27" fmla="*/ 85 h 89"/>
                <a:gd name="T28" fmla="*/ 46 w 71"/>
                <a:gd name="T29" fmla="*/ 85 h 89"/>
                <a:gd name="T30" fmla="*/ 48 w 71"/>
                <a:gd name="T31" fmla="*/ 87 h 89"/>
                <a:gd name="T32" fmla="*/ 48 w 71"/>
                <a:gd name="T33" fmla="*/ 88 h 89"/>
                <a:gd name="T34" fmla="*/ 49 w 71"/>
                <a:gd name="T35" fmla="*/ 88 h 89"/>
                <a:gd name="T36" fmla="*/ 50 w 71"/>
                <a:gd name="T37" fmla="*/ 87 h 89"/>
                <a:gd name="T38" fmla="*/ 50 w 71"/>
                <a:gd name="T39" fmla="*/ 86 h 89"/>
                <a:gd name="T40" fmla="*/ 50 w 71"/>
                <a:gd name="T41" fmla="*/ 85 h 89"/>
                <a:gd name="T42" fmla="*/ 51 w 71"/>
                <a:gd name="T43" fmla="*/ 83 h 89"/>
                <a:gd name="T44" fmla="*/ 51 w 71"/>
                <a:gd name="T45" fmla="*/ 80 h 89"/>
                <a:gd name="T46" fmla="*/ 53 w 71"/>
                <a:gd name="T47" fmla="*/ 78 h 89"/>
                <a:gd name="T48" fmla="*/ 55 w 71"/>
                <a:gd name="T49" fmla="*/ 76 h 89"/>
                <a:gd name="T50" fmla="*/ 55 w 71"/>
                <a:gd name="T51" fmla="*/ 74 h 89"/>
                <a:gd name="T52" fmla="*/ 57 w 71"/>
                <a:gd name="T53" fmla="*/ 71 h 89"/>
                <a:gd name="T54" fmla="*/ 58 w 71"/>
                <a:gd name="T55" fmla="*/ 69 h 89"/>
                <a:gd name="T56" fmla="*/ 59 w 71"/>
                <a:gd name="T57" fmla="*/ 68 h 89"/>
                <a:gd name="T58" fmla="*/ 59 w 71"/>
                <a:gd name="T59" fmla="*/ 67 h 89"/>
                <a:gd name="T60" fmla="*/ 60 w 71"/>
                <a:gd name="T61" fmla="*/ 66 h 89"/>
                <a:gd name="T62" fmla="*/ 70 w 71"/>
                <a:gd name="T63" fmla="*/ 61 h 89"/>
                <a:gd name="T64" fmla="*/ 67 w 71"/>
                <a:gd name="T65" fmla="*/ 42 h 89"/>
                <a:gd name="T66" fmla="*/ 52 w 71"/>
                <a:gd name="T67" fmla="*/ 37 h 89"/>
                <a:gd name="T68" fmla="*/ 31 w 71"/>
                <a:gd name="T69" fmla="*/ 30 h 89"/>
                <a:gd name="T70" fmla="*/ 25 w 71"/>
                <a:gd name="T71" fmla="*/ 14 h 89"/>
                <a:gd name="T72" fmla="*/ 18 w 71"/>
                <a:gd name="T73" fmla="*/ 0 h 89"/>
                <a:gd name="T74" fmla="*/ 12 w 71"/>
                <a:gd name="T75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" h="89">
                  <a:moveTo>
                    <a:pt x="12" y="8"/>
                  </a:moveTo>
                  <a:lnTo>
                    <a:pt x="15" y="26"/>
                  </a:lnTo>
                  <a:lnTo>
                    <a:pt x="17" y="42"/>
                  </a:lnTo>
                  <a:lnTo>
                    <a:pt x="8" y="58"/>
                  </a:lnTo>
                  <a:lnTo>
                    <a:pt x="0" y="73"/>
                  </a:lnTo>
                  <a:lnTo>
                    <a:pt x="9" y="80"/>
                  </a:lnTo>
                  <a:lnTo>
                    <a:pt x="26" y="74"/>
                  </a:lnTo>
                  <a:lnTo>
                    <a:pt x="42" y="77"/>
                  </a:lnTo>
                  <a:lnTo>
                    <a:pt x="42" y="78"/>
                  </a:lnTo>
                  <a:lnTo>
                    <a:pt x="42" y="79"/>
                  </a:lnTo>
                  <a:lnTo>
                    <a:pt x="43" y="80"/>
                  </a:lnTo>
                  <a:lnTo>
                    <a:pt x="44" y="80"/>
                  </a:lnTo>
                  <a:lnTo>
                    <a:pt x="44" y="83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8" y="87"/>
                  </a:lnTo>
                  <a:lnTo>
                    <a:pt x="48" y="88"/>
                  </a:lnTo>
                  <a:lnTo>
                    <a:pt x="49" y="88"/>
                  </a:lnTo>
                  <a:lnTo>
                    <a:pt x="50" y="87"/>
                  </a:lnTo>
                  <a:lnTo>
                    <a:pt x="50" y="86"/>
                  </a:lnTo>
                  <a:lnTo>
                    <a:pt x="50" y="85"/>
                  </a:lnTo>
                  <a:lnTo>
                    <a:pt x="51" y="83"/>
                  </a:lnTo>
                  <a:lnTo>
                    <a:pt x="51" y="80"/>
                  </a:lnTo>
                  <a:lnTo>
                    <a:pt x="53" y="78"/>
                  </a:lnTo>
                  <a:lnTo>
                    <a:pt x="55" y="76"/>
                  </a:lnTo>
                  <a:lnTo>
                    <a:pt x="55" y="74"/>
                  </a:lnTo>
                  <a:lnTo>
                    <a:pt x="57" y="71"/>
                  </a:lnTo>
                  <a:lnTo>
                    <a:pt x="58" y="69"/>
                  </a:lnTo>
                  <a:lnTo>
                    <a:pt x="59" y="68"/>
                  </a:lnTo>
                  <a:lnTo>
                    <a:pt x="59" y="67"/>
                  </a:lnTo>
                  <a:lnTo>
                    <a:pt x="60" y="66"/>
                  </a:lnTo>
                  <a:lnTo>
                    <a:pt x="70" y="61"/>
                  </a:lnTo>
                  <a:lnTo>
                    <a:pt x="67" y="42"/>
                  </a:lnTo>
                  <a:lnTo>
                    <a:pt x="52" y="37"/>
                  </a:lnTo>
                  <a:lnTo>
                    <a:pt x="31" y="30"/>
                  </a:lnTo>
                  <a:lnTo>
                    <a:pt x="25" y="14"/>
                  </a:lnTo>
                  <a:lnTo>
                    <a:pt x="18" y="0"/>
                  </a:lnTo>
                  <a:lnTo>
                    <a:pt x="12" y="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4" name="Freeform 197">
              <a:extLst>
                <a:ext uri="{FF2B5EF4-FFF2-40B4-BE49-F238E27FC236}">
                  <a16:creationId xmlns:a16="http://schemas.microsoft.com/office/drawing/2014/main" xmlns="" id="{ED6BB01F-16F6-4235-9520-F86E5061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2651" y="3129270"/>
              <a:ext cx="181890" cy="191458"/>
            </a:xfrm>
            <a:custGeom>
              <a:avLst/>
              <a:gdLst>
                <a:gd name="T0" fmla="*/ 99 w 136"/>
                <a:gd name="T1" fmla="*/ 0 h 143"/>
                <a:gd name="T2" fmla="*/ 114 w 136"/>
                <a:gd name="T3" fmla="*/ 0 h 143"/>
                <a:gd name="T4" fmla="*/ 118 w 136"/>
                <a:gd name="T5" fmla="*/ 25 h 143"/>
                <a:gd name="T6" fmla="*/ 123 w 136"/>
                <a:gd name="T7" fmla="*/ 34 h 143"/>
                <a:gd name="T8" fmla="*/ 135 w 136"/>
                <a:gd name="T9" fmla="*/ 45 h 143"/>
                <a:gd name="T10" fmla="*/ 117 w 136"/>
                <a:gd name="T11" fmla="*/ 60 h 143"/>
                <a:gd name="T12" fmla="*/ 125 w 136"/>
                <a:gd name="T13" fmla="*/ 87 h 143"/>
                <a:gd name="T14" fmla="*/ 121 w 136"/>
                <a:gd name="T15" fmla="*/ 103 h 143"/>
                <a:gd name="T16" fmla="*/ 114 w 136"/>
                <a:gd name="T17" fmla="*/ 112 h 143"/>
                <a:gd name="T18" fmla="*/ 106 w 136"/>
                <a:gd name="T19" fmla="*/ 114 h 143"/>
                <a:gd name="T20" fmla="*/ 101 w 136"/>
                <a:gd name="T21" fmla="*/ 127 h 143"/>
                <a:gd name="T22" fmla="*/ 91 w 136"/>
                <a:gd name="T23" fmla="*/ 116 h 143"/>
                <a:gd name="T24" fmla="*/ 86 w 136"/>
                <a:gd name="T25" fmla="*/ 122 h 143"/>
                <a:gd name="T26" fmla="*/ 67 w 136"/>
                <a:gd name="T27" fmla="*/ 123 h 143"/>
                <a:gd name="T28" fmla="*/ 63 w 136"/>
                <a:gd name="T29" fmla="*/ 114 h 143"/>
                <a:gd name="T30" fmla="*/ 55 w 136"/>
                <a:gd name="T31" fmla="*/ 116 h 143"/>
                <a:gd name="T32" fmla="*/ 55 w 136"/>
                <a:gd name="T33" fmla="*/ 139 h 143"/>
                <a:gd name="T34" fmla="*/ 46 w 136"/>
                <a:gd name="T35" fmla="*/ 133 h 143"/>
                <a:gd name="T36" fmla="*/ 40 w 136"/>
                <a:gd name="T37" fmla="*/ 124 h 143"/>
                <a:gd name="T38" fmla="*/ 36 w 136"/>
                <a:gd name="T39" fmla="*/ 139 h 143"/>
                <a:gd name="T40" fmla="*/ 26 w 136"/>
                <a:gd name="T41" fmla="*/ 142 h 143"/>
                <a:gd name="T42" fmla="*/ 19 w 136"/>
                <a:gd name="T43" fmla="*/ 131 h 143"/>
                <a:gd name="T44" fmla="*/ 7 w 136"/>
                <a:gd name="T45" fmla="*/ 129 h 143"/>
                <a:gd name="T46" fmla="*/ 0 w 136"/>
                <a:gd name="T47" fmla="*/ 123 h 143"/>
                <a:gd name="T48" fmla="*/ 11 w 136"/>
                <a:gd name="T49" fmla="*/ 112 h 143"/>
                <a:gd name="T50" fmla="*/ 23 w 136"/>
                <a:gd name="T51" fmla="*/ 105 h 143"/>
                <a:gd name="T52" fmla="*/ 32 w 136"/>
                <a:gd name="T53" fmla="*/ 97 h 143"/>
                <a:gd name="T54" fmla="*/ 54 w 136"/>
                <a:gd name="T55" fmla="*/ 99 h 143"/>
                <a:gd name="T56" fmla="*/ 55 w 136"/>
                <a:gd name="T57" fmla="*/ 84 h 143"/>
                <a:gd name="T58" fmla="*/ 60 w 136"/>
                <a:gd name="T59" fmla="*/ 72 h 143"/>
                <a:gd name="T60" fmla="*/ 68 w 136"/>
                <a:gd name="T61" fmla="*/ 76 h 143"/>
                <a:gd name="T62" fmla="*/ 88 w 136"/>
                <a:gd name="T63" fmla="*/ 73 h 143"/>
                <a:gd name="T64" fmla="*/ 91 w 136"/>
                <a:gd name="T65" fmla="*/ 62 h 143"/>
                <a:gd name="T66" fmla="*/ 91 w 136"/>
                <a:gd name="T67" fmla="*/ 44 h 143"/>
                <a:gd name="T68" fmla="*/ 97 w 136"/>
                <a:gd name="T69" fmla="*/ 34 h 143"/>
                <a:gd name="T70" fmla="*/ 92 w 136"/>
                <a:gd name="T71" fmla="*/ 10 h 143"/>
                <a:gd name="T72" fmla="*/ 99 w 136"/>
                <a:gd name="T73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6" h="143">
                  <a:moveTo>
                    <a:pt x="99" y="0"/>
                  </a:moveTo>
                  <a:lnTo>
                    <a:pt x="114" y="0"/>
                  </a:lnTo>
                  <a:lnTo>
                    <a:pt x="118" y="25"/>
                  </a:lnTo>
                  <a:lnTo>
                    <a:pt x="123" y="34"/>
                  </a:lnTo>
                  <a:lnTo>
                    <a:pt x="135" y="45"/>
                  </a:lnTo>
                  <a:lnTo>
                    <a:pt x="117" y="60"/>
                  </a:lnTo>
                  <a:lnTo>
                    <a:pt x="125" y="87"/>
                  </a:lnTo>
                  <a:lnTo>
                    <a:pt x="121" y="103"/>
                  </a:lnTo>
                  <a:lnTo>
                    <a:pt x="114" y="112"/>
                  </a:lnTo>
                  <a:lnTo>
                    <a:pt x="106" y="114"/>
                  </a:lnTo>
                  <a:lnTo>
                    <a:pt x="101" y="127"/>
                  </a:lnTo>
                  <a:lnTo>
                    <a:pt x="91" y="116"/>
                  </a:lnTo>
                  <a:lnTo>
                    <a:pt x="86" y="122"/>
                  </a:lnTo>
                  <a:lnTo>
                    <a:pt x="67" y="123"/>
                  </a:lnTo>
                  <a:lnTo>
                    <a:pt x="63" y="114"/>
                  </a:lnTo>
                  <a:lnTo>
                    <a:pt x="55" y="116"/>
                  </a:lnTo>
                  <a:lnTo>
                    <a:pt x="55" y="139"/>
                  </a:lnTo>
                  <a:lnTo>
                    <a:pt x="46" y="133"/>
                  </a:lnTo>
                  <a:lnTo>
                    <a:pt x="40" y="124"/>
                  </a:lnTo>
                  <a:lnTo>
                    <a:pt x="36" y="139"/>
                  </a:lnTo>
                  <a:lnTo>
                    <a:pt x="26" y="142"/>
                  </a:lnTo>
                  <a:lnTo>
                    <a:pt x="19" y="131"/>
                  </a:lnTo>
                  <a:lnTo>
                    <a:pt x="7" y="129"/>
                  </a:lnTo>
                  <a:lnTo>
                    <a:pt x="0" y="123"/>
                  </a:lnTo>
                  <a:lnTo>
                    <a:pt x="11" y="112"/>
                  </a:lnTo>
                  <a:lnTo>
                    <a:pt x="23" y="105"/>
                  </a:lnTo>
                  <a:lnTo>
                    <a:pt x="32" y="97"/>
                  </a:lnTo>
                  <a:lnTo>
                    <a:pt x="54" y="99"/>
                  </a:lnTo>
                  <a:lnTo>
                    <a:pt x="55" y="84"/>
                  </a:lnTo>
                  <a:lnTo>
                    <a:pt x="60" y="72"/>
                  </a:lnTo>
                  <a:lnTo>
                    <a:pt x="68" y="76"/>
                  </a:lnTo>
                  <a:lnTo>
                    <a:pt x="88" y="73"/>
                  </a:lnTo>
                  <a:lnTo>
                    <a:pt x="91" y="62"/>
                  </a:lnTo>
                  <a:lnTo>
                    <a:pt x="91" y="44"/>
                  </a:lnTo>
                  <a:lnTo>
                    <a:pt x="97" y="34"/>
                  </a:lnTo>
                  <a:lnTo>
                    <a:pt x="92" y="10"/>
                  </a:lnTo>
                  <a:lnTo>
                    <a:pt x="99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5" name="Freeform 198">
              <a:extLst>
                <a:ext uri="{FF2B5EF4-FFF2-40B4-BE49-F238E27FC236}">
                  <a16:creationId xmlns:a16="http://schemas.microsoft.com/office/drawing/2014/main" xmlns="" id="{DEEAC13E-B9B4-4488-BEB2-92B13D7F3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8665" y="3308837"/>
              <a:ext cx="43987" cy="73729"/>
            </a:xfrm>
            <a:custGeom>
              <a:avLst/>
              <a:gdLst>
                <a:gd name="T0" fmla="*/ 14 w 34"/>
                <a:gd name="T1" fmla="*/ 5 h 54"/>
                <a:gd name="T2" fmla="*/ 8 w 34"/>
                <a:gd name="T3" fmla="*/ 15 h 54"/>
                <a:gd name="T4" fmla="*/ 0 w 34"/>
                <a:gd name="T5" fmla="*/ 21 h 54"/>
                <a:gd name="T6" fmla="*/ 7 w 34"/>
                <a:gd name="T7" fmla="*/ 36 h 54"/>
                <a:gd name="T8" fmla="*/ 14 w 34"/>
                <a:gd name="T9" fmla="*/ 28 h 54"/>
                <a:gd name="T10" fmla="*/ 21 w 34"/>
                <a:gd name="T11" fmla="*/ 31 h 54"/>
                <a:gd name="T12" fmla="*/ 19 w 34"/>
                <a:gd name="T13" fmla="*/ 40 h 54"/>
                <a:gd name="T14" fmla="*/ 25 w 34"/>
                <a:gd name="T15" fmla="*/ 53 h 54"/>
                <a:gd name="T16" fmla="*/ 33 w 34"/>
                <a:gd name="T17" fmla="*/ 47 h 54"/>
                <a:gd name="T18" fmla="*/ 33 w 34"/>
                <a:gd name="T19" fmla="*/ 32 h 54"/>
                <a:gd name="T20" fmla="*/ 31 w 34"/>
                <a:gd name="T21" fmla="*/ 8 h 54"/>
                <a:gd name="T22" fmla="*/ 25 w 34"/>
                <a:gd name="T23" fmla="*/ 0 h 54"/>
                <a:gd name="T24" fmla="*/ 14 w 34"/>
                <a:gd name="T25" fmla="*/ 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4">
                  <a:moveTo>
                    <a:pt x="14" y="5"/>
                  </a:moveTo>
                  <a:lnTo>
                    <a:pt x="8" y="15"/>
                  </a:lnTo>
                  <a:lnTo>
                    <a:pt x="0" y="21"/>
                  </a:lnTo>
                  <a:lnTo>
                    <a:pt x="7" y="36"/>
                  </a:lnTo>
                  <a:lnTo>
                    <a:pt x="14" y="28"/>
                  </a:lnTo>
                  <a:lnTo>
                    <a:pt x="21" y="31"/>
                  </a:lnTo>
                  <a:lnTo>
                    <a:pt x="19" y="40"/>
                  </a:lnTo>
                  <a:lnTo>
                    <a:pt x="25" y="53"/>
                  </a:lnTo>
                  <a:lnTo>
                    <a:pt x="33" y="47"/>
                  </a:lnTo>
                  <a:lnTo>
                    <a:pt x="33" y="32"/>
                  </a:lnTo>
                  <a:lnTo>
                    <a:pt x="31" y="8"/>
                  </a:lnTo>
                  <a:lnTo>
                    <a:pt x="25" y="0"/>
                  </a:lnTo>
                  <a:lnTo>
                    <a:pt x="14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6" name="Freeform 199">
              <a:extLst>
                <a:ext uri="{FF2B5EF4-FFF2-40B4-BE49-F238E27FC236}">
                  <a16:creationId xmlns:a16="http://schemas.microsoft.com/office/drawing/2014/main" xmlns="" id="{DDD61AF6-4CF8-4883-A601-CA70345C7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476" y="2822461"/>
              <a:ext cx="1087776" cy="803887"/>
            </a:xfrm>
            <a:custGeom>
              <a:avLst/>
              <a:gdLst>
                <a:gd name="T0" fmla="*/ 622 w 817"/>
                <a:gd name="T1" fmla="*/ 289 h 602"/>
                <a:gd name="T2" fmla="*/ 663 w 817"/>
                <a:gd name="T3" fmla="*/ 292 h 602"/>
                <a:gd name="T4" fmla="*/ 670 w 817"/>
                <a:gd name="T5" fmla="*/ 320 h 602"/>
                <a:gd name="T6" fmla="*/ 674 w 817"/>
                <a:gd name="T7" fmla="*/ 378 h 602"/>
                <a:gd name="T8" fmla="*/ 696 w 817"/>
                <a:gd name="T9" fmla="*/ 431 h 602"/>
                <a:gd name="T10" fmla="*/ 691 w 817"/>
                <a:gd name="T11" fmla="*/ 487 h 602"/>
                <a:gd name="T12" fmla="*/ 664 w 817"/>
                <a:gd name="T13" fmla="*/ 529 h 602"/>
                <a:gd name="T14" fmla="*/ 641 w 817"/>
                <a:gd name="T15" fmla="*/ 548 h 602"/>
                <a:gd name="T16" fmla="*/ 595 w 817"/>
                <a:gd name="T17" fmla="*/ 567 h 602"/>
                <a:gd name="T18" fmla="*/ 540 w 817"/>
                <a:gd name="T19" fmla="*/ 601 h 602"/>
                <a:gd name="T20" fmla="*/ 519 w 817"/>
                <a:gd name="T21" fmla="*/ 593 h 602"/>
                <a:gd name="T22" fmla="*/ 460 w 817"/>
                <a:gd name="T23" fmla="*/ 555 h 602"/>
                <a:gd name="T24" fmla="*/ 428 w 817"/>
                <a:gd name="T25" fmla="*/ 587 h 602"/>
                <a:gd name="T26" fmla="*/ 391 w 817"/>
                <a:gd name="T27" fmla="*/ 577 h 602"/>
                <a:gd name="T28" fmla="*/ 364 w 817"/>
                <a:gd name="T29" fmla="*/ 537 h 602"/>
                <a:gd name="T30" fmla="*/ 380 w 817"/>
                <a:gd name="T31" fmla="*/ 504 h 602"/>
                <a:gd name="T32" fmla="*/ 354 w 817"/>
                <a:gd name="T33" fmla="*/ 481 h 602"/>
                <a:gd name="T34" fmla="*/ 306 w 817"/>
                <a:gd name="T35" fmla="*/ 458 h 602"/>
                <a:gd name="T36" fmla="*/ 257 w 817"/>
                <a:gd name="T37" fmla="*/ 479 h 602"/>
                <a:gd name="T38" fmla="*/ 219 w 817"/>
                <a:gd name="T39" fmla="*/ 480 h 602"/>
                <a:gd name="T40" fmla="*/ 163 w 817"/>
                <a:gd name="T41" fmla="*/ 464 h 602"/>
                <a:gd name="T42" fmla="*/ 142 w 817"/>
                <a:gd name="T43" fmla="*/ 450 h 602"/>
                <a:gd name="T44" fmla="*/ 100 w 817"/>
                <a:gd name="T45" fmla="*/ 426 h 602"/>
                <a:gd name="T46" fmla="*/ 68 w 817"/>
                <a:gd name="T47" fmla="*/ 387 h 602"/>
                <a:gd name="T48" fmla="*/ 17 w 817"/>
                <a:gd name="T49" fmla="*/ 387 h 602"/>
                <a:gd name="T50" fmla="*/ 14 w 817"/>
                <a:gd name="T51" fmla="*/ 344 h 602"/>
                <a:gd name="T52" fmla="*/ 15 w 817"/>
                <a:gd name="T53" fmla="*/ 310 h 602"/>
                <a:gd name="T54" fmla="*/ 14 w 817"/>
                <a:gd name="T55" fmla="*/ 269 h 602"/>
                <a:gd name="T56" fmla="*/ 40 w 817"/>
                <a:gd name="T57" fmla="*/ 266 h 602"/>
                <a:gd name="T58" fmla="*/ 81 w 817"/>
                <a:gd name="T59" fmla="*/ 248 h 602"/>
                <a:gd name="T60" fmla="*/ 76 w 817"/>
                <a:gd name="T61" fmla="*/ 192 h 602"/>
                <a:gd name="T62" fmla="*/ 111 w 817"/>
                <a:gd name="T63" fmla="*/ 161 h 602"/>
                <a:gd name="T64" fmla="*/ 150 w 817"/>
                <a:gd name="T65" fmla="*/ 126 h 602"/>
                <a:gd name="T66" fmla="*/ 172 w 817"/>
                <a:gd name="T67" fmla="*/ 105 h 602"/>
                <a:gd name="T68" fmla="*/ 210 w 817"/>
                <a:gd name="T69" fmla="*/ 120 h 602"/>
                <a:gd name="T70" fmla="*/ 258 w 817"/>
                <a:gd name="T71" fmla="*/ 167 h 602"/>
                <a:gd name="T72" fmla="*/ 298 w 817"/>
                <a:gd name="T73" fmla="*/ 198 h 602"/>
                <a:gd name="T74" fmla="*/ 406 w 817"/>
                <a:gd name="T75" fmla="*/ 218 h 602"/>
                <a:gd name="T76" fmla="*/ 460 w 817"/>
                <a:gd name="T77" fmla="*/ 214 h 602"/>
                <a:gd name="T78" fmla="*/ 513 w 817"/>
                <a:gd name="T79" fmla="*/ 182 h 602"/>
                <a:gd name="T80" fmla="*/ 546 w 817"/>
                <a:gd name="T81" fmla="*/ 158 h 602"/>
                <a:gd name="T82" fmla="*/ 604 w 817"/>
                <a:gd name="T83" fmla="*/ 124 h 602"/>
                <a:gd name="T84" fmla="*/ 558 w 817"/>
                <a:gd name="T85" fmla="*/ 115 h 602"/>
                <a:gd name="T86" fmla="*/ 557 w 817"/>
                <a:gd name="T87" fmla="*/ 65 h 602"/>
                <a:gd name="T88" fmla="*/ 591 w 817"/>
                <a:gd name="T89" fmla="*/ 49 h 602"/>
                <a:gd name="T90" fmla="*/ 600 w 817"/>
                <a:gd name="T91" fmla="*/ 0 h 602"/>
                <a:gd name="T92" fmla="*/ 689 w 817"/>
                <a:gd name="T93" fmla="*/ 29 h 602"/>
                <a:gd name="T94" fmla="*/ 714 w 817"/>
                <a:gd name="T95" fmla="*/ 73 h 602"/>
                <a:gd name="T96" fmla="*/ 763 w 817"/>
                <a:gd name="T97" fmla="*/ 97 h 602"/>
                <a:gd name="T98" fmla="*/ 808 w 817"/>
                <a:gd name="T99" fmla="*/ 103 h 602"/>
                <a:gd name="T100" fmla="*/ 806 w 817"/>
                <a:gd name="T101" fmla="*/ 130 h 602"/>
                <a:gd name="T102" fmla="*/ 783 w 817"/>
                <a:gd name="T103" fmla="*/ 178 h 602"/>
                <a:gd name="T104" fmla="*/ 797 w 817"/>
                <a:gd name="T105" fmla="*/ 198 h 602"/>
                <a:gd name="T106" fmla="*/ 755 w 817"/>
                <a:gd name="T107" fmla="*/ 230 h 602"/>
                <a:gd name="T108" fmla="*/ 721 w 817"/>
                <a:gd name="T109" fmla="*/ 248 h 602"/>
                <a:gd name="T110" fmla="*/ 669 w 817"/>
                <a:gd name="T111" fmla="*/ 275 h 602"/>
                <a:gd name="T112" fmla="*/ 657 w 817"/>
                <a:gd name="T113" fmla="*/ 241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17" h="602">
                  <a:moveTo>
                    <a:pt x="641" y="259"/>
                  </a:moveTo>
                  <a:lnTo>
                    <a:pt x="621" y="274"/>
                  </a:lnTo>
                  <a:lnTo>
                    <a:pt x="622" y="289"/>
                  </a:lnTo>
                  <a:lnTo>
                    <a:pt x="637" y="302"/>
                  </a:lnTo>
                  <a:lnTo>
                    <a:pt x="652" y="303"/>
                  </a:lnTo>
                  <a:lnTo>
                    <a:pt x="663" y="292"/>
                  </a:lnTo>
                  <a:lnTo>
                    <a:pt x="685" y="294"/>
                  </a:lnTo>
                  <a:lnTo>
                    <a:pt x="689" y="314"/>
                  </a:lnTo>
                  <a:lnTo>
                    <a:pt x="670" y="320"/>
                  </a:lnTo>
                  <a:lnTo>
                    <a:pt x="655" y="334"/>
                  </a:lnTo>
                  <a:lnTo>
                    <a:pt x="661" y="353"/>
                  </a:lnTo>
                  <a:lnTo>
                    <a:pt x="674" y="378"/>
                  </a:lnTo>
                  <a:lnTo>
                    <a:pt x="692" y="397"/>
                  </a:lnTo>
                  <a:lnTo>
                    <a:pt x="692" y="413"/>
                  </a:lnTo>
                  <a:lnTo>
                    <a:pt x="696" y="431"/>
                  </a:lnTo>
                  <a:lnTo>
                    <a:pt x="703" y="471"/>
                  </a:lnTo>
                  <a:lnTo>
                    <a:pt x="693" y="474"/>
                  </a:lnTo>
                  <a:lnTo>
                    <a:pt x="691" y="487"/>
                  </a:lnTo>
                  <a:lnTo>
                    <a:pt x="677" y="500"/>
                  </a:lnTo>
                  <a:lnTo>
                    <a:pt x="678" y="519"/>
                  </a:lnTo>
                  <a:lnTo>
                    <a:pt x="664" y="529"/>
                  </a:lnTo>
                  <a:lnTo>
                    <a:pt x="655" y="530"/>
                  </a:lnTo>
                  <a:lnTo>
                    <a:pt x="652" y="545"/>
                  </a:lnTo>
                  <a:lnTo>
                    <a:pt x="641" y="548"/>
                  </a:lnTo>
                  <a:lnTo>
                    <a:pt x="638" y="563"/>
                  </a:lnTo>
                  <a:lnTo>
                    <a:pt x="613" y="570"/>
                  </a:lnTo>
                  <a:lnTo>
                    <a:pt x="595" y="567"/>
                  </a:lnTo>
                  <a:lnTo>
                    <a:pt x="572" y="575"/>
                  </a:lnTo>
                  <a:lnTo>
                    <a:pt x="549" y="593"/>
                  </a:lnTo>
                  <a:lnTo>
                    <a:pt x="540" y="601"/>
                  </a:lnTo>
                  <a:lnTo>
                    <a:pt x="534" y="581"/>
                  </a:lnTo>
                  <a:lnTo>
                    <a:pt x="525" y="576"/>
                  </a:lnTo>
                  <a:lnTo>
                    <a:pt x="519" y="593"/>
                  </a:lnTo>
                  <a:lnTo>
                    <a:pt x="497" y="563"/>
                  </a:lnTo>
                  <a:lnTo>
                    <a:pt x="475" y="555"/>
                  </a:lnTo>
                  <a:lnTo>
                    <a:pt x="460" y="555"/>
                  </a:lnTo>
                  <a:lnTo>
                    <a:pt x="437" y="567"/>
                  </a:lnTo>
                  <a:lnTo>
                    <a:pt x="426" y="573"/>
                  </a:lnTo>
                  <a:lnTo>
                    <a:pt x="428" y="587"/>
                  </a:lnTo>
                  <a:lnTo>
                    <a:pt x="408" y="590"/>
                  </a:lnTo>
                  <a:lnTo>
                    <a:pt x="405" y="581"/>
                  </a:lnTo>
                  <a:lnTo>
                    <a:pt x="391" y="577"/>
                  </a:lnTo>
                  <a:lnTo>
                    <a:pt x="387" y="554"/>
                  </a:lnTo>
                  <a:lnTo>
                    <a:pt x="380" y="539"/>
                  </a:lnTo>
                  <a:lnTo>
                    <a:pt x="364" y="537"/>
                  </a:lnTo>
                  <a:lnTo>
                    <a:pt x="365" y="524"/>
                  </a:lnTo>
                  <a:lnTo>
                    <a:pt x="375" y="516"/>
                  </a:lnTo>
                  <a:lnTo>
                    <a:pt x="380" y="504"/>
                  </a:lnTo>
                  <a:lnTo>
                    <a:pt x="375" y="487"/>
                  </a:lnTo>
                  <a:lnTo>
                    <a:pt x="371" y="479"/>
                  </a:lnTo>
                  <a:lnTo>
                    <a:pt x="354" y="481"/>
                  </a:lnTo>
                  <a:lnTo>
                    <a:pt x="345" y="467"/>
                  </a:lnTo>
                  <a:lnTo>
                    <a:pt x="329" y="458"/>
                  </a:lnTo>
                  <a:lnTo>
                    <a:pt x="306" y="458"/>
                  </a:lnTo>
                  <a:lnTo>
                    <a:pt x="288" y="468"/>
                  </a:lnTo>
                  <a:lnTo>
                    <a:pt x="280" y="479"/>
                  </a:lnTo>
                  <a:lnTo>
                    <a:pt x="257" y="479"/>
                  </a:lnTo>
                  <a:lnTo>
                    <a:pt x="241" y="471"/>
                  </a:lnTo>
                  <a:lnTo>
                    <a:pt x="233" y="486"/>
                  </a:lnTo>
                  <a:lnTo>
                    <a:pt x="219" y="480"/>
                  </a:lnTo>
                  <a:lnTo>
                    <a:pt x="188" y="478"/>
                  </a:lnTo>
                  <a:lnTo>
                    <a:pt x="174" y="470"/>
                  </a:lnTo>
                  <a:lnTo>
                    <a:pt x="163" y="464"/>
                  </a:lnTo>
                  <a:lnTo>
                    <a:pt x="161" y="448"/>
                  </a:lnTo>
                  <a:lnTo>
                    <a:pt x="156" y="458"/>
                  </a:lnTo>
                  <a:lnTo>
                    <a:pt x="142" y="450"/>
                  </a:lnTo>
                  <a:lnTo>
                    <a:pt x="129" y="438"/>
                  </a:lnTo>
                  <a:lnTo>
                    <a:pt x="113" y="438"/>
                  </a:lnTo>
                  <a:lnTo>
                    <a:pt x="100" y="426"/>
                  </a:lnTo>
                  <a:lnTo>
                    <a:pt x="79" y="421"/>
                  </a:lnTo>
                  <a:lnTo>
                    <a:pt x="79" y="395"/>
                  </a:lnTo>
                  <a:lnTo>
                    <a:pt x="68" y="387"/>
                  </a:lnTo>
                  <a:lnTo>
                    <a:pt x="51" y="385"/>
                  </a:lnTo>
                  <a:lnTo>
                    <a:pt x="31" y="398"/>
                  </a:lnTo>
                  <a:lnTo>
                    <a:pt x="17" y="387"/>
                  </a:lnTo>
                  <a:lnTo>
                    <a:pt x="19" y="368"/>
                  </a:lnTo>
                  <a:lnTo>
                    <a:pt x="11" y="358"/>
                  </a:lnTo>
                  <a:lnTo>
                    <a:pt x="14" y="344"/>
                  </a:lnTo>
                  <a:lnTo>
                    <a:pt x="17" y="321"/>
                  </a:lnTo>
                  <a:lnTo>
                    <a:pt x="17" y="308"/>
                  </a:lnTo>
                  <a:lnTo>
                    <a:pt x="15" y="310"/>
                  </a:lnTo>
                  <a:lnTo>
                    <a:pt x="0" y="299"/>
                  </a:lnTo>
                  <a:lnTo>
                    <a:pt x="2" y="277"/>
                  </a:lnTo>
                  <a:lnTo>
                    <a:pt x="14" y="269"/>
                  </a:lnTo>
                  <a:lnTo>
                    <a:pt x="35" y="282"/>
                  </a:lnTo>
                  <a:lnTo>
                    <a:pt x="42" y="275"/>
                  </a:lnTo>
                  <a:lnTo>
                    <a:pt x="40" y="266"/>
                  </a:lnTo>
                  <a:lnTo>
                    <a:pt x="64" y="261"/>
                  </a:lnTo>
                  <a:lnTo>
                    <a:pt x="69" y="252"/>
                  </a:lnTo>
                  <a:lnTo>
                    <a:pt x="81" y="248"/>
                  </a:lnTo>
                  <a:lnTo>
                    <a:pt x="82" y="208"/>
                  </a:lnTo>
                  <a:lnTo>
                    <a:pt x="71" y="203"/>
                  </a:lnTo>
                  <a:lnTo>
                    <a:pt x="76" y="192"/>
                  </a:lnTo>
                  <a:lnTo>
                    <a:pt x="104" y="189"/>
                  </a:lnTo>
                  <a:lnTo>
                    <a:pt x="110" y="181"/>
                  </a:lnTo>
                  <a:lnTo>
                    <a:pt x="111" y="161"/>
                  </a:lnTo>
                  <a:lnTo>
                    <a:pt x="126" y="153"/>
                  </a:lnTo>
                  <a:lnTo>
                    <a:pt x="144" y="159"/>
                  </a:lnTo>
                  <a:lnTo>
                    <a:pt x="150" y="126"/>
                  </a:lnTo>
                  <a:lnTo>
                    <a:pt x="157" y="119"/>
                  </a:lnTo>
                  <a:lnTo>
                    <a:pt x="169" y="116"/>
                  </a:lnTo>
                  <a:lnTo>
                    <a:pt x="172" y="105"/>
                  </a:lnTo>
                  <a:lnTo>
                    <a:pt x="181" y="98"/>
                  </a:lnTo>
                  <a:lnTo>
                    <a:pt x="189" y="109"/>
                  </a:lnTo>
                  <a:lnTo>
                    <a:pt x="210" y="120"/>
                  </a:lnTo>
                  <a:lnTo>
                    <a:pt x="214" y="136"/>
                  </a:lnTo>
                  <a:lnTo>
                    <a:pt x="225" y="161"/>
                  </a:lnTo>
                  <a:lnTo>
                    <a:pt x="258" y="167"/>
                  </a:lnTo>
                  <a:lnTo>
                    <a:pt x="272" y="170"/>
                  </a:lnTo>
                  <a:lnTo>
                    <a:pt x="288" y="179"/>
                  </a:lnTo>
                  <a:lnTo>
                    <a:pt x="298" y="198"/>
                  </a:lnTo>
                  <a:lnTo>
                    <a:pt x="308" y="207"/>
                  </a:lnTo>
                  <a:lnTo>
                    <a:pt x="388" y="213"/>
                  </a:lnTo>
                  <a:lnTo>
                    <a:pt x="406" y="218"/>
                  </a:lnTo>
                  <a:lnTo>
                    <a:pt x="427" y="230"/>
                  </a:lnTo>
                  <a:lnTo>
                    <a:pt x="448" y="223"/>
                  </a:lnTo>
                  <a:lnTo>
                    <a:pt x="460" y="214"/>
                  </a:lnTo>
                  <a:lnTo>
                    <a:pt x="488" y="218"/>
                  </a:lnTo>
                  <a:lnTo>
                    <a:pt x="511" y="199"/>
                  </a:lnTo>
                  <a:lnTo>
                    <a:pt x="513" y="182"/>
                  </a:lnTo>
                  <a:lnTo>
                    <a:pt x="513" y="165"/>
                  </a:lnTo>
                  <a:lnTo>
                    <a:pt x="532" y="172"/>
                  </a:lnTo>
                  <a:lnTo>
                    <a:pt x="546" y="158"/>
                  </a:lnTo>
                  <a:lnTo>
                    <a:pt x="558" y="148"/>
                  </a:lnTo>
                  <a:lnTo>
                    <a:pt x="580" y="136"/>
                  </a:lnTo>
                  <a:lnTo>
                    <a:pt x="604" y="124"/>
                  </a:lnTo>
                  <a:lnTo>
                    <a:pt x="593" y="109"/>
                  </a:lnTo>
                  <a:lnTo>
                    <a:pt x="570" y="112"/>
                  </a:lnTo>
                  <a:lnTo>
                    <a:pt x="558" y="115"/>
                  </a:lnTo>
                  <a:lnTo>
                    <a:pt x="555" y="109"/>
                  </a:lnTo>
                  <a:lnTo>
                    <a:pt x="553" y="77"/>
                  </a:lnTo>
                  <a:lnTo>
                    <a:pt x="557" y="65"/>
                  </a:lnTo>
                  <a:lnTo>
                    <a:pt x="568" y="76"/>
                  </a:lnTo>
                  <a:lnTo>
                    <a:pt x="587" y="76"/>
                  </a:lnTo>
                  <a:lnTo>
                    <a:pt x="591" y="49"/>
                  </a:lnTo>
                  <a:lnTo>
                    <a:pt x="602" y="40"/>
                  </a:lnTo>
                  <a:lnTo>
                    <a:pt x="592" y="14"/>
                  </a:lnTo>
                  <a:lnTo>
                    <a:pt x="600" y="0"/>
                  </a:lnTo>
                  <a:lnTo>
                    <a:pt x="661" y="1"/>
                  </a:lnTo>
                  <a:lnTo>
                    <a:pt x="675" y="17"/>
                  </a:lnTo>
                  <a:lnTo>
                    <a:pt x="689" y="29"/>
                  </a:lnTo>
                  <a:lnTo>
                    <a:pt x="700" y="42"/>
                  </a:lnTo>
                  <a:lnTo>
                    <a:pt x="703" y="59"/>
                  </a:lnTo>
                  <a:lnTo>
                    <a:pt x="714" y="73"/>
                  </a:lnTo>
                  <a:lnTo>
                    <a:pt x="740" y="78"/>
                  </a:lnTo>
                  <a:lnTo>
                    <a:pt x="751" y="88"/>
                  </a:lnTo>
                  <a:lnTo>
                    <a:pt x="763" y="97"/>
                  </a:lnTo>
                  <a:lnTo>
                    <a:pt x="769" y="106"/>
                  </a:lnTo>
                  <a:lnTo>
                    <a:pt x="783" y="107"/>
                  </a:lnTo>
                  <a:lnTo>
                    <a:pt x="808" y="103"/>
                  </a:lnTo>
                  <a:lnTo>
                    <a:pt x="813" y="109"/>
                  </a:lnTo>
                  <a:lnTo>
                    <a:pt x="816" y="122"/>
                  </a:lnTo>
                  <a:lnTo>
                    <a:pt x="806" y="130"/>
                  </a:lnTo>
                  <a:lnTo>
                    <a:pt x="804" y="165"/>
                  </a:lnTo>
                  <a:lnTo>
                    <a:pt x="791" y="164"/>
                  </a:lnTo>
                  <a:lnTo>
                    <a:pt x="783" y="178"/>
                  </a:lnTo>
                  <a:lnTo>
                    <a:pt x="784" y="194"/>
                  </a:lnTo>
                  <a:lnTo>
                    <a:pt x="798" y="198"/>
                  </a:lnTo>
                  <a:lnTo>
                    <a:pt x="797" y="198"/>
                  </a:lnTo>
                  <a:lnTo>
                    <a:pt x="783" y="209"/>
                  </a:lnTo>
                  <a:lnTo>
                    <a:pt x="769" y="213"/>
                  </a:lnTo>
                  <a:lnTo>
                    <a:pt x="755" y="230"/>
                  </a:lnTo>
                  <a:lnTo>
                    <a:pt x="741" y="230"/>
                  </a:lnTo>
                  <a:lnTo>
                    <a:pt x="729" y="224"/>
                  </a:lnTo>
                  <a:lnTo>
                    <a:pt x="721" y="248"/>
                  </a:lnTo>
                  <a:lnTo>
                    <a:pt x="707" y="257"/>
                  </a:lnTo>
                  <a:lnTo>
                    <a:pt x="689" y="268"/>
                  </a:lnTo>
                  <a:lnTo>
                    <a:pt x="669" y="275"/>
                  </a:lnTo>
                  <a:lnTo>
                    <a:pt x="667" y="258"/>
                  </a:lnTo>
                  <a:lnTo>
                    <a:pt x="663" y="242"/>
                  </a:lnTo>
                  <a:lnTo>
                    <a:pt x="657" y="241"/>
                  </a:lnTo>
                  <a:lnTo>
                    <a:pt x="648" y="248"/>
                  </a:lnTo>
                  <a:lnTo>
                    <a:pt x="641" y="25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7" name="Freeform 200">
              <a:extLst>
                <a:ext uri="{FF2B5EF4-FFF2-40B4-BE49-F238E27FC236}">
                  <a16:creationId xmlns:a16="http://schemas.microsoft.com/office/drawing/2014/main" xmlns="" id="{435D1141-D97F-45A0-8AD4-779719F74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6216" y="3106676"/>
              <a:ext cx="92728" cy="120107"/>
            </a:xfrm>
            <a:custGeom>
              <a:avLst/>
              <a:gdLst>
                <a:gd name="T0" fmla="*/ 67 w 70"/>
                <a:gd name="T1" fmla="*/ 0 h 91"/>
                <a:gd name="T2" fmla="*/ 69 w 70"/>
                <a:gd name="T3" fmla="*/ 25 h 91"/>
                <a:gd name="T4" fmla="*/ 60 w 70"/>
                <a:gd name="T5" fmla="*/ 31 h 91"/>
                <a:gd name="T6" fmla="*/ 52 w 70"/>
                <a:gd name="T7" fmla="*/ 45 h 91"/>
                <a:gd name="T8" fmla="*/ 39 w 70"/>
                <a:gd name="T9" fmla="*/ 51 h 91"/>
                <a:gd name="T10" fmla="*/ 55 w 70"/>
                <a:gd name="T11" fmla="*/ 67 h 91"/>
                <a:gd name="T12" fmla="*/ 50 w 70"/>
                <a:gd name="T13" fmla="*/ 82 h 91"/>
                <a:gd name="T14" fmla="*/ 29 w 70"/>
                <a:gd name="T15" fmla="*/ 90 h 91"/>
                <a:gd name="T16" fmla="*/ 22 w 70"/>
                <a:gd name="T17" fmla="*/ 81 h 91"/>
                <a:gd name="T18" fmla="*/ 4 w 70"/>
                <a:gd name="T19" fmla="*/ 73 h 91"/>
                <a:gd name="T20" fmla="*/ 15 w 70"/>
                <a:gd name="T21" fmla="*/ 65 h 91"/>
                <a:gd name="T22" fmla="*/ 16 w 70"/>
                <a:gd name="T23" fmla="*/ 48 h 91"/>
                <a:gd name="T24" fmla="*/ 4 w 70"/>
                <a:gd name="T25" fmla="*/ 45 h 91"/>
                <a:gd name="T26" fmla="*/ 0 w 70"/>
                <a:gd name="T27" fmla="*/ 45 h 91"/>
                <a:gd name="T28" fmla="*/ 14 w 70"/>
                <a:gd name="T29" fmla="*/ 37 h 91"/>
                <a:gd name="T30" fmla="*/ 22 w 70"/>
                <a:gd name="T31" fmla="*/ 12 h 91"/>
                <a:gd name="T32" fmla="*/ 34 w 70"/>
                <a:gd name="T33" fmla="*/ 18 h 91"/>
                <a:gd name="T34" fmla="*/ 48 w 70"/>
                <a:gd name="T35" fmla="*/ 18 h 91"/>
                <a:gd name="T36" fmla="*/ 62 w 70"/>
                <a:gd name="T37" fmla="*/ 1 h 91"/>
                <a:gd name="T38" fmla="*/ 67 w 70"/>
                <a:gd name="T3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91">
                  <a:moveTo>
                    <a:pt x="67" y="0"/>
                  </a:moveTo>
                  <a:lnTo>
                    <a:pt x="69" y="25"/>
                  </a:lnTo>
                  <a:lnTo>
                    <a:pt x="60" y="31"/>
                  </a:lnTo>
                  <a:lnTo>
                    <a:pt x="52" y="45"/>
                  </a:lnTo>
                  <a:lnTo>
                    <a:pt x="39" y="51"/>
                  </a:lnTo>
                  <a:lnTo>
                    <a:pt x="55" y="67"/>
                  </a:lnTo>
                  <a:lnTo>
                    <a:pt x="50" y="82"/>
                  </a:lnTo>
                  <a:lnTo>
                    <a:pt x="29" y="90"/>
                  </a:lnTo>
                  <a:lnTo>
                    <a:pt x="22" y="81"/>
                  </a:lnTo>
                  <a:lnTo>
                    <a:pt x="4" y="73"/>
                  </a:lnTo>
                  <a:lnTo>
                    <a:pt x="15" y="65"/>
                  </a:lnTo>
                  <a:lnTo>
                    <a:pt x="16" y="48"/>
                  </a:lnTo>
                  <a:lnTo>
                    <a:pt x="4" y="45"/>
                  </a:lnTo>
                  <a:lnTo>
                    <a:pt x="0" y="45"/>
                  </a:lnTo>
                  <a:lnTo>
                    <a:pt x="14" y="37"/>
                  </a:lnTo>
                  <a:lnTo>
                    <a:pt x="22" y="12"/>
                  </a:lnTo>
                  <a:lnTo>
                    <a:pt x="34" y="18"/>
                  </a:lnTo>
                  <a:lnTo>
                    <a:pt x="48" y="18"/>
                  </a:lnTo>
                  <a:lnTo>
                    <a:pt x="62" y="1"/>
                  </a:lnTo>
                  <a:lnTo>
                    <a:pt x="67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8" name="Freeform 201">
              <a:extLst>
                <a:ext uri="{FF2B5EF4-FFF2-40B4-BE49-F238E27FC236}">
                  <a16:creationId xmlns:a16="http://schemas.microsoft.com/office/drawing/2014/main" xmlns="" id="{89B166FD-76B4-4230-BC70-AB7B3BD28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167" y="3462242"/>
              <a:ext cx="149792" cy="386484"/>
            </a:xfrm>
            <a:custGeom>
              <a:avLst/>
              <a:gdLst>
                <a:gd name="T0" fmla="*/ 1 w 113"/>
                <a:gd name="T1" fmla="*/ 109 h 289"/>
                <a:gd name="T2" fmla="*/ 8 w 113"/>
                <a:gd name="T3" fmla="*/ 97 h 289"/>
                <a:gd name="T4" fmla="*/ 8 w 113"/>
                <a:gd name="T5" fmla="*/ 69 h 289"/>
                <a:gd name="T6" fmla="*/ 21 w 113"/>
                <a:gd name="T7" fmla="*/ 54 h 289"/>
                <a:gd name="T8" fmla="*/ 27 w 113"/>
                <a:gd name="T9" fmla="*/ 35 h 289"/>
                <a:gd name="T10" fmla="*/ 38 w 113"/>
                <a:gd name="T11" fmla="*/ 20 h 289"/>
                <a:gd name="T12" fmla="*/ 56 w 113"/>
                <a:gd name="T13" fmla="*/ 11 h 289"/>
                <a:gd name="T14" fmla="*/ 57 w 113"/>
                <a:gd name="T15" fmla="*/ 3 h 289"/>
                <a:gd name="T16" fmla="*/ 74 w 113"/>
                <a:gd name="T17" fmla="*/ 0 h 289"/>
                <a:gd name="T18" fmla="*/ 78 w 113"/>
                <a:gd name="T19" fmla="*/ 8 h 289"/>
                <a:gd name="T20" fmla="*/ 84 w 113"/>
                <a:gd name="T21" fmla="*/ 25 h 289"/>
                <a:gd name="T22" fmla="*/ 78 w 113"/>
                <a:gd name="T23" fmla="*/ 37 h 289"/>
                <a:gd name="T24" fmla="*/ 68 w 113"/>
                <a:gd name="T25" fmla="*/ 45 h 289"/>
                <a:gd name="T26" fmla="*/ 67 w 113"/>
                <a:gd name="T27" fmla="*/ 58 h 289"/>
                <a:gd name="T28" fmla="*/ 83 w 113"/>
                <a:gd name="T29" fmla="*/ 60 h 289"/>
                <a:gd name="T30" fmla="*/ 91 w 113"/>
                <a:gd name="T31" fmla="*/ 75 h 289"/>
                <a:gd name="T32" fmla="*/ 94 w 113"/>
                <a:gd name="T33" fmla="*/ 98 h 289"/>
                <a:gd name="T34" fmla="*/ 109 w 113"/>
                <a:gd name="T35" fmla="*/ 102 h 289"/>
                <a:gd name="T36" fmla="*/ 112 w 113"/>
                <a:gd name="T37" fmla="*/ 111 h 289"/>
                <a:gd name="T38" fmla="*/ 105 w 113"/>
                <a:gd name="T39" fmla="*/ 125 h 289"/>
                <a:gd name="T40" fmla="*/ 97 w 113"/>
                <a:gd name="T41" fmla="*/ 132 h 289"/>
                <a:gd name="T42" fmla="*/ 82 w 113"/>
                <a:gd name="T43" fmla="*/ 138 h 289"/>
                <a:gd name="T44" fmla="*/ 80 w 113"/>
                <a:gd name="T45" fmla="*/ 164 h 289"/>
                <a:gd name="T46" fmla="*/ 84 w 113"/>
                <a:gd name="T47" fmla="*/ 175 h 289"/>
                <a:gd name="T48" fmla="*/ 96 w 113"/>
                <a:gd name="T49" fmla="*/ 190 h 289"/>
                <a:gd name="T50" fmla="*/ 91 w 113"/>
                <a:gd name="T51" fmla="*/ 215 h 289"/>
                <a:gd name="T52" fmla="*/ 93 w 113"/>
                <a:gd name="T53" fmla="*/ 227 h 289"/>
                <a:gd name="T54" fmla="*/ 98 w 113"/>
                <a:gd name="T55" fmla="*/ 246 h 289"/>
                <a:gd name="T56" fmla="*/ 110 w 113"/>
                <a:gd name="T57" fmla="*/ 257 h 289"/>
                <a:gd name="T58" fmla="*/ 101 w 113"/>
                <a:gd name="T59" fmla="*/ 278 h 289"/>
                <a:gd name="T60" fmla="*/ 94 w 113"/>
                <a:gd name="T61" fmla="*/ 288 h 289"/>
                <a:gd name="T62" fmla="*/ 88 w 113"/>
                <a:gd name="T63" fmla="*/ 261 h 289"/>
                <a:gd name="T64" fmla="*/ 84 w 113"/>
                <a:gd name="T65" fmla="*/ 242 h 289"/>
                <a:gd name="T66" fmla="*/ 73 w 113"/>
                <a:gd name="T67" fmla="*/ 234 h 289"/>
                <a:gd name="T68" fmla="*/ 78 w 113"/>
                <a:gd name="T69" fmla="*/ 197 h 289"/>
                <a:gd name="T70" fmla="*/ 64 w 113"/>
                <a:gd name="T71" fmla="*/ 175 h 289"/>
                <a:gd name="T72" fmla="*/ 56 w 113"/>
                <a:gd name="T73" fmla="*/ 187 h 289"/>
                <a:gd name="T74" fmla="*/ 46 w 113"/>
                <a:gd name="T75" fmla="*/ 197 h 289"/>
                <a:gd name="T76" fmla="*/ 32 w 113"/>
                <a:gd name="T77" fmla="*/ 192 h 289"/>
                <a:gd name="T78" fmla="*/ 28 w 113"/>
                <a:gd name="T79" fmla="*/ 160 h 289"/>
                <a:gd name="T80" fmla="*/ 25 w 113"/>
                <a:gd name="T81" fmla="*/ 145 h 289"/>
                <a:gd name="T82" fmla="*/ 13 w 113"/>
                <a:gd name="T83" fmla="*/ 128 h 289"/>
                <a:gd name="T84" fmla="*/ 0 w 113"/>
                <a:gd name="T85" fmla="*/ 117 h 289"/>
                <a:gd name="T86" fmla="*/ 1 w 113"/>
                <a:gd name="T87" fmla="*/ 10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3" h="289">
                  <a:moveTo>
                    <a:pt x="1" y="109"/>
                  </a:moveTo>
                  <a:lnTo>
                    <a:pt x="8" y="97"/>
                  </a:lnTo>
                  <a:lnTo>
                    <a:pt x="8" y="69"/>
                  </a:lnTo>
                  <a:lnTo>
                    <a:pt x="21" y="54"/>
                  </a:lnTo>
                  <a:lnTo>
                    <a:pt x="27" y="35"/>
                  </a:lnTo>
                  <a:lnTo>
                    <a:pt x="38" y="20"/>
                  </a:lnTo>
                  <a:lnTo>
                    <a:pt x="56" y="11"/>
                  </a:lnTo>
                  <a:lnTo>
                    <a:pt x="57" y="3"/>
                  </a:lnTo>
                  <a:lnTo>
                    <a:pt x="74" y="0"/>
                  </a:lnTo>
                  <a:lnTo>
                    <a:pt x="78" y="8"/>
                  </a:lnTo>
                  <a:lnTo>
                    <a:pt x="84" y="25"/>
                  </a:lnTo>
                  <a:lnTo>
                    <a:pt x="78" y="37"/>
                  </a:lnTo>
                  <a:lnTo>
                    <a:pt x="68" y="45"/>
                  </a:lnTo>
                  <a:lnTo>
                    <a:pt x="67" y="58"/>
                  </a:lnTo>
                  <a:lnTo>
                    <a:pt x="83" y="60"/>
                  </a:lnTo>
                  <a:lnTo>
                    <a:pt x="91" y="75"/>
                  </a:lnTo>
                  <a:lnTo>
                    <a:pt x="94" y="98"/>
                  </a:lnTo>
                  <a:lnTo>
                    <a:pt x="109" y="102"/>
                  </a:lnTo>
                  <a:lnTo>
                    <a:pt x="112" y="111"/>
                  </a:lnTo>
                  <a:lnTo>
                    <a:pt x="105" y="125"/>
                  </a:lnTo>
                  <a:lnTo>
                    <a:pt x="97" y="132"/>
                  </a:lnTo>
                  <a:lnTo>
                    <a:pt x="82" y="138"/>
                  </a:lnTo>
                  <a:lnTo>
                    <a:pt x="80" y="164"/>
                  </a:lnTo>
                  <a:lnTo>
                    <a:pt x="84" y="175"/>
                  </a:lnTo>
                  <a:lnTo>
                    <a:pt x="96" y="190"/>
                  </a:lnTo>
                  <a:lnTo>
                    <a:pt x="91" y="215"/>
                  </a:lnTo>
                  <a:lnTo>
                    <a:pt x="93" y="227"/>
                  </a:lnTo>
                  <a:lnTo>
                    <a:pt x="98" y="246"/>
                  </a:lnTo>
                  <a:lnTo>
                    <a:pt x="110" y="257"/>
                  </a:lnTo>
                  <a:lnTo>
                    <a:pt x="101" y="278"/>
                  </a:lnTo>
                  <a:lnTo>
                    <a:pt x="94" y="288"/>
                  </a:lnTo>
                  <a:lnTo>
                    <a:pt x="88" y="261"/>
                  </a:lnTo>
                  <a:lnTo>
                    <a:pt x="84" y="242"/>
                  </a:lnTo>
                  <a:lnTo>
                    <a:pt x="73" y="234"/>
                  </a:lnTo>
                  <a:lnTo>
                    <a:pt x="78" y="197"/>
                  </a:lnTo>
                  <a:lnTo>
                    <a:pt x="64" y="175"/>
                  </a:lnTo>
                  <a:lnTo>
                    <a:pt x="56" y="187"/>
                  </a:lnTo>
                  <a:lnTo>
                    <a:pt x="46" y="197"/>
                  </a:lnTo>
                  <a:lnTo>
                    <a:pt x="32" y="192"/>
                  </a:lnTo>
                  <a:lnTo>
                    <a:pt x="28" y="160"/>
                  </a:lnTo>
                  <a:lnTo>
                    <a:pt x="25" y="145"/>
                  </a:lnTo>
                  <a:lnTo>
                    <a:pt x="13" y="128"/>
                  </a:lnTo>
                  <a:lnTo>
                    <a:pt x="0" y="117"/>
                  </a:lnTo>
                  <a:lnTo>
                    <a:pt x="1" y="10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9" name="Freeform 204">
              <a:extLst>
                <a:ext uri="{FF2B5EF4-FFF2-40B4-BE49-F238E27FC236}">
                  <a16:creationId xmlns:a16="http://schemas.microsoft.com/office/drawing/2014/main" xmlns="" id="{48879F7C-0DE6-42B1-9A36-75D8BF425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624" y="3563322"/>
              <a:ext cx="148603" cy="332971"/>
            </a:xfrm>
            <a:custGeom>
              <a:avLst/>
              <a:gdLst>
                <a:gd name="T0" fmla="*/ 0 w 111"/>
                <a:gd name="T1" fmla="*/ 12 h 250"/>
                <a:gd name="T2" fmla="*/ 8 w 111"/>
                <a:gd name="T3" fmla="*/ 35 h 250"/>
                <a:gd name="T4" fmla="*/ 34 w 111"/>
                <a:gd name="T5" fmla="*/ 44 h 250"/>
                <a:gd name="T6" fmla="*/ 36 w 111"/>
                <a:gd name="T7" fmla="*/ 53 h 250"/>
                <a:gd name="T8" fmla="*/ 32 w 111"/>
                <a:gd name="T9" fmla="*/ 69 h 250"/>
                <a:gd name="T10" fmla="*/ 42 w 111"/>
                <a:gd name="T11" fmla="*/ 80 h 250"/>
                <a:gd name="T12" fmla="*/ 64 w 111"/>
                <a:gd name="T13" fmla="*/ 113 h 250"/>
                <a:gd name="T14" fmla="*/ 77 w 111"/>
                <a:gd name="T15" fmla="*/ 122 h 250"/>
                <a:gd name="T16" fmla="*/ 77 w 111"/>
                <a:gd name="T17" fmla="*/ 151 h 250"/>
                <a:gd name="T18" fmla="*/ 83 w 111"/>
                <a:gd name="T19" fmla="*/ 156 h 250"/>
                <a:gd name="T20" fmla="*/ 85 w 111"/>
                <a:gd name="T21" fmla="*/ 183 h 250"/>
                <a:gd name="T22" fmla="*/ 75 w 111"/>
                <a:gd name="T23" fmla="*/ 191 h 250"/>
                <a:gd name="T24" fmla="*/ 61 w 111"/>
                <a:gd name="T25" fmla="*/ 205 h 250"/>
                <a:gd name="T26" fmla="*/ 47 w 111"/>
                <a:gd name="T27" fmla="*/ 215 h 250"/>
                <a:gd name="T28" fmla="*/ 53 w 111"/>
                <a:gd name="T29" fmla="*/ 224 h 250"/>
                <a:gd name="T30" fmla="*/ 46 w 111"/>
                <a:gd name="T31" fmla="*/ 234 h 250"/>
                <a:gd name="T32" fmla="*/ 51 w 111"/>
                <a:gd name="T33" fmla="*/ 249 h 250"/>
                <a:gd name="T34" fmla="*/ 77 w 111"/>
                <a:gd name="T35" fmla="*/ 230 h 250"/>
                <a:gd name="T36" fmla="*/ 100 w 111"/>
                <a:gd name="T37" fmla="*/ 209 h 250"/>
                <a:gd name="T38" fmla="*/ 106 w 111"/>
                <a:gd name="T39" fmla="*/ 201 h 250"/>
                <a:gd name="T40" fmla="*/ 110 w 111"/>
                <a:gd name="T41" fmla="*/ 163 h 250"/>
                <a:gd name="T42" fmla="*/ 102 w 111"/>
                <a:gd name="T43" fmla="*/ 131 h 250"/>
                <a:gd name="T44" fmla="*/ 81 w 111"/>
                <a:gd name="T45" fmla="*/ 108 h 250"/>
                <a:gd name="T46" fmla="*/ 57 w 111"/>
                <a:gd name="T47" fmla="*/ 80 h 250"/>
                <a:gd name="T48" fmla="*/ 57 w 111"/>
                <a:gd name="T49" fmla="*/ 59 h 250"/>
                <a:gd name="T50" fmla="*/ 63 w 111"/>
                <a:gd name="T51" fmla="*/ 52 h 250"/>
                <a:gd name="T52" fmla="*/ 81 w 111"/>
                <a:gd name="T53" fmla="*/ 38 h 250"/>
                <a:gd name="T54" fmla="*/ 60 w 111"/>
                <a:gd name="T55" fmla="*/ 8 h 250"/>
                <a:gd name="T56" fmla="*/ 37 w 111"/>
                <a:gd name="T57" fmla="*/ 0 h 250"/>
                <a:gd name="T58" fmla="*/ 23 w 111"/>
                <a:gd name="T59" fmla="*/ 0 h 250"/>
                <a:gd name="T60" fmla="*/ 0 w 111"/>
                <a:gd name="T61" fmla="*/ 1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1" h="250">
                  <a:moveTo>
                    <a:pt x="0" y="12"/>
                  </a:moveTo>
                  <a:lnTo>
                    <a:pt x="8" y="35"/>
                  </a:lnTo>
                  <a:lnTo>
                    <a:pt x="34" y="44"/>
                  </a:lnTo>
                  <a:lnTo>
                    <a:pt x="36" y="53"/>
                  </a:lnTo>
                  <a:lnTo>
                    <a:pt x="32" y="69"/>
                  </a:lnTo>
                  <a:lnTo>
                    <a:pt x="42" y="80"/>
                  </a:lnTo>
                  <a:lnTo>
                    <a:pt x="64" y="113"/>
                  </a:lnTo>
                  <a:lnTo>
                    <a:pt x="77" y="122"/>
                  </a:lnTo>
                  <a:lnTo>
                    <a:pt x="77" y="151"/>
                  </a:lnTo>
                  <a:lnTo>
                    <a:pt x="83" y="156"/>
                  </a:lnTo>
                  <a:lnTo>
                    <a:pt x="85" y="183"/>
                  </a:lnTo>
                  <a:lnTo>
                    <a:pt x="75" y="191"/>
                  </a:lnTo>
                  <a:lnTo>
                    <a:pt x="61" y="205"/>
                  </a:lnTo>
                  <a:lnTo>
                    <a:pt x="47" y="215"/>
                  </a:lnTo>
                  <a:lnTo>
                    <a:pt x="53" y="224"/>
                  </a:lnTo>
                  <a:lnTo>
                    <a:pt x="46" y="234"/>
                  </a:lnTo>
                  <a:lnTo>
                    <a:pt x="51" y="249"/>
                  </a:lnTo>
                  <a:lnTo>
                    <a:pt x="77" y="230"/>
                  </a:lnTo>
                  <a:lnTo>
                    <a:pt x="100" y="209"/>
                  </a:lnTo>
                  <a:lnTo>
                    <a:pt x="106" y="201"/>
                  </a:lnTo>
                  <a:lnTo>
                    <a:pt x="110" y="163"/>
                  </a:lnTo>
                  <a:lnTo>
                    <a:pt x="102" y="131"/>
                  </a:lnTo>
                  <a:lnTo>
                    <a:pt x="81" y="108"/>
                  </a:lnTo>
                  <a:lnTo>
                    <a:pt x="57" y="80"/>
                  </a:lnTo>
                  <a:lnTo>
                    <a:pt x="57" y="59"/>
                  </a:lnTo>
                  <a:lnTo>
                    <a:pt x="63" y="52"/>
                  </a:lnTo>
                  <a:lnTo>
                    <a:pt x="81" y="38"/>
                  </a:lnTo>
                  <a:lnTo>
                    <a:pt x="60" y="8"/>
                  </a:lnTo>
                  <a:lnTo>
                    <a:pt x="37" y="0"/>
                  </a:lnTo>
                  <a:lnTo>
                    <a:pt x="23" y="0"/>
                  </a:lnTo>
                  <a:lnTo>
                    <a:pt x="0" y="1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0" name="Freeform 207">
              <a:extLst>
                <a:ext uri="{FF2B5EF4-FFF2-40B4-BE49-F238E27FC236}">
                  <a16:creationId xmlns:a16="http://schemas.microsoft.com/office/drawing/2014/main" xmlns="" id="{5CD00381-4E08-4E4C-BD18-C3E74027B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6616" y="3168514"/>
              <a:ext cx="383991" cy="347241"/>
            </a:xfrm>
            <a:custGeom>
              <a:avLst/>
              <a:gdLst>
                <a:gd name="T0" fmla="*/ 0 w 286"/>
                <a:gd name="T1" fmla="*/ 6 h 261"/>
                <a:gd name="T2" fmla="*/ 14 w 286"/>
                <a:gd name="T3" fmla="*/ 43 h 261"/>
                <a:gd name="T4" fmla="*/ 20 w 286"/>
                <a:gd name="T5" fmla="*/ 73 h 261"/>
                <a:gd name="T6" fmla="*/ 32 w 286"/>
                <a:gd name="T7" fmla="*/ 92 h 261"/>
                <a:gd name="T8" fmla="*/ 22 w 286"/>
                <a:gd name="T9" fmla="*/ 114 h 261"/>
                <a:gd name="T10" fmla="*/ 39 w 286"/>
                <a:gd name="T11" fmla="*/ 133 h 261"/>
                <a:gd name="T12" fmla="*/ 59 w 286"/>
                <a:gd name="T13" fmla="*/ 133 h 261"/>
                <a:gd name="T14" fmla="*/ 56 w 286"/>
                <a:gd name="T15" fmla="*/ 159 h 261"/>
                <a:gd name="T16" fmla="*/ 66 w 286"/>
                <a:gd name="T17" fmla="*/ 176 h 261"/>
                <a:gd name="T18" fmla="*/ 87 w 286"/>
                <a:gd name="T19" fmla="*/ 180 h 261"/>
                <a:gd name="T20" fmla="*/ 94 w 286"/>
                <a:gd name="T21" fmla="*/ 187 h 261"/>
                <a:gd name="T22" fmla="*/ 111 w 286"/>
                <a:gd name="T23" fmla="*/ 212 h 261"/>
                <a:gd name="T24" fmla="*/ 122 w 286"/>
                <a:gd name="T25" fmla="*/ 221 h 261"/>
                <a:gd name="T26" fmla="*/ 174 w 286"/>
                <a:gd name="T27" fmla="*/ 235 h 261"/>
                <a:gd name="T28" fmla="*/ 189 w 286"/>
                <a:gd name="T29" fmla="*/ 227 h 261"/>
                <a:gd name="T30" fmla="*/ 209 w 286"/>
                <a:gd name="T31" fmla="*/ 260 h 261"/>
                <a:gd name="T32" fmla="*/ 261 w 286"/>
                <a:gd name="T33" fmla="*/ 260 h 261"/>
                <a:gd name="T34" fmla="*/ 277 w 286"/>
                <a:gd name="T35" fmla="*/ 242 h 261"/>
                <a:gd name="T36" fmla="*/ 280 w 286"/>
                <a:gd name="T37" fmla="*/ 223 h 261"/>
                <a:gd name="T38" fmla="*/ 265 w 286"/>
                <a:gd name="T39" fmla="*/ 205 h 261"/>
                <a:gd name="T40" fmla="*/ 249 w 286"/>
                <a:gd name="T41" fmla="*/ 184 h 261"/>
                <a:gd name="T42" fmla="*/ 252 w 286"/>
                <a:gd name="T43" fmla="*/ 156 h 261"/>
                <a:gd name="T44" fmla="*/ 238 w 286"/>
                <a:gd name="T45" fmla="*/ 121 h 261"/>
                <a:gd name="T46" fmla="*/ 240 w 286"/>
                <a:gd name="T47" fmla="*/ 66 h 261"/>
                <a:gd name="T48" fmla="*/ 197 w 286"/>
                <a:gd name="T49" fmla="*/ 40 h 261"/>
                <a:gd name="T50" fmla="*/ 156 w 286"/>
                <a:gd name="T51" fmla="*/ 33 h 261"/>
                <a:gd name="T52" fmla="*/ 135 w 286"/>
                <a:gd name="T53" fmla="*/ 52 h 261"/>
                <a:gd name="T54" fmla="*/ 112 w 286"/>
                <a:gd name="T55" fmla="*/ 65 h 261"/>
                <a:gd name="T56" fmla="*/ 79 w 286"/>
                <a:gd name="T57" fmla="*/ 50 h 261"/>
                <a:gd name="T58" fmla="*/ 60 w 286"/>
                <a:gd name="T59" fmla="*/ 21 h 261"/>
                <a:gd name="T60" fmla="*/ 46 w 286"/>
                <a:gd name="T61" fmla="*/ 8 h 261"/>
                <a:gd name="T62" fmla="*/ 24 w 286"/>
                <a:gd name="T63" fmla="*/ 20 h 261"/>
                <a:gd name="T64" fmla="*/ 5 w 286"/>
                <a:gd name="T65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61">
                  <a:moveTo>
                    <a:pt x="5" y="0"/>
                  </a:moveTo>
                  <a:lnTo>
                    <a:pt x="0" y="6"/>
                  </a:lnTo>
                  <a:lnTo>
                    <a:pt x="6" y="25"/>
                  </a:lnTo>
                  <a:lnTo>
                    <a:pt x="14" y="43"/>
                  </a:lnTo>
                  <a:lnTo>
                    <a:pt x="17" y="62"/>
                  </a:lnTo>
                  <a:lnTo>
                    <a:pt x="20" y="73"/>
                  </a:lnTo>
                  <a:lnTo>
                    <a:pt x="35" y="76"/>
                  </a:lnTo>
                  <a:lnTo>
                    <a:pt x="32" y="92"/>
                  </a:lnTo>
                  <a:lnTo>
                    <a:pt x="22" y="99"/>
                  </a:lnTo>
                  <a:lnTo>
                    <a:pt x="22" y="114"/>
                  </a:lnTo>
                  <a:lnTo>
                    <a:pt x="36" y="120"/>
                  </a:lnTo>
                  <a:lnTo>
                    <a:pt x="39" y="133"/>
                  </a:lnTo>
                  <a:lnTo>
                    <a:pt x="48" y="135"/>
                  </a:lnTo>
                  <a:lnTo>
                    <a:pt x="59" y="133"/>
                  </a:lnTo>
                  <a:lnTo>
                    <a:pt x="61" y="145"/>
                  </a:lnTo>
                  <a:lnTo>
                    <a:pt x="56" y="159"/>
                  </a:lnTo>
                  <a:lnTo>
                    <a:pt x="64" y="162"/>
                  </a:lnTo>
                  <a:lnTo>
                    <a:pt x="66" y="176"/>
                  </a:lnTo>
                  <a:lnTo>
                    <a:pt x="72" y="183"/>
                  </a:lnTo>
                  <a:lnTo>
                    <a:pt x="87" y="180"/>
                  </a:lnTo>
                  <a:lnTo>
                    <a:pt x="87" y="173"/>
                  </a:lnTo>
                  <a:lnTo>
                    <a:pt x="94" y="187"/>
                  </a:lnTo>
                  <a:lnTo>
                    <a:pt x="98" y="207"/>
                  </a:lnTo>
                  <a:lnTo>
                    <a:pt x="111" y="212"/>
                  </a:lnTo>
                  <a:lnTo>
                    <a:pt x="109" y="220"/>
                  </a:lnTo>
                  <a:lnTo>
                    <a:pt x="122" y="221"/>
                  </a:lnTo>
                  <a:lnTo>
                    <a:pt x="130" y="233"/>
                  </a:lnTo>
                  <a:lnTo>
                    <a:pt x="174" y="235"/>
                  </a:lnTo>
                  <a:lnTo>
                    <a:pt x="180" y="223"/>
                  </a:lnTo>
                  <a:lnTo>
                    <a:pt x="189" y="227"/>
                  </a:lnTo>
                  <a:lnTo>
                    <a:pt x="193" y="250"/>
                  </a:lnTo>
                  <a:lnTo>
                    <a:pt x="209" y="260"/>
                  </a:lnTo>
                  <a:lnTo>
                    <a:pt x="252" y="257"/>
                  </a:lnTo>
                  <a:lnTo>
                    <a:pt x="261" y="260"/>
                  </a:lnTo>
                  <a:lnTo>
                    <a:pt x="265" y="246"/>
                  </a:lnTo>
                  <a:lnTo>
                    <a:pt x="277" y="242"/>
                  </a:lnTo>
                  <a:lnTo>
                    <a:pt x="285" y="231"/>
                  </a:lnTo>
                  <a:lnTo>
                    <a:pt x="280" y="223"/>
                  </a:lnTo>
                  <a:lnTo>
                    <a:pt x="269" y="221"/>
                  </a:lnTo>
                  <a:lnTo>
                    <a:pt x="265" y="205"/>
                  </a:lnTo>
                  <a:lnTo>
                    <a:pt x="249" y="198"/>
                  </a:lnTo>
                  <a:lnTo>
                    <a:pt x="249" y="184"/>
                  </a:lnTo>
                  <a:lnTo>
                    <a:pt x="257" y="173"/>
                  </a:lnTo>
                  <a:lnTo>
                    <a:pt x="252" y="156"/>
                  </a:lnTo>
                  <a:lnTo>
                    <a:pt x="235" y="156"/>
                  </a:lnTo>
                  <a:lnTo>
                    <a:pt x="238" y="121"/>
                  </a:lnTo>
                  <a:lnTo>
                    <a:pt x="235" y="99"/>
                  </a:lnTo>
                  <a:lnTo>
                    <a:pt x="240" y="66"/>
                  </a:lnTo>
                  <a:lnTo>
                    <a:pt x="220" y="56"/>
                  </a:lnTo>
                  <a:lnTo>
                    <a:pt x="197" y="40"/>
                  </a:lnTo>
                  <a:lnTo>
                    <a:pt x="182" y="38"/>
                  </a:lnTo>
                  <a:lnTo>
                    <a:pt x="156" y="33"/>
                  </a:lnTo>
                  <a:lnTo>
                    <a:pt x="149" y="46"/>
                  </a:lnTo>
                  <a:lnTo>
                    <a:pt x="135" y="52"/>
                  </a:lnTo>
                  <a:lnTo>
                    <a:pt x="120" y="58"/>
                  </a:lnTo>
                  <a:lnTo>
                    <a:pt x="112" y="65"/>
                  </a:lnTo>
                  <a:lnTo>
                    <a:pt x="94" y="62"/>
                  </a:lnTo>
                  <a:lnTo>
                    <a:pt x="79" y="50"/>
                  </a:lnTo>
                  <a:lnTo>
                    <a:pt x="64" y="40"/>
                  </a:lnTo>
                  <a:lnTo>
                    <a:pt x="60" y="21"/>
                  </a:lnTo>
                  <a:lnTo>
                    <a:pt x="54" y="3"/>
                  </a:lnTo>
                  <a:lnTo>
                    <a:pt x="46" y="8"/>
                  </a:lnTo>
                  <a:lnTo>
                    <a:pt x="42" y="20"/>
                  </a:lnTo>
                  <a:lnTo>
                    <a:pt x="24" y="20"/>
                  </a:lnTo>
                  <a:lnTo>
                    <a:pt x="17" y="8"/>
                  </a:lnTo>
                  <a:lnTo>
                    <a:pt x="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1" name="Freeform 208">
              <a:extLst>
                <a:ext uri="{FF2B5EF4-FFF2-40B4-BE49-F238E27FC236}">
                  <a16:creationId xmlns:a16="http://schemas.microsoft.com/office/drawing/2014/main" xmlns="" id="{3A260E63-5CAF-4DF0-A679-8EC47A448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6618" y="3528836"/>
              <a:ext cx="145037" cy="187891"/>
            </a:xfrm>
            <a:custGeom>
              <a:avLst/>
              <a:gdLst>
                <a:gd name="T0" fmla="*/ 38 w 109"/>
                <a:gd name="T1" fmla="*/ 34 h 141"/>
                <a:gd name="T2" fmla="*/ 51 w 109"/>
                <a:gd name="T3" fmla="*/ 52 h 141"/>
                <a:gd name="T4" fmla="*/ 41 w 109"/>
                <a:gd name="T5" fmla="*/ 92 h 141"/>
                <a:gd name="T6" fmla="*/ 0 w 109"/>
                <a:gd name="T7" fmla="*/ 99 h 141"/>
                <a:gd name="T8" fmla="*/ 6 w 109"/>
                <a:gd name="T9" fmla="*/ 118 h 141"/>
                <a:gd name="T10" fmla="*/ 15 w 109"/>
                <a:gd name="T11" fmla="*/ 140 h 141"/>
                <a:gd name="T12" fmla="*/ 40 w 109"/>
                <a:gd name="T13" fmla="*/ 136 h 141"/>
                <a:gd name="T14" fmla="*/ 48 w 109"/>
                <a:gd name="T15" fmla="*/ 121 h 141"/>
                <a:gd name="T16" fmla="*/ 61 w 109"/>
                <a:gd name="T17" fmla="*/ 118 h 141"/>
                <a:gd name="T18" fmla="*/ 68 w 109"/>
                <a:gd name="T19" fmla="*/ 109 h 141"/>
                <a:gd name="T20" fmla="*/ 84 w 109"/>
                <a:gd name="T21" fmla="*/ 105 h 141"/>
                <a:gd name="T22" fmla="*/ 87 w 109"/>
                <a:gd name="T23" fmla="*/ 78 h 141"/>
                <a:gd name="T24" fmla="*/ 93 w 109"/>
                <a:gd name="T25" fmla="*/ 67 h 141"/>
                <a:gd name="T26" fmla="*/ 104 w 109"/>
                <a:gd name="T27" fmla="*/ 61 h 141"/>
                <a:gd name="T28" fmla="*/ 108 w 109"/>
                <a:gd name="T29" fmla="*/ 34 h 141"/>
                <a:gd name="T30" fmla="*/ 96 w 109"/>
                <a:gd name="T31" fmla="*/ 30 h 141"/>
                <a:gd name="T32" fmla="*/ 95 w 109"/>
                <a:gd name="T33" fmla="*/ 16 h 141"/>
                <a:gd name="T34" fmla="*/ 69 w 109"/>
                <a:gd name="T35" fmla="*/ 12 h 141"/>
                <a:gd name="T36" fmla="*/ 59 w 109"/>
                <a:gd name="T37" fmla="*/ 0 h 141"/>
                <a:gd name="T38" fmla="*/ 38 w 109"/>
                <a:gd name="T39" fmla="*/ 3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9" h="141">
                  <a:moveTo>
                    <a:pt x="38" y="34"/>
                  </a:moveTo>
                  <a:lnTo>
                    <a:pt x="51" y="52"/>
                  </a:lnTo>
                  <a:lnTo>
                    <a:pt x="41" y="92"/>
                  </a:lnTo>
                  <a:lnTo>
                    <a:pt x="0" y="99"/>
                  </a:lnTo>
                  <a:lnTo>
                    <a:pt x="6" y="118"/>
                  </a:lnTo>
                  <a:lnTo>
                    <a:pt x="15" y="140"/>
                  </a:lnTo>
                  <a:lnTo>
                    <a:pt x="40" y="136"/>
                  </a:lnTo>
                  <a:lnTo>
                    <a:pt x="48" y="121"/>
                  </a:lnTo>
                  <a:lnTo>
                    <a:pt x="61" y="118"/>
                  </a:lnTo>
                  <a:lnTo>
                    <a:pt x="68" y="109"/>
                  </a:lnTo>
                  <a:lnTo>
                    <a:pt x="84" y="105"/>
                  </a:lnTo>
                  <a:lnTo>
                    <a:pt x="87" y="78"/>
                  </a:lnTo>
                  <a:lnTo>
                    <a:pt x="93" y="67"/>
                  </a:lnTo>
                  <a:lnTo>
                    <a:pt x="104" y="61"/>
                  </a:lnTo>
                  <a:lnTo>
                    <a:pt x="108" y="34"/>
                  </a:lnTo>
                  <a:lnTo>
                    <a:pt x="96" y="30"/>
                  </a:lnTo>
                  <a:lnTo>
                    <a:pt x="95" y="16"/>
                  </a:lnTo>
                  <a:lnTo>
                    <a:pt x="69" y="12"/>
                  </a:lnTo>
                  <a:lnTo>
                    <a:pt x="59" y="0"/>
                  </a:lnTo>
                  <a:lnTo>
                    <a:pt x="38" y="3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2" name="Freeform 209">
              <a:extLst>
                <a:ext uri="{FF2B5EF4-FFF2-40B4-BE49-F238E27FC236}">
                  <a16:creationId xmlns:a16="http://schemas.microsoft.com/office/drawing/2014/main" xmlns="" id="{B2C1674C-C309-427C-AC7A-709F17991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566" y="3237486"/>
              <a:ext cx="191401" cy="212864"/>
            </a:xfrm>
            <a:custGeom>
              <a:avLst/>
              <a:gdLst>
                <a:gd name="T0" fmla="*/ 109 w 143"/>
                <a:gd name="T1" fmla="*/ 160 h 161"/>
                <a:gd name="T2" fmla="*/ 100 w 143"/>
                <a:gd name="T3" fmla="*/ 155 h 161"/>
                <a:gd name="T4" fmla="*/ 84 w 143"/>
                <a:gd name="T5" fmla="*/ 145 h 161"/>
                <a:gd name="T6" fmla="*/ 71 w 143"/>
                <a:gd name="T7" fmla="*/ 122 h 161"/>
                <a:gd name="T8" fmla="*/ 60 w 143"/>
                <a:gd name="T9" fmla="*/ 119 h 161"/>
                <a:gd name="T10" fmla="*/ 50 w 143"/>
                <a:gd name="T11" fmla="*/ 102 h 161"/>
                <a:gd name="T12" fmla="*/ 34 w 143"/>
                <a:gd name="T13" fmla="*/ 103 h 161"/>
                <a:gd name="T14" fmla="*/ 24 w 143"/>
                <a:gd name="T15" fmla="*/ 96 h 161"/>
                <a:gd name="T16" fmla="*/ 14 w 143"/>
                <a:gd name="T17" fmla="*/ 88 h 161"/>
                <a:gd name="T18" fmla="*/ 9 w 143"/>
                <a:gd name="T19" fmla="*/ 90 h 161"/>
                <a:gd name="T20" fmla="*/ 0 w 143"/>
                <a:gd name="T21" fmla="*/ 74 h 161"/>
                <a:gd name="T22" fmla="*/ 15 w 143"/>
                <a:gd name="T23" fmla="*/ 66 h 161"/>
                <a:gd name="T24" fmla="*/ 34 w 143"/>
                <a:gd name="T25" fmla="*/ 54 h 161"/>
                <a:gd name="T26" fmla="*/ 37 w 143"/>
                <a:gd name="T27" fmla="*/ 41 h 161"/>
                <a:gd name="T28" fmla="*/ 37 w 143"/>
                <a:gd name="T29" fmla="*/ 21 h 161"/>
                <a:gd name="T30" fmla="*/ 47 w 143"/>
                <a:gd name="T31" fmla="*/ 12 h 161"/>
                <a:gd name="T32" fmla="*/ 55 w 143"/>
                <a:gd name="T33" fmla="*/ 3 h 161"/>
                <a:gd name="T34" fmla="*/ 70 w 143"/>
                <a:gd name="T35" fmla="*/ 0 h 161"/>
                <a:gd name="T36" fmla="*/ 76 w 143"/>
                <a:gd name="T37" fmla="*/ 10 h 161"/>
                <a:gd name="T38" fmla="*/ 93 w 143"/>
                <a:gd name="T39" fmla="*/ 11 h 161"/>
                <a:gd name="T40" fmla="*/ 96 w 143"/>
                <a:gd name="T41" fmla="*/ 22 h 161"/>
                <a:gd name="T42" fmla="*/ 111 w 143"/>
                <a:gd name="T43" fmla="*/ 25 h 161"/>
                <a:gd name="T44" fmla="*/ 108 w 143"/>
                <a:gd name="T45" fmla="*/ 41 h 161"/>
                <a:gd name="T46" fmla="*/ 98 w 143"/>
                <a:gd name="T47" fmla="*/ 47 h 161"/>
                <a:gd name="T48" fmla="*/ 98 w 143"/>
                <a:gd name="T49" fmla="*/ 63 h 161"/>
                <a:gd name="T50" fmla="*/ 111 w 143"/>
                <a:gd name="T51" fmla="*/ 69 h 161"/>
                <a:gd name="T52" fmla="*/ 115 w 143"/>
                <a:gd name="T53" fmla="*/ 81 h 161"/>
                <a:gd name="T54" fmla="*/ 124 w 143"/>
                <a:gd name="T55" fmla="*/ 84 h 161"/>
                <a:gd name="T56" fmla="*/ 134 w 143"/>
                <a:gd name="T57" fmla="*/ 81 h 161"/>
                <a:gd name="T58" fmla="*/ 137 w 143"/>
                <a:gd name="T59" fmla="*/ 94 h 161"/>
                <a:gd name="T60" fmla="*/ 132 w 143"/>
                <a:gd name="T61" fmla="*/ 108 h 161"/>
                <a:gd name="T62" fmla="*/ 140 w 143"/>
                <a:gd name="T63" fmla="*/ 111 h 161"/>
                <a:gd name="T64" fmla="*/ 142 w 143"/>
                <a:gd name="T65" fmla="*/ 124 h 161"/>
                <a:gd name="T66" fmla="*/ 129 w 143"/>
                <a:gd name="T67" fmla="*/ 129 h 161"/>
                <a:gd name="T68" fmla="*/ 121 w 143"/>
                <a:gd name="T69" fmla="*/ 131 h 161"/>
                <a:gd name="T70" fmla="*/ 119 w 143"/>
                <a:gd name="T71" fmla="*/ 152 h 161"/>
                <a:gd name="T72" fmla="*/ 109 w 143"/>
                <a:gd name="T73" fmla="*/ 16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161">
                  <a:moveTo>
                    <a:pt x="109" y="160"/>
                  </a:moveTo>
                  <a:lnTo>
                    <a:pt x="100" y="155"/>
                  </a:lnTo>
                  <a:lnTo>
                    <a:pt x="84" y="145"/>
                  </a:lnTo>
                  <a:lnTo>
                    <a:pt x="71" y="122"/>
                  </a:lnTo>
                  <a:lnTo>
                    <a:pt x="60" y="119"/>
                  </a:lnTo>
                  <a:lnTo>
                    <a:pt x="50" y="102"/>
                  </a:lnTo>
                  <a:lnTo>
                    <a:pt x="34" y="103"/>
                  </a:lnTo>
                  <a:lnTo>
                    <a:pt x="24" y="96"/>
                  </a:lnTo>
                  <a:lnTo>
                    <a:pt x="14" y="88"/>
                  </a:lnTo>
                  <a:lnTo>
                    <a:pt x="9" y="90"/>
                  </a:lnTo>
                  <a:lnTo>
                    <a:pt x="0" y="74"/>
                  </a:lnTo>
                  <a:lnTo>
                    <a:pt x="15" y="66"/>
                  </a:lnTo>
                  <a:lnTo>
                    <a:pt x="34" y="54"/>
                  </a:lnTo>
                  <a:lnTo>
                    <a:pt x="37" y="41"/>
                  </a:lnTo>
                  <a:lnTo>
                    <a:pt x="37" y="21"/>
                  </a:lnTo>
                  <a:lnTo>
                    <a:pt x="47" y="12"/>
                  </a:lnTo>
                  <a:lnTo>
                    <a:pt x="55" y="3"/>
                  </a:lnTo>
                  <a:lnTo>
                    <a:pt x="70" y="0"/>
                  </a:lnTo>
                  <a:lnTo>
                    <a:pt x="76" y="10"/>
                  </a:lnTo>
                  <a:lnTo>
                    <a:pt x="93" y="11"/>
                  </a:lnTo>
                  <a:lnTo>
                    <a:pt x="96" y="22"/>
                  </a:lnTo>
                  <a:lnTo>
                    <a:pt x="111" y="25"/>
                  </a:lnTo>
                  <a:lnTo>
                    <a:pt x="108" y="41"/>
                  </a:lnTo>
                  <a:lnTo>
                    <a:pt x="98" y="47"/>
                  </a:lnTo>
                  <a:lnTo>
                    <a:pt x="98" y="63"/>
                  </a:lnTo>
                  <a:lnTo>
                    <a:pt x="111" y="69"/>
                  </a:lnTo>
                  <a:lnTo>
                    <a:pt x="115" y="81"/>
                  </a:lnTo>
                  <a:lnTo>
                    <a:pt x="124" y="84"/>
                  </a:lnTo>
                  <a:lnTo>
                    <a:pt x="134" y="81"/>
                  </a:lnTo>
                  <a:lnTo>
                    <a:pt x="137" y="94"/>
                  </a:lnTo>
                  <a:lnTo>
                    <a:pt x="132" y="108"/>
                  </a:lnTo>
                  <a:lnTo>
                    <a:pt x="140" y="111"/>
                  </a:lnTo>
                  <a:lnTo>
                    <a:pt x="142" y="124"/>
                  </a:lnTo>
                  <a:lnTo>
                    <a:pt x="129" y="129"/>
                  </a:lnTo>
                  <a:lnTo>
                    <a:pt x="121" y="131"/>
                  </a:lnTo>
                  <a:lnTo>
                    <a:pt x="119" y="152"/>
                  </a:lnTo>
                  <a:lnTo>
                    <a:pt x="109" y="16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3" name="Freeform 210">
              <a:extLst>
                <a:ext uri="{FF2B5EF4-FFF2-40B4-BE49-F238E27FC236}">
                  <a16:creationId xmlns:a16="http://schemas.microsoft.com/office/drawing/2014/main" xmlns="" id="{B652A6AA-5226-4716-B041-BF5ED4731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658" y="3902239"/>
              <a:ext cx="89162" cy="97513"/>
            </a:xfrm>
            <a:custGeom>
              <a:avLst/>
              <a:gdLst>
                <a:gd name="T0" fmla="*/ 0 w 67"/>
                <a:gd name="T1" fmla="*/ 26 h 74"/>
                <a:gd name="T2" fmla="*/ 14 w 67"/>
                <a:gd name="T3" fmla="*/ 0 h 74"/>
                <a:gd name="T4" fmla="*/ 23 w 67"/>
                <a:gd name="T5" fmla="*/ 17 h 74"/>
                <a:gd name="T6" fmla="*/ 34 w 67"/>
                <a:gd name="T7" fmla="*/ 20 h 74"/>
                <a:gd name="T8" fmla="*/ 38 w 67"/>
                <a:gd name="T9" fmla="*/ 34 h 74"/>
                <a:gd name="T10" fmla="*/ 47 w 67"/>
                <a:gd name="T11" fmla="*/ 36 h 74"/>
                <a:gd name="T12" fmla="*/ 49 w 67"/>
                <a:gd name="T13" fmla="*/ 53 h 74"/>
                <a:gd name="T14" fmla="*/ 66 w 67"/>
                <a:gd name="T15" fmla="*/ 59 h 74"/>
                <a:gd name="T16" fmla="*/ 63 w 67"/>
                <a:gd name="T17" fmla="*/ 67 h 74"/>
                <a:gd name="T18" fmla="*/ 54 w 67"/>
                <a:gd name="T19" fmla="*/ 73 h 74"/>
                <a:gd name="T20" fmla="*/ 36 w 67"/>
                <a:gd name="T21" fmla="*/ 68 h 74"/>
                <a:gd name="T22" fmla="*/ 0 w 67"/>
                <a:gd name="T23" fmla="*/ 2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74">
                  <a:moveTo>
                    <a:pt x="0" y="26"/>
                  </a:moveTo>
                  <a:lnTo>
                    <a:pt x="14" y="0"/>
                  </a:lnTo>
                  <a:lnTo>
                    <a:pt x="23" y="17"/>
                  </a:lnTo>
                  <a:lnTo>
                    <a:pt x="34" y="20"/>
                  </a:lnTo>
                  <a:lnTo>
                    <a:pt x="38" y="34"/>
                  </a:lnTo>
                  <a:lnTo>
                    <a:pt x="47" y="36"/>
                  </a:lnTo>
                  <a:lnTo>
                    <a:pt x="49" y="53"/>
                  </a:lnTo>
                  <a:lnTo>
                    <a:pt x="66" y="59"/>
                  </a:lnTo>
                  <a:lnTo>
                    <a:pt x="63" y="67"/>
                  </a:lnTo>
                  <a:lnTo>
                    <a:pt x="54" y="73"/>
                  </a:lnTo>
                  <a:lnTo>
                    <a:pt x="36" y="68"/>
                  </a:lnTo>
                  <a:lnTo>
                    <a:pt x="0" y="2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4" name="Freeform 211">
              <a:extLst>
                <a:ext uri="{FF2B5EF4-FFF2-40B4-BE49-F238E27FC236}">
                  <a16:creationId xmlns:a16="http://schemas.microsoft.com/office/drawing/2014/main" xmlns="" id="{CDDC38D2-515D-4EBA-862A-AC6CA2E7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6741" y="3458674"/>
              <a:ext cx="203289" cy="306809"/>
            </a:xfrm>
            <a:custGeom>
              <a:avLst/>
              <a:gdLst>
                <a:gd name="T0" fmla="*/ 112 w 152"/>
                <a:gd name="T1" fmla="*/ 0 h 229"/>
                <a:gd name="T2" fmla="*/ 107 w 152"/>
                <a:gd name="T3" fmla="*/ 20 h 229"/>
                <a:gd name="T4" fmla="*/ 100 w 152"/>
                <a:gd name="T5" fmla="*/ 29 h 229"/>
                <a:gd name="T6" fmla="*/ 66 w 152"/>
                <a:gd name="T7" fmla="*/ 31 h 229"/>
                <a:gd name="T8" fmla="*/ 66 w 152"/>
                <a:gd name="T9" fmla="*/ 81 h 229"/>
                <a:gd name="T10" fmla="*/ 53 w 152"/>
                <a:gd name="T11" fmla="*/ 76 h 229"/>
                <a:gd name="T12" fmla="*/ 44 w 152"/>
                <a:gd name="T13" fmla="*/ 84 h 229"/>
                <a:gd name="T14" fmla="*/ 41 w 152"/>
                <a:gd name="T15" fmla="*/ 97 h 229"/>
                <a:gd name="T16" fmla="*/ 40 w 152"/>
                <a:gd name="T17" fmla="*/ 118 h 229"/>
                <a:gd name="T18" fmla="*/ 26 w 152"/>
                <a:gd name="T19" fmla="*/ 118 h 229"/>
                <a:gd name="T20" fmla="*/ 6 w 152"/>
                <a:gd name="T21" fmla="*/ 115 h 229"/>
                <a:gd name="T22" fmla="*/ 0 w 152"/>
                <a:gd name="T23" fmla="*/ 113 h 229"/>
                <a:gd name="T24" fmla="*/ 0 w 152"/>
                <a:gd name="T25" fmla="*/ 156 h 229"/>
                <a:gd name="T26" fmla="*/ 4 w 152"/>
                <a:gd name="T27" fmla="*/ 162 h 229"/>
                <a:gd name="T28" fmla="*/ 4 w 152"/>
                <a:gd name="T29" fmla="*/ 195 h 229"/>
                <a:gd name="T30" fmla="*/ 17 w 152"/>
                <a:gd name="T31" fmla="*/ 192 h 229"/>
                <a:gd name="T32" fmla="*/ 23 w 152"/>
                <a:gd name="T33" fmla="*/ 201 h 229"/>
                <a:gd name="T34" fmla="*/ 33 w 152"/>
                <a:gd name="T35" fmla="*/ 205 h 229"/>
                <a:gd name="T36" fmla="*/ 44 w 152"/>
                <a:gd name="T37" fmla="*/ 220 h 229"/>
                <a:gd name="T38" fmla="*/ 55 w 152"/>
                <a:gd name="T39" fmla="*/ 228 h 229"/>
                <a:gd name="T40" fmla="*/ 70 w 152"/>
                <a:gd name="T41" fmla="*/ 209 h 229"/>
                <a:gd name="T42" fmla="*/ 81 w 152"/>
                <a:gd name="T43" fmla="*/ 215 h 229"/>
                <a:gd name="T44" fmla="*/ 132 w 152"/>
                <a:gd name="T45" fmla="*/ 219 h 229"/>
                <a:gd name="T46" fmla="*/ 151 w 152"/>
                <a:gd name="T47" fmla="*/ 217 h 229"/>
                <a:gd name="T48" fmla="*/ 149 w 152"/>
                <a:gd name="T49" fmla="*/ 198 h 229"/>
                <a:gd name="T50" fmla="*/ 138 w 152"/>
                <a:gd name="T51" fmla="*/ 195 h 229"/>
                <a:gd name="T52" fmla="*/ 140 w 152"/>
                <a:gd name="T53" fmla="*/ 84 h 229"/>
                <a:gd name="T54" fmla="*/ 132 w 152"/>
                <a:gd name="T55" fmla="*/ 75 h 229"/>
                <a:gd name="T56" fmla="*/ 132 w 152"/>
                <a:gd name="T57" fmla="*/ 53 h 229"/>
                <a:gd name="T58" fmla="*/ 142 w 152"/>
                <a:gd name="T59" fmla="*/ 50 h 229"/>
                <a:gd name="T60" fmla="*/ 143 w 152"/>
                <a:gd name="T61" fmla="*/ 36 h 229"/>
                <a:gd name="T62" fmla="*/ 112 w 152"/>
                <a:gd name="T6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2" h="229">
                  <a:moveTo>
                    <a:pt x="112" y="0"/>
                  </a:moveTo>
                  <a:lnTo>
                    <a:pt x="107" y="20"/>
                  </a:lnTo>
                  <a:lnTo>
                    <a:pt x="100" y="29"/>
                  </a:lnTo>
                  <a:lnTo>
                    <a:pt x="66" y="31"/>
                  </a:lnTo>
                  <a:lnTo>
                    <a:pt x="66" y="81"/>
                  </a:lnTo>
                  <a:lnTo>
                    <a:pt x="53" y="76"/>
                  </a:lnTo>
                  <a:lnTo>
                    <a:pt x="44" y="84"/>
                  </a:lnTo>
                  <a:lnTo>
                    <a:pt x="41" y="97"/>
                  </a:lnTo>
                  <a:lnTo>
                    <a:pt x="40" y="118"/>
                  </a:lnTo>
                  <a:lnTo>
                    <a:pt x="26" y="118"/>
                  </a:lnTo>
                  <a:lnTo>
                    <a:pt x="6" y="115"/>
                  </a:lnTo>
                  <a:lnTo>
                    <a:pt x="0" y="113"/>
                  </a:lnTo>
                  <a:lnTo>
                    <a:pt x="0" y="156"/>
                  </a:lnTo>
                  <a:lnTo>
                    <a:pt x="4" y="162"/>
                  </a:lnTo>
                  <a:lnTo>
                    <a:pt x="4" y="195"/>
                  </a:lnTo>
                  <a:lnTo>
                    <a:pt x="17" y="192"/>
                  </a:lnTo>
                  <a:lnTo>
                    <a:pt x="23" y="201"/>
                  </a:lnTo>
                  <a:lnTo>
                    <a:pt x="33" y="205"/>
                  </a:lnTo>
                  <a:lnTo>
                    <a:pt x="44" y="220"/>
                  </a:lnTo>
                  <a:lnTo>
                    <a:pt x="55" y="228"/>
                  </a:lnTo>
                  <a:lnTo>
                    <a:pt x="70" y="209"/>
                  </a:lnTo>
                  <a:lnTo>
                    <a:pt x="81" y="215"/>
                  </a:lnTo>
                  <a:lnTo>
                    <a:pt x="132" y="219"/>
                  </a:lnTo>
                  <a:lnTo>
                    <a:pt x="151" y="217"/>
                  </a:lnTo>
                  <a:lnTo>
                    <a:pt x="149" y="198"/>
                  </a:lnTo>
                  <a:lnTo>
                    <a:pt x="138" y="195"/>
                  </a:lnTo>
                  <a:lnTo>
                    <a:pt x="140" y="84"/>
                  </a:lnTo>
                  <a:lnTo>
                    <a:pt x="132" y="75"/>
                  </a:lnTo>
                  <a:lnTo>
                    <a:pt x="132" y="53"/>
                  </a:lnTo>
                  <a:lnTo>
                    <a:pt x="142" y="50"/>
                  </a:lnTo>
                  <a:lnTo>
                    <a:pt x="143" y="36"/>
                  </a:lnTo>
                  <a:lnTo>
                    <a:pt x="112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5" name="Freeform 212">
              <a:extLst>
                <a:ext uri="{FF2B5EF4-FFF2-40B4-BE49-F238E27FC236}">
                  <a16:creationId xmlns:a16="http://schemas.microsoft.com/office/drawing/2014/main" xmlns="" id="{8C40F02E-E770-4EAB-AEEB-B06A94B9C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203" y="3999752"/>
              <a:ext cx="137904" cy="192648"/>
            </a:xfrm>
            <a:custGeom>
              <a:avLst/>
              <a:gdLst>
                <a:gd name="T0" fmla="*/ 0 w 103"/>
                <a:gd name="T1" fmla="*/ 133 h 145"/>
                <a:gd name="T2" fmla="*/ 5 w 103"/>
                <a:gd name="T3" fmla="*/ 126 h 145"/>
                <a:gd name="T4" fmla="*/ 10 w 103"/>
                <a:gd name="T5" fmla="*/ 114 h 145"/>
                <a:gd name="T6" fmla="*/ 3 w 103"/>
                <a:gd name="T7" fmla="*/ 108 h 145"/>
                <a:gd name="T8" fmla="*/ 2 w 103"/>
                <a:gd name="T9" fmla="*/ 101 h 145"/>
                <a:gd name="T10" fmla="*/ 12 w 103"/>
                <a:gd name="T11" fmla="*/ 97 h 145"/>
                <a:gd name="T12" fmla="*/ 19 w 103"/>
                <a:gd name="T13" fmla="*/ 95 h 145"/>
                <a:gd name="T14" fmla="*/ 27 w 103"/>
                <a:gd name="T15" fmla="*/ 104 h 145"/>
                <a:gd name="T16" fmla="*/ 39 w 103"/>
                <a:gd name="T17" fmla="*/ 100 h 145"/>
                <a:gd name="T18" fmla="*/ 48 w 103"/>
                <a:gd name="T19" fmla="*/ 86 h 145"/>
                <a:gd name="T20" fmla="*/ 46 w 103"/>
                <a:gd name="T21" fmla="*/ 72 h 145"/>
                <a:gd name="T22" fmla="*/ 38 w 103"/>
                <a:gd name="T23" fmla="*/ 65 h 145"/>
                <a:gd name="T24" fmla="*/ 34 w 103"/>
                <a:gd name="T25" fmla="*/ 55 h 145"/>
                <a:gd name="T26" fmla="*/ 37 w 103"/>
                <a:gd name="T27" fmla="*/ 47 h 145"/>
                <a:gd name="T28" fmla="*/ 35 w 103"/>
                <a:gd name="T29" fmla="*/ 38 h 145"/>
                <a:gd name="T30" fmla="*/ 24 w 103"/>
                <a:gd name="T31" fmla="*/ 38 h 145"/>
                <a:gd name="T32" fmla="*/ 24 w 103"/>
                <a:gd name="T33" fmla="*/ 25 h 145"/>
                <a:gd name="T34" fmla="*/ 69 w 103"/>
                <a:gd name="T35" fmla="*/ 19 h 145"/>
                <a:gd name="T36" fmla="*/ 75 w 103"/>
                <a:gd name="T37" fmla="*/ 10 h 145"/>
                <a:gd name="T38" fmla="*/ 82 w 103"/>
                <a:gd name="T39" fmla="*/ 2 h 145"/>
                <a:gd name="T40" fmla="*/ 93 w 103"/>
                <a:gd name="T41" fmla="*/ 0 h 145"/>
                <a:gd name="T42" fmla="*/ 102 w 103"/>
                <a:gd name="T43" fmla="*/ 3 h 145"/>
                <a:gd name="T44" fmla="*/ 98 w 103"/>
                <a:gd name="T45" fmla="*/ 22 h 145"/>
                <a:gd name="T46" fmla="*/ 94 w 103"/>
                <a:gd name="T47" fmla="*/ 26 h 145"/>
                <a:gd name="T48" fmla="*/ 93 w 103"/>
                <a:gd name="T49" fmla="*/ 71 h 145"/>
                <a:gd name="T50" fmla="*/ 89 w 103"/>
                <a:gd name="T51" fmla="*/ 77 h 145"/>
                <a:gd name="T52" fmla="*/ 83 w 103"/>
                <a:gd name="T53" fmla="*/ 84 h 145"/>
                <a:gd name="T54" fmla="*/ 82 w 103"/>
                <a:gd name="T55" fmla="*/ 103 h 145"/>
                <a:gd name="T56" fmla="*/ 70 w 103"/>
                <a:gd name="T57" fmla="*/ 104 h 145"/>
                <a:gd name="T58" fmla="*/ 69 w 103"/>
                <a:gd name="T59" fmla="*/ 128 h 145"/>
                <a:gd name="T60" fmla="*/ 54 w 103"/>
                <a:gd name="T61" fmla="*/ 134 h 145"/>
                <a:gd name="T62" fmla="*/ 51 w 103"/>
                <a:gd name="T63" fmla="*/ 139 h 145"/>
                <a:gd name="T64" fmla="*/ 39 w 103"/>
                <a:gd name="T65" fmla="*/ 139 h 145"/>
                <a:gd name="T66" fmla="*/ 32 w 103"/>
                <a:gd name="T67" fmla="*/ 135 h 145"/>
                <a:gd name="T68" fmla="*/ 22 w 103"/>
                <a:gd name="T69" fmla="*/ 139 h 145"/>
                <a:gd name="T70" fmla="*/ 14 w 103"/>
                <a:gd name="T71" fmla="*/ 142 h 145"/>
                <a:gd name="T72" fmla="*/ 8 w 103"/>
                <a:gd name="T73" fmla="*/ 144 h 145"/>
                <a:gd name="T74" fmla="*/ 8 w 103"/>
                <a:gd name="T75" fmla="*/ 137 h 145"/>
                <a:gd name="T76" fmla="*/ 0 w 103"/>
                <a:gd name="T77" fmla="*/ 13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3" h="145">
                  <a:moveTo>
                    <a:pt x="0" y="133"/>
                  </a:moveTo>
                  <a:lnTo>
                    <a:pt x="5" y="126"/>
                  </a:lnTo>
                  <a:lnTo>
                    <a:pt x="10" y="114"/>
                  </a:lnTo>
                  <a:lnTo>
                    <a:pt x="3" y="108"/>
                  </a:lnTo>
                  <a:lnTo>
                    <a:pt x="2" y="101"/>
                  </a:lnTo>
                  <a:lnTo>
                    <a:pt x="12" y="97"/>
                  </a:lnTo>
                  <a:lnTo>
                    <a:pt x="19" y="95"/>
                  </a:lnTo>
                  <a:lnTo>
                    <a:pt x="27" y="104"/>
                  </a:lnTo>
                  <a:lnTo>
                    <a:pt x="39" y="100"/>
                  </a:lnTo>
                  <a:lnTo>
                    <a:pt x="48" y="86"/>
                  </a:lnTo>
                  <a:lnTo>
                    <a:pt x="46" y="72"/>
                  </a:lnTo>
                  <a:lnTo>
                    <a:pt x="38" y="65"/>
                  </a:lnTo>
                  <a:lnTo>
                    <a:pt x="34" y="55"/>
                  </a:lnTo>
                  <a:lnTo>
                    <a:pt x="37" y="47"/>
                  </a:lnTo>
                  <a:lnTo>
                    <a:pt x="35" y="38"/>
                  </a:lnTo>
                  <a:lnTo>
                    <a:pt x="24" y="38"/>
                  </a:lnTo>
                  <a:lnTo>
                    <a:pt x="24" y="25"/>
                  </a:lnTo>
                  <a:lnTo>
                    <a:pt x="69" y="19"/>
                  </a:lnTo>
                  <a:lnTo>
                    <a:pt x="75" y="10"/>
                  </a:lnTo>
                  <a:lnTo>
                    <a:pt x="82" y="2"/>
                  </a:lnTo>
                  <a:lnTo>
                    <a:pt x="93" y="0"/>
                  </a:lnTo>
                  <a:lnTo>
                    <a:pt x="102" y="3"/>
                  </a:lnTo>
                  <a:lnTo>
                    <a:pt x="98" y="22"/>
                  </a:lnTo>
                  <a:lnTo>
                    <a:pt x="94" y="26"/>
                  </a:lnTo>
                  <a:lnTo>
                    <a:pt x="93" y="71"/>
                  </a:lnTo>
                  <a:lnTo>
                    <a:pt x="89" y="77"/>
                  </a:lnTo>
                  <a:lnTo>
                    <a:pt x="83" y="84"/>
                  </a:lnTo>
                  <a:lnTo>
                    <a:pt x="82" y="103"/>
                  </a:lnTo>
                  <a:lnTo>
                    <a:pt x="70" y="104"/>
                  </a:lnTo>
                  <a:lnTo>
                    <a:pt x="69" y="128"/>
                  </a:lnTo>
                  <a:lnTo>
                    <a:pt x="54" y="134"/>
                  </a:lnTo>
                  <a:lnTo>
                    <a:pt x="51" y="139"/>
                  </a:lnTo>
                  <a:lnTo>
                    <a:pt x="39" y="139"/>
                  </a:lnTo>
                  <a:lnTo>
                    <a:pt x="32" y="135"/>
                  </a:lnTo>
                  <a:lnTo>
                    <a:pt x="22" y="139"/>
                  </a:lnTo>
                  <a:lnTo>
                    <a:pt x="14" y="142"/>
                  </a:lnTo>
                  <a:lnTo>
                    <a:pt x="8" y="144"/>
                  </a:lnTo>
                  <a:lnTo>
                    <a:pt x="8" y="137"/>
                  </a:lnTo>
                  <a:lnTo>
                    <a:pt x="0" y="13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6" name="Freeform 213">
              <a:extLst>
                <a:ext uri="{FF2B5EF4-FFF2-40B4-BE49-F238E27FC236}">
                  <a16:creationId xmlns:a16="http://schemas.microsoft.com/office/drawing/2014/main" xmlns="" id="{7D27AB64-4423-402E-AAF0-EB54C9C98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2902" y="3971212"/>
              <a:ext cx="374480" cy="416214"/>
            </a:xfrm>
            <a:custGeom>
              <a:avLst/>
              <a:gdLst>
                <a:gd name="T0" fmla="*/ 1 w 282"/>
                <a:gd name="T1" fmla="*/ 174 h 311"/>
                <a:gd name="T2" fmla="*/ 7 w 282"/>
                <a:gd name="T3" fmla="*/ 183 h 311"/>
                <a:gd name="T4" fmla="*/ 42 w 282"/>
                <a:gd name="T5" fmla="*/ 178 h 311"/>
                <a:gd name="T6" fmla="*/ 75 w 282"/>
                <a:gd name="T7" fmla="*/ 206 h 311"/>
                <a:gd name="T8" fmla="*/ 82 w 282"/>
                <a:gd name="T9" fmla="*/ 217 h 311"/>
                <a:gd name="T10" fmla="*/ 110 w 282"/>
                <a:gd name="T11" fmla="*/ 201 h 311"/>
                <a:gd name="T12" fmla="*/ 124 w 282"/>
                <a:gd name="T13" fmla="*/ 213 h 311"/>
                <a:gd name="T14" fmla="*/ 139 w 282"/>
                <a:gd name="T15" fmla="*/ 206 h 311"/>
                <a:gd name="T16" fmla="*/ 146 w 282"/>
                <a:gd name="T17" fmla="*/ 247 h 311"/>
                <a:gd name="T18" fmla="*/ 155 w 282"/>
                <a:gd name="T19" fmla="*/ 267 h 311"/>
                <a:gd name="T20" fmla="*/ 188 w 282"/>
                <a:gd name="T21" fmla="*/ 268 h 311"/>
                <a:gd name="T22" fmla="*/ 199 w 282"/>
                <a:gd name="T23" fmla="*/ 286 h 311"/>
                <a:gd name="T24" fmla="*/ 215 w 282"/>
                <a:gd name="T25" fmla="*/ 275 h 311"/>
                <a:gd name="T26" fmla="*/ 228 w 282"/>
                <a:gd name="T27" fmla="*/ 286 h 311"/>
                <a:gd name="T28" fmla="*/ 237 w 282"/>
                <a:gd name="T29" fmla="*/ 310 h 311"/>
                <a:gd name="T30" fmla="*/ 257 w 282"/>
                <a:gd name="T31" fmla="*/ 300 h 311"/>
                <a:gd name="T32" fmla="*/ 244 w 282"/>
                <a:gd name="T33" fmla="*/ 281 h 311"/>
                <a:gd name="T34" fmla="*/ 242 w 282"/>
                <a:gd name="T35" fmla="*/ 231 h 311"/>
                <a:gd name="T36" fmla="*/ 258 w 282"/>
                <a:gd name="T37" fmla="*/ 217 h 311"/>
                <a:gd name="T38" fmla="*/ 262 w 282"/>
                <a:gd name="T39" fmla="*/ 200 h 311"/>
                <a:gd name="T40" fmla="*/ 257 w 282"/>
                <a:gd name="T41" fmla="*/ 180 h 311"/>
                <a:gd name="T42" fmla="*/ 257 w 282"/>
                <a:gd name="T43" fmla="*/ 159 h 311"/>
                <a:gd name="T44" fmla="*/ 247 w 282"/>
                <a:gd name="T45" fmla="*/ 144 h 311"/>
                <a:gd name="T46" fmla="*/ 241 w 282"/>
                <a:gd name="T47" fmla="*/ 130 h 311"/>
                <a:gd name="T48" fmla="*/ 246 w 282"/>
                <a:gd name="T49" fmla="*/ 116 h 311"/>
                <a:gd name="T50" fmla="*/ 253 w 282"/>
                <a:gd name="T51" fmla="*/ 102 h 311"/>
                <a:gd name="T52" fmla="*/ 272 w 282"/>
                <a:gd name="T53" fmla="*/ 62 h 311"/>
                <a:gd name="T54" fmla="*/ 281 w 282"/>
                <a:gd name="T55" fmla="*/ 48 h 311"/>
                <a:gd name="T56" fmla="*/ 272 w 282"/>
                <a:gd name="T57" fmla="*/ 42 h 311"/>
                <a:gd name="T58" fmla="*/ 268 w 282"/>
                <a:gd name="T59" fmla="*/ 21 h 311"/>
                <a:gd name="T60" fmla="*/ 253 w 282"/>
                <a:gd name="T61" fmla="*/ 11 h 311"/>
                <a:gd name="T62" fmla="*/ 215 w 282"/>
                <a:gd name="T63" fmla="*/ 1 h 311"/>
                <a:gd name="T64" fmla="*/ 190 w 282"/>
                <a:gd name="T65" fmla="*/ 3 h 311"/>
                <a:gd name="T66" fmla="*/ 176 w 282"/>
                <a:gd name="T67" fmla="*/ 8 h 311"/>
                <a:gd name="T68" fmla="*/ 143 w 282"/>
                <a:gd name="T69" fmla="*/ 16 h 311"/>
                <a:gd name="T70" fmla="*/ 114 w 282"/>
                <a:gd name="T71" fmla="*/ 8 h 311"/>
                <a:gd name="T72" fmla="*/ 98 w 282"/>
                <a:gd name="T73" fmla="*/ 14 h 311"/>
                <a:gd name="T74" fmla="*/ 86 w 282"/>
                <a:gd name="T75" fmla="*/ 21 h 311"/>
                <a:gd name="T76" fmla="*/ 91 w 282"/>
                <a:gd name="T77" fmla="*/ 43 h 311"/>
                <a:gd name="T78" fmla="*/ 86 w 282"/>
                <a:gd name="T79" fmla="*/ 92 h 311"/>
                <a:gd name="T80" fmla="*/ 76 w 282"/>
                <a:gd name="T81" fmla="*/ 105 h 311"/>
                <a:gd name="T82" fmla="*/ 63 w 282"/>
                <a:gd name="T83" fmla="*/ 125 h 311"/>
                <a:gd name="T84" fmla="*/ 47 w 282"/>
                <a:gd name="T85" fmla="*/ 155 h 311"/>
                <a:gd name="T86" fmla="*/ 31 w 282"/>
                <a:gd name="T87" fmla="*/ 160 h 311"/>
                <a:gd name="T88" fmla="*/ 14 w 282"/>
                <a:gd name="T89" fmla="*/ 160 h 311"/>
                <a:gd name="T90" fmla="*/ 1 w 282"/>
                <a:gd name="T91" fmla="*/ 16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2" h="311">
                  <a:moveTo>
                    <a:pt x="7" y="171"/>
                  </a:moveTo>
                  <a:lnTo>
                    <a:pt x="1" y="174"/>
                  </a:lnTo>
                  <a:lnTo>
                    <a:pt x="0" y="180"/>
                  </a:lnTo>
                  <a:lnTo>
                    <a:pt x="7" y="183"/>
                  </a:lnTo>
                  <a:lnTo>
                    <a:pt x="28" y="184"/>
                  </a:lnTo>
                  <a:lnTo>
                    <a:pt x="42" y="178"/>
                  </a:lnTo>
                  <a:lnTo>
                    <a:pt x="69" y="181"/>
                  </a:lnTo>
                  <a:lnTo>
                    <a:pt x="75" y="206"/>
                  </a:lnTo>
                  <a:lnTo>
                    <a:pt x="81" y="208"/>
                  </a:lnTo>
                  <a:lnTo>
                    <a:pt x="82" y="217"/>
                  </a:lnTo>
                  <a:lnTo>
                    <a:pt x="109" y="217"/>
                  </a:lnTo>
                  <a:lnTo>
                    <a:pt x="110" y="201"/>
                  </a:lnTo>
                  <a:lnTo>
                    <a:pt x="116" y="195"/>
                  </a:lnTo>
                  <a:lnTo>
                    <a:pt x="124" y="213"/>
                  </a:lnTo>
                  <a:lnTo>
                    <a:pt x="130" y="208"/>
                  </a:lnTo>
                  <a:lnTo>
                    <a:pt x="139" y="206"/>
                  </a:lnTo>
                  <a:lnTo>
                    <a:pt x="145" y="215"/>
                  </a:lnTo>
                  <a:lnTo>
                    <a:pt x="146" y="247"/>
                  </a:lnTo>
                  <a:lnTo>
                    <a:pt x="146" y="259"/>
                  </a:lnTo>
                  <a:lnTo>
                    <a:pt x="155" y="267"/>
                  </a:lnTo>
                  <a:lnTo>
                    <a:pt x="172" y="267"/>
                  </a:lnTo>
                  <a:lnTo>
                    <a:pt x="188" y="268"/>
                  </a:lnTo>
                  <a:lnTo>
                    <a:pt x="192" y="284"/>
                  </a:lnTo>
                  <a:lnTo>
                    <a:pt x="199" y="286"/>
                  </a:lnTo>
                  <a:lnTo>
                    <a:pt x="203" y="277"/>
                  </a:lnTo>
                  <a:lnTo>
                    <a:pt x="215" y="275"/>
                  </a:lnTo>
                  <a:lnTo>
                    <a:pt x="216" y="280"/>
                  </a:lnTo>
                  <a:lnTo>
                    <a:pt x="228" y="286"/>
                  </a:lnTo>
                  <a:lnTo>
                    <a:pt x="231" y="302"/>
                  </a:lnTo>
                  <a:lnTo>
                    <a:pt x="237" y="310"/>
                  </a:lnTo>
                  <a:lnTo>
                    <a:pt x="253" y="309"/>
                  </a:lnTo>
                  <a:lnTo>
                    <a:pt x="257" y="300"/>
                  </a:lnTo>
                  <a:lnTo>
                    <a:pt x="254" y="282"/>
                  </a:lnTo>
                  <a:lnTo>
                    <a:pt x="244" y="281"/>
                  </a:lnTo>
                  <a:lnTo>
                    <a:pt x="238" y="275"/>
                  </a:lnTo>
                  <a:lnTo>
                    <a:pt x="242" y="231"/>
                  </a:lnTo>
                  <a:lnTo>
                    <a:pt x="247" y="221"/>
                  </a:lnTo>
                  <a:lnTo>
                    <a:pt x="258" y="217"/>
                  </a:lnTo>
                  <a:lnTo>
                    <a:pt x="261" y="208"/>
                  </a:lnTo>
                  <a:lnTo>
                    <a:pt x="262" y="200"/>
                  </a:lnTo>
                  <a:lnTo>
                    <a:pt x="261" y="190"/>
                  </a:lnTo>
                  <a:lnTo>
                    <a:pt x="257" y="180"/>
                  </a:lnTo>
                  <a:lnTo>
                    <a:pt x="256" y="173"/>
                  </a:lnTo>
                  <a:lnTo>
                    <a:pt x="257" y="159"/>
                  </a:lnTo>
                  <a:lnTo>
                    <a:pt x="253" y="149"/>
                  </a:lnTo>
                  <a:lnTo>
                    <a:pt x="247" y="144"/>
                  </a:lnTo>
                  <a:lnTo>
                    <a:pt x="250" y="129"/>
                  </a:lnTo>
                  <a:lnTo>
                    <a:pt x="241" y="130"/>
                  </a:lnTo>
                  <a:lnTo>
                    <a:pt x="240" y="122"/>
                  </a:lnTo>
                  <a:lnTo>
                    <a:pt x="246" y="116"/>
                  </a:lnTo>
                  <a:lnTo>
                    <a:pt x="244" y="107"/>
                  </a:lnTo>
                  <a:lnTo>
                    <a:pt x="253" y="102"/>
                  </a:lnTo>
                  <a:lnTo>
                    <a:pt x="257" y="68"/>
                  </a:lnTo>
                  <a:lnTo>
                    <a:pt x="272" y="62"/>
                  </a:lnTo>
                  <a:lnTo>
                    <a:pt x="280" y="58"/>
                  </a:lnTo>
                  <a:lnTo>
                    <a:pt x="281" y="48"/>
                  </a:lnTo>
                  <a:lnTo>
                    <a:pt x="272" y="48"/>
                  </a:lnTo>
                  <a:lnTo>
                    <a:pt x="272" y="42"/>
                  </a:lnTo>
                  <a:lnTo>
                    <a:pt x="268" y="23"/>
                  </a:lnTo>
                  <a:lnTo>
                    <a:pt x="268" y="21"/>
                  </a:lnTo>
                  <a:lnTo>
                    <a:pt x="258" y="19"/>
                  </a:lnTo>
                  <a:lnTo>
                    <a:pt x="253" y="11"/>
                  </a:lnTo>
                  <a:lnTo>
                    <a:pt x="220" y="8"/>
                  </a:lnTo>
                  <a:lnTo>
                    <a:pt x="215" y="1"/>
                  </a:lnTo>
                  <a:lnTo>
                    <a:pt x="206" y="0"/>
                  </a:lnTo>
                  <a:lnTo>
                    <a:pt x="190" y="3"/>
                  </a:lnTo>
                  <a:lnTo>
                    <a:pt x="177" y="1"/>
                  </a:lnTo>
                  <a:lnTo>
                    <a:pt x="176" y="8"/>
                  </a:lnTo>
                  <a:lnTo>
                    <a:pt x="146" y="10"/>
                  </a:lnTo>
                  <a:lnTo>
                    <a:pt x="143" y="16"/>
                  </a:lnTo>
                  <a:lnTo>
                    <a:pt x="119" y="19"/>
                  </a:lnTo>
                  <a:lnTo>
                    <a:pt x="114" y="8"/>
                  </a:lnTo>
                  <a:lnTo>
                    <a:pt x="104" y="5"/>
                  </a:lnTo>
                  <a:lnTo>
                    <a:pt x="98" y="14"/>
                  </a:lnTo>
                  <a:lnTo>
                    <a:pt x="91" y="17"/>
                  </a:lnTo>
                  <a:lnTo>
                    <a:pt x="86" y="21"/>
                  </a:lnTo>
                  <a:lnTo>
                    <a:pt x="95" y="25"/>
                  </a:lnTo>
                  <a:lnTo>
                    <a:pt x="91" y="43"/>
                  </a:lnTo>
                  <a:lnTo>
                    <a:pt x="87" y="47"/>
                  </a:lnTo>
                  <a:lnTo>
                    <a:pt x="86" y="92"/>
                  </a:lnTo>
                  <a:lnTo>
                    <a:pt x="82" y="98"/>
                  </a:lnTo>
                  <a:lnTo>
                    <a:pt x="76" y="105"/>
                  </a:lnTo>
                  <a:lnTo>
                    <a:pt x="75" y="125"/>
                  </a:lnTo>
                  <a:lnTo>
                    <a:pt x="63" y="125"/>
                  </a:lnTo>
                  <a:lnTo>
                    <a:pt x="62" y="149"/>
                  </a:lnTo>
                  <a:lnTo>
                    <a:pt x="47" y="155"/>
                  </a:lnTo>
                  <a:lnTo>
                    <a:pt x="43" y="160"/>
                  </a:lnTo>
                  <a:lnTo>
                    <a:pt x="31" y="160"/>
                  </a:lnTo>
                  <a:lnTo>
                    <a:pt x="25" y="156"/>
                  </a:lnTo>
                  <a:lnTo>
                    <a:pt x="14" y="160"/>
                  </a:lnTo>
                  <a:lnTo>
                    <a:pt x="7" y="163"/>
                  </a:lnTo>
                  <a:lnTo>
                    <a:pt x="1" y="165"/>
                  </a:lnTo>
                  <a:lnTo>
                    <a:pt x="4" y="17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7" name="Freeform 214">
              <a:extLst>
                <a:ext uri="{FF2B5EF4-FFF2-40B4-BE49-F238E27FC236}">
                  <a16:creationId xmlns:a16="http://schemas.microsoft.com/office/drawing/2014/main" xmlns="" id="{DE825AEB-54BC-4B98-8E2A-9C83364BA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203" y="4210237"/>
              <a:ext cx="240143" cy="271134"/>
            </a:xfrm>
            <a:custGeom>
              <a:avLst/>
              <a:gdLst>
                <a:gd name="T0" fmla="*/ 8 w 180"/>
                <a:gd name="T1" fmla="*/ 3 h 203"/>
                <a:gd name="T2" fmla="*/ 14 w 180"/>
                <a:gd name="T3" fmla="*/ 5 h 203"/>
                <a:gd name="T4" fmla="*/ 35 w 180"/>
                <a:gd name="T5" fmla="*/ 6 h 203"/>
                <a:gd name="T6" fmla="*/ 50 w 180"/>
                <a:gd name="T7" fmla="*/ 0 h 203"/>
                <a:gd name="T8" fmla="*/ 76 w 180"/>
                <a:gd name="T9" fmla="*/ 3 h 203"/>
                <a:gd name="T10" fmla="*/ 82 w 180"/>
                <a:gd name="T11" fmla="*/ 28 h 203"/>
                <a:gd name="T12" fmla="*/ 89 w 180"/>
                <a:gd name="T13" fmla="*/ 30 h 203"/>
                <a:gd name="T14" fmla="*/ 90 w 180"/>
                <a:gd name="T15" fmla="*/ 39 h 203"/>
                <a:gd name="T16" fmla="*/ 116 w 180"/>
                <a:gd name="T17" fmla="*/ 39 h 203"/>
                <a:gd name="T18" fmla="*/ 117 w 180"/>
                <a:gd name="T19" fmla="*/ 23 h 203"/>
                <a:gd name="T20" fmla="*/ 123 w 180"/>
                <a:gd name="T21" fmla="*/ 17 h 203"/>
                <a:gd name="T22" fmla="*/ 131 w 180"/>
                <a:gd name="T23" fmla="*/ 35 h 203"/>
                <a:gd name="T24" fmla="*/ 137 w 180"/>
                <a:gd name="T25" fmla="*/ 30 h 203"/>
                <a:gd name="T26" fmla="*/ 146 w 180"/>
                <a:gd name="T27" fmla="*/ 28 h 203"/>
                <a:gd name="T28" fmla="*/ 152 w 180"/>
                <a:gd name="T29" fmla="*/ 37 h 203"/>
                <a:gd name="T30" fmla="*/ 153 w 180"/>
                <a:gd name="T31" fmla="*/ 69 h 203"/>
                <a:gd name="T32" fmla="*/ 153 w 180"/>
                <a:gd name="T33" fmla="*/ 81 h 203"/>
                <a:gd name="T34" fmla="*/ 162 w 180"/>
                <a:gd name="T35" fmla="*/ 88 h 203"/>
                <a:gd name="T36" fmla="*/ 179 w 180"/>
                <a:gd name="T37" fmla="*/ 88 h 203"/>
                <a:gd name="T38" fmla="*/ 176 w 180"/>
                <a:gd name="T39" fmla="*/ 122 h 203"/>
                <a:gd name="T40" fmla="*/ 164 w 180"/>
                <a:gd name="T41" fmla="*/ 122 h 203"/>
                <a:gd name="T42" fmla="*/ 159 w 180"/>
                <a:gd name="T43" fmla="*/ 113 h 203"/>
                <a:gd name="T44" fmla="*/ 153 w 180"/>
                <a:gd name="T45" fmla="*/ 114 h 203"/>
                <a:gd name="T46" fmla="*/ 153 w 180"/>
                <a:gd name="T47" fmla="*/ 122 h 203"/>
                <a:gd name="T48" fmla="*/ 143 w 180"/>
                <a:gd name="T49" fmla="*/ 123 h 203"/>
                <a:gd name="T50" fmla="*/ 142 w 180"/>
                <a:gd name="T51" fmla="*/ 162 h 203"/>
                <a:gd name="T52" fmla="*/ 144 w 180"/>
                <a:gd name="T53" fmla="*/ 173 h 203"/>
                <a:gd name="T54" fmla="*/ 155 w 180"/>
                <a:gd name="T55" fmla="*/ 188 h 203"/>
                <a:gd name="T56" fmla="*/ 156 w 180"/>
                <a:gd name="T57" fmla="*/ 195 h 203"/>
                <a:gd name="T58" fmla="*/ 138 w 180"/>
                <a:gd name="T59" fmla="*/ 202 h 203"/>
                <a:gd name="T60" fmla="*/ 127 w 180"/>
                <a:gd name="T61" fmla="*/ 200 h 203"/>
                <a:gd name="T62" fmla="*/ 97 w 180"/>
                <a:gd name="T63" fmla="*/ 196 h 203"/>
                <a:gd name="T64" fmla="*/ 92 w 180"/>
                <a:gd name="T65" fmla="*/ 188 h 203"/>
                <a:gd name="T66" fmla="*/ 55 w 180"/>
                <a:gd name="T67" fmla="*/ 189 h 203"/>
                <a:gd name="T68" fmla="*/ 30 w 180"/>
                <a:gd name="T69" fmla="*/ 187 h 203"/>
                <a:gd name="T70" fmla="*/ 14 w 180"/>
                <a:gd name="T71" fmla="*/ 180 h 203"/>
                <a:gd name="T72" fmla="*/ 0 w 180"/>
                <a:gd name="T73" fmla="*/ 186 h 203"/>
                <a:gd name="T74" fmla="*/ 0 w 180"/>
                <a:gd name="T75" fmla="*/ 162 h 203"/>
                <a:gd name="T76" fmla="*/ 16 w 180"/>
                <a:gd name="T77" fmla="*/ 133 h 203"/>
                <a:gd name="T78" fmla="*/ 24 w 180"/>
                <a:gd name="T79" fmla="*/ 114 h 203"/>
                <a:gd name="T80" fmla="*/ 25 w 180"/>
                <a:gd name="T81" fmla="*/ 110 h 203"/>
                <a:gd name="T82" fmla="*/ 32 w 180"/>
                <a:gd name="T83" fmla="*/ 108 h 203"/>
                <a:gd name="T84" fmla="*/ 35 w 180"/>
                <a:gd name="T85" fmla="*/ 93 h 203"/>
                <a:gd name="T86" fmla="*/ 26 w 180"/>
                <a:gd name="T87" fmla="*/ 78 h 203"/>
                <a:gd name="T88" fmla="*/ 23 w 180"/>
                <a:gd name="T89" fmla="*/ 59 h 203"/>
                <a:gd name="T90" fmla="*/ 21 w 180"/>
                <a:gd name="T91" fmla="*/ 39 h 203"/>
                <a:gd name="T92" fmla="*/ 14 w 180"/>
                <a:gd name="T93" fmla="*/ 34 h 203"/>
                <a:gd name="T94" fmla="*/ 14 w 180"/>
                <a:gd name="T95" fmla="*/ 12 h 203"/>
                <a:gd name="T96" fmla="*/ 5 w 180"/>
                <a:gd name="T97" fmla="*/ 12 h 203"/>
                <a:gd name="T98" fmla="*/ 8 w 180"/>
                <a:gd name="T99" fmla="*/ 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0" h="203">
                  <a:moveTo>
                    <a:pt x="8" y="3"/>
                  </a:moveTo>
                  <a:lnTo>
                    <a:pt x="14" y="5"/>
                  </a:lnTo>
                  <a:lnTo>
                    <a:pt x="35" y="6"/>
                  </a:lnTo>
                  <a:lnTo>
                    <a:pt x="50" y="0"/>
                  </a:lnTo>
                  <a:lnTo>
                    <a:pt x="76" y="3"/>
                  </a:lnTo>
                  <a:lnTo>
                    <a:pt x="82" y="28"/>
                  </a:lnTo>
                  <a:lnTo>
                    <a:pt x="89" y="30"/>
                  </a:lnTo>
                  <a:lnTo>
                    <a:pt x="90" y="39"/>
                  </a:lnTo>
                  <a:lnTo>
                    <a:pt x="116" y="39"/>
                  </a:lnTo>
                  <a:lnTo>
                    <a:pt x="117" y="23"/>
                  </a:lnTo>
                  <a:lnTo>
                    <a:pt x="123" y="17"/>
                  </a:lnTo>
                  <a:lnTo>
                    <a:pt x="131" y="35"/>
                  </a:lnTo>
                  <a:lnTo>
                    <a:pt x="137" y="30"/>
                  </a:lnTo>
                  <a:lnTo>
                    <a:pt x="146" y="28"/>
                  </a:lnTo>
                  <a:lnTo>
                    <a:pt x="152" y="37"/>
                  </a:lnTo>
                  <a:lnTo>
                    <a:pt x="153" y="69"/>
                  </a:lnTo>
                  <a:lnTo>
                    <a:pt x="153" y="81"/>
                  </a:lnTo>
                  <a:lnTo>
                    <a:pt x="162" y="88"/>
                  </a:lnTo>
                  <a:lnTo>
                    <a:pt x="179" y="88"/>
                  </a:lnTo>
                  <a:lnTo>
                    <a:pt x="176" y="122"/>
                  </a:lnTo>
                  <a:lnTo>
                    <a:pt x="164" y="122"/>
                  </a:lnTo>
                  <a:lnTo>
                    <a:pt x="159" y="113"/>
                  </a:lnTo>
                  <a:lnTo>
                    <a:pt x="153" y="114"/>
                  </a:lnTo>
                  <a:lnTo>
                    <a:pt x="153" y="122"/>
                  </a:lnTo>
                  <a:lnTo>
                    <a:pt x="143" y="123"/>
                  </a:lnTo>
                  <a:lnTo>
                    <a:pt x="142" y="162"/>
                  </a:lnTo>
                  <a:lnTo>
                    <a:pt x="144" y="173"/>
                  </a:lnTo>
                  <a:lnTo>
                    <a:pt x="155" y="188"/>
                  </a:lnTo>
                  <a:lnTo>
                    <a:pt x="156" y="195"/>
                  </a:lnTo>
                  <a:lnTo>
                    <a:pt x="138" y="202"/>
                  </a:lnTo>
                  <a:lnTo>
                    <a:pt x="127" y="200"/>
                  </a:lnTo>
                  <a:lnTo>
                    <a:pt x="97" y="196"/>
                  </a:lnTo>
                  <a:lnTo>
                    <a:pt x="92" y="188"/>
                  </a:lnTo>
                  <a:lnTo>
                    <a:pt x="55" y="189"/>
                  </a:lnTo>
                  <a:lnTo>
                    <a:pt x="30" y="187"/>
                  </a:lnTo>
                  <a:lnTo>
                    <a:pt x="14" y="180"/>
                  </a:lnTo>
                  <a:lnTo>
                    <a:pt x="0" y="186"/>
                  </a:lnTo>
                  <a:lnTo>
                    <a:pt x="0" y="162"/>
                  </a:lnTo>
                  <a:lnTo>
                    <a:pt x="16" y="133"/>
                  </a:lnTo>
                  <a:lnTo>
                    <a:pt x="24" y="114"/>
                  </a:lnTo>
                  <a:lnTo>
                    <a:pt x="25" y="110"/>
                  </a:lnTo>
                  <a:lnTo>
                    <a:pt x="32" y="108"/>
                  </a:lnTo>
                  <a:lnTo>
                    <a:pt x="35" y="93"/>
                  </a:lnTo>
                  <a:lnTo>
                    <a:pt x="26" y="78"/>
                  </a:lnTo>
                  <a:lnTo>
                    <a:pt x="23" y="59"/>
                  </a:lnTo>
                  <a:lnTo>
                    <a:pt x="21" y="39"/>
                  </a:lnTo>
                  <a:lnTo>
                    <a:pt x="14" y="34"/>
                  </a:lnTo>
                  <a:lnTo>
                    <a:pt x="14" y="12"/>
                  </a:lnTo>
                  <a:lnTo>
                    <a:pt x="5" y="12"/>
                  </a:lnTo>
                  <a:lnTo>
                    <a:pt x="8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8" name="Freeform 215">
              <a:extLst>
                <a:ext uri="{FF2B5EF4-FFF2-40B4-BE49-F238E27FC236}">
                  <a16:creationId xmlns:a16="http://schemas.microsoft.com/office/drawing/2014/main" xmlns="" id="{B4FD8490-CF64-4AC8-B2FF-5AA60BF34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614" y="3979536"/>
              <a:ext cx="155736" cy="199783"/>
            </a:xfrm>
            <a:custGeom>
              <a:avLst/>
              <a:gdLst>
                <a:gd name="T0" fmla="*/ 83 w 116"/>
                <a:gd name="T1" fmla="*/ 150 h 151"/>
                <a:gd name="T2" fmla="*/ 60 w 116"/>
                <a:gd name="T3" fmla="*/ 138 h 151"/>
                <a:gd name="T4" fmla="*/ 60 w 116"/>
                <a:gd name="T5" fmla="*/ 126 h 151"/>
                <a:gd name="T6" fmla="*/ 44 w 116"/>
                <a:gd name="T7" fmla="*/ 121 h 151"/>
                <a:gd name="T8" fmla="*/ 15 w 116"/>
                <a:gd name="T9" fmla="*/ 98 h 151"/>
                <a:gd name="T10" fmla="*/ 4 w 116"/>
                <a:gd name="T11" fmla="*/ 98 h 151"/>
                <a:gd name="T12" fmla="*/ 0 w 116"/>
                <a:gd name="T13" fmla="*/ 88 h 151"/>
                <a:gd name="T14" fmla="*/ 3 w 116"/>
                <a:gd name="T15" fmla="*/ 72 h 151"/>
                <a:gd name="T16" fmla="*/ 11 w 116"/>
                <a:gd name="T17" fmla="*/ 56 h 151"/>
                <a:gd name="T18" fmla="*/ 11 w 116"/>
                <a:gd name="T19" fmla="*/ 29 h 151"/>
                <a:gd name="T20" fmla="*/ 3 w 116"/>
                <a:gd name="T21" fmla="*/ 14 h 151"/>
                <a:gd name="T22" fmla="*/ 23 w 116"/>
                <a:gd name="T23" fmla="*/ 0 h 151"/>
                <a:gd name="T24" fmla="*/ 37 w 116"/>
                <a:gd name="T25" fmla="*/ 3 h 151"/>
                <a:gd name="T26" fmla="*/ 51 w 116"/>
                <a:gd name="T27" fmla="*/ 13 h 151"/>
                <a:gd name="T28" fmla="*/ 53 w 116"/>
                <a:gd name="T29" fmla="*/ 23 h 151"/>
                <a:gd name="T30" fmla="*/ 84 w 116"/>
                <a:gd name="T31" fmla="*/ 20 h 151"/>
                <a:gd name="T32" fmla="*/ 84 w 116"/>
                <a:gd name="T33" fmla="*/ 14 h 151"/>
                <a:gd name="T34" fmla="*/ 104 w 116"/>
                <a:gd name="T35" fmla="*/ 13 h 151"/>
                <a:gd name="T36" fmla="*/ 108 w 116"/>
                <a:gd name="T37" fmla="*/ 19 h 151"/>
                <a:gd name="T38" fmla="*/ 115 w 116"/>
                <a:gd name="T39" fmla="*/ 23 h 151"/>
                <a:gd name="T40" fmla="*/ 107 w 116"/>
                <a:gd name="T41" fmla="*/ 29 h 151"/>
                <a:gd name="T42" fmla="*/ 103 w 116"/>
                <a:gd name="T43" fmla="*/ 39 h 151"/>
                <a:gd name="T44" fmla="*/ 106 w 116"/>
                <a:gd name="T45" fmla="*/ 102 h 151"/>
                <a:gd name="T46" fmla="*/ 112 w 116"/>
                <a:gd name="T47" fmla="*/ 105 h 151"/>
                <a:gd name="T48" fmla="*/ 106 w 116"/>
                <a:gd name="T49" fmla="*/ 111 h 151"/>
                <a:gd name="T50" fmla="*/ 101 w 116"/>
                <a:gd name="T51" fmla="*/ 121 h 151"/>
                <a:gd name="T52" fmla="*/ 90 w 116"/>
                <a:gd name="T53" fmla="*/ 131 h 151"/>
                <a:gd name="T54" fmla="*/ 88 w 116"/>
                <a:gd name="T55" fmla="*/ 140 h 151"/>
                <a:gd name="T56" fmla="*/ 83 w 116"/>
                <a:gd name="T57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6" h="151">
                  <a:moveTo>
                    <a:pt x="83" y="150"/>
                  </a:moveTo>
                  <a:lnTo>
                    <a:pt x="60" y="138"/>
                  </a:lnTo>
                  <a:lnTo>
                    <a:pt x="60" y="126"/>
                  </a:lnTo>
                  <a:lnTo>
                    <a:pt x="44" y="121"/>
                  </a:lnTo>
                  <a:lnTo>
                    <a:pt x="15" y="98"/>
                  </a:lnTo>
                  <a:lnTo>
                    <a:pt x="4" y="98"/>
                  </a:lnTo>
                  <a:lnTo>
                    <a:pt x="0" y="88"/>
                  </a:lnTo>
                  <a:lnTo>
                    <a:pt x="3" y="72"/>
                  </a:lnTo>
                  <a:lnTo>
                    <a:pt x="11" y="56"/>
                  </a:lnTo>
                  <a:lnTo>
                    <a:pt x="11" y="29"/>
                  </a:lnTo>
                  <a:lnTo>
                    <a:pt x="3" y="14"/>
                  </a:lnTo>
                  <a:lnTo>
                    <a:pt x="23" y="0"/>
                  </a:lnTo>
                  <a:lnTo>
                    <a:pt x="37" y="3"/>
                  </a:lnTo>
                  <a:lnTo>
                    <a:pt x="51" y="13"/>
                  </a:lnTo>
                  <a:lnTo>
                    <a:pt x="53" y="23"/>
                  </a:lnTo>
                  <a:lnTo>
                    <a:pt x="84" y="20"/>
                  </a:lnTo>
                  <a:lnTo>
                    <a:pt x="84" y="14"/>
                  </a:lnTo>
                  <a:lnTo>
                    <a:pt x="104" y="13"/>
                  </a:lnTo>
                  <a:lnTo>
                    <a:pt x="108" y="19"/>
                  </a:lnTo>
                  <a:lnTo>
                    <a:pt x="115" y="23"/>
                  </a:lnTo>
                  <a:lnTo>
                    <a:pt x="107" y="29"/>
                  </a:lnTo>
                  <a:lnTo>
                    <a:pt x="103" y="39"/>
                  </a:lnTo>
                  <a:lnTo>
                    <a:pt x="106" y="102"/>
                  </a:lnTo>
                  <a:lnTo>
                    <a:pt x="112" y="105"/>
                  </a:lnTo>
                  <a:lnTo>
                    <a:pt x="106" y="111"/>
                  </a:lnTo>
                  <a:lnTo>
                    <a:pt x="101" y="121"/>
                  </a:lnTo>
                  <a:lnTo>
                    <a:pt x="90" y="131"/>
                  </a:lnTo>
                  <a:lnTo>
                    <a:pt x="88" y="140"/>
                  </a:lnTo>
                  <a:lnTo>
                    <a:pt x="83" y="15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9" name="Freeform 216">
              <a:extLst>
                <a:ext uri="{FF2B5EF4-FFF2-40B4-BE49-F238E27FC236}">
                  <a16:creationId xmlns:a16="http://schemas.microsoft.com/office/drawing/2014/main" xmlns="" id="{7C073A2D-B7D6-4C99-B994-851B945DE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2348" y="3641808"/>
              <a:ext cx="272241" cy="366268"/>
            </a:xfrm>
            <a:custGeom>
              <a:avLst/>
              <a:gdLst>
                <a:gd name="T0" fmla="*/ 126 w 204"/>
                <a:gd name="T1" fmla="*/ 275 h 276"/>
                <a:gd name="T2" fmla="*/ 119 w 204"/>
                <a:gd name="T3" fmla="*/ 271 h 276"/>
                <a:gd name="T4" fmla="*/ 115 w 204"/>
                <a:gd name="T5" fmla="*/ 265 h 276"/>
                <a:gd name="T6" fmla="*/ 96 w 204"/>
                <a:gd name="T7" fmla="*/ 267 h 276"/>
                <a:gd name="T8" fmla="*/ 96 w 204"/>
                <a:gd name="T9" fmla="*/ 272 h 276"/>
                <a:gd name="T10" fmla="*/ 64 w 204"/>
                <a:gd name="T11" fmla="*/ 275 h 276"/>
                <a:gd name="T12" fmla="*/ 63 w 204"/>
                <a:gd name="T13" fmla="*/ 265 h 276"/>
                <a:gd name="T14" fmla="*/ 49 w 204"/>
                <a:gd name="T15" fmla="*/ 256 h 276"/>
                <a:gd name="T16" fmla="*/ 35 w 204"/>
                <a:gd name="T17" fmla="*/ 252 h 276"/>
                <a:gd name="T18" fmla="*/ 35 w 204"/>
                <a:gd name="T19" fmla="*/ 243 h 276"/>
                <a:gd name="T20" fmla="*/ 28 w 204"/>
                <a:gd name="T21" fmla="*/ 231 h 276"/>
                <a:gd name="T22" fmla="*/ 24 w 204"/>
                <a:gd name="T23" fmla="*/ 228 h 276"/>
                <a:gd name="T24" fmla="*/ 16 w 204"/>
                <a:gd name="T25" fmla="*/ 223 h 276"/>
                <a:gd name="T26" fmla="*/ 16 w 204"/>
                <a:gd name="T27" fmla="*/ 211 h 276"/>
                <a:gd name="T28" fmla="*/ 8 w 204"/>
                <a:gd name="T29" fmla="*/ 209 h 276"/>
                <a:gd name="T30" fmla="*/ 0 w 204"/>
                <a:gd name="T31" fmla="*/ 195 h 276"/>
                <a:gd name="T32" fmla="*/ 15 w 204"/>
                <a:gd name="T33" fmla="*/ 194 h 276"/>
                <a:gd name="T34" fmla="*/ 19 w 204"/>
                <a:gd name="T35" fmla="*/ 162 h 276"/>
                <a:gd name="T36" fmla="*/ 30 w 204"/>
                <a:gd name="T37" fmla="*/ 161 h 276"/>
                <a:gd name="T38" fmla="*/ 33 w 204"/>
                <a:gd name="T39" fmla="*/ 128 h 276"/>
                <a:gd name="T40" fmla="*/ 52 w 204"/>
                <a:gd name="T41" fmla="*/ 124 h 276"/>
                <a:gd name="T42" fmla="*/ 49 w 204"/>
                <a:gd name="T43" fmla="*/ 85 h 276"/>
                <a:gd name="T44" fmla="*/ 39 w 204"/>
                <a:gd name="T45" fmla="*/ 82 h 276"/>
                <a:gd name="T46" fmla="*/ 40 w 204"/>
                <a:gd name="T47" fmla="*/ 71 h 276"/>
                <a:gd name="T48" fmla="*/ 52 w 204"/>
                <a:gd name="T49" fmla="*/ 72 h 276"/>
                <a:gd name="T50" fmla="*/ 52 w 204"/>
                <a:gd name="T51" fmla="*/ 60 h 276"/>
                <a:gd name="T52" fmla="*/ 46 w 204"/>
                <a:gd name="T53" fmla="*/ 46 h 276"/>
                <a:gd name="T54" fmla="*/ 45 w 204"/>
                <a:gd name="T55" fmla="*/ 27 h 276"/>
                <a:gd name="T56" fmla="*/ 55 w 204"/>
                <a:gd name="T57" fmla="*/ 0 h 276"/>
                <a:gd name="T58" fmla="*/ 60 w 204"/>
                <a:gd name="T59" fmla="*/ 12 h 276"/>
                <a:gd name="T60" fmla="*/ 68 w 204"/>
                <a:gd name="T61" fmla="*/ 25 h 276"/>
                <a:gd name="T62" fmla="*/ 74 w 204"/>
                <a:gd name="T63" fmla="*/ 34 h 276"/>
                <a:gd name="T64" fmla="*/ 84 w 204"/>
                <a:gd name="T65" fmla="*/ 52 h 276"/>
                <a:gd name="T66" fmla="*/ 90 w 204"/>
                <a:gd name="T67" fmla="*/ 63 h 276"/>
                <a:gd name="T68" fmla="*/ 91 w 204"/>
                <a:gd name="T69" fmla="*/ 76 h 276"/>
                <a:gd name="T70" fmla="*/ 108 w 204"/>
                <a:gd name="T71" fmla="*/ 81 h 276"/>
                <a:gd name="T72" fmla="*/ 116 w 204"/>
                <a:gd name="T73" fmla="*/ 100 h 276"/>
                <a:gd name="T74" fmla="*/ 127 w 204"/>
                <a:gd name="T75" fmla="*/ 121 h 276"/>
                <a:gd name="T76" fmla="*/ 123 w 204"/>
                <a:gd name="T77" fmla="*/ 132 h 276"/>
                <a:gd name="T78" fmla="*/ 121 w 204"/>
                <a:gd name="T79" fmla="*/ 159 h 276"/>
                <a:gd name="T80" fmla="*/ 137 w 204"/>
                <a:gd name="T81" fmla="*/ 162 h 276"/>
                <a:gd name="T82" fmla="*/ 148 w 204"/>
                <a:gd name="T83" fmla="*/ 172 h 276"/>
                <a:gd name="T84" fmla="*/ 173 w 204"/>
                <a:gd name="T85" fmla="*/ 195 h 276"/>
                <a:gd name="T86" fmla="*/ 189 w 204"/>
                <a:gd name="T87" fmla="*/ 195 h 276"/>
                <a:gd name="T88" fmla="*/ 203 w 204"/>
                <a:gd name="T89" fmla="*/ 208 h 276"/>
                <a:gd name="T90" fmla="*/ 189 w 204"/>
                <a:gd name="T91" fmla="*/ 220 h 276"/>
                <a:gd name="T92" fmla="*/ 185 w 204"/>
                <a:gd name="T93" fmla="*/ 240 h 276"/>
                <a:gd name="T94" fmla="*/ 171 w 204"/>
                <a:gd name="T95" fmla="*/ 256 h 276"/>
                <a:gd name="T96" fmla="*/ 151 w 204"/>
                <a:gd name="T97" fmla="*/ 260 h 276"/>
                <a:gd name="T98" fmla="*/ 137 w 204"/>
                <a:gd name="T99" fmla="*/ 260 h 276"/>
                <a:gd name="T100" fmla="*/ 126 w 204"/>
                <a:gd name="T101" fmla="*/ 275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4" h="276">
                  <a:moveTo>
                    <a:pt x="126" y="275"/>
                  </a:moveTo>
                  <a:lnTo>
                    <a:pt x="119" y="271"/>
                  </a:lnTo>
                  <a:lnTo>
                    <a:pt x="115" y="265"/>
                  </a:lnTo>
                  <a:lnTo>
                    <a:pt x="96" y="267"/>
                  </a:lnTo>
                  <a:lnTo>
                    <a:pt x="96" y="272"/>
                  </a:lnTo>
                  <a:lnTo>
                    <a:pt x="64" y="275"/>
                  </a:lnTo>
                  <a:lnTo>
                    <a:pt x="63" y="265"/>
                  </a:lnTo>
                  <a:lnTo>
                    <a:pt x="49" y="256"/>
                  </a:lnTo>
                  <a:lnTo>
                    <a:pt x="35" y="252"/>
                  </a:lnTo>
                  <a:lnTo>
                    <a:pt x="35" y="243"/>
                  </a:lnTo>
                  <a:lnTo>
                    <a:pt x="28" y="231"/>
                  </a:lnTo>
                  <a:lnTo>
                    <a:pt x="24" y="228"/>
                  </a:lnTo>
                  <a:lnTo>
                    <a:pt x="16" y="223"/>
                  </a:lnTo>
                  <a:lnTo>
                    <a:pt x="16" y="211"/>
                  </a:lnTo>
                  <a:lnTo>
                    <a:pt x="8" y="209"/>
                  </a:lnTo>
                  <a:lnTo>
                    <a:pt x="0" y="195"/>
                  </a:lnTo>
                  <a:lnTo>
                    <a:pt x="15" y="194"/>
                  </a:lnTo>
                  <a:lnTo>
                    <a:pt x="19" y="162"/>
                  </a:lnTo>
                  <a:lnTo>
                    <a:pt x="30" y="161"/>
                  </a:lnTo>
                  <a:lnTo>
                    <a:pt x="33" y="128"/>
                  </a:lnTo>
                  <a:lnTo>
                    <a:pt x="52" y="124"/>
                  </a:lnTo>
                  <a:lnTo>
                    <a:pt x="49" y="85"/>
                  </a:lnTo>
                  <a:lnTo>
                    <a:pt x="39" y="82"/>
                  </a:lnTo>
                  <a:lnTo>
                    <a:pt x="40" y="71"/>
                  </a:lnTo>
                  <a:lnTo>
                    <a:pt x="52" y="72"/>
                  </a:lnTo>
                  <a:lnTo>
                    <a:pt x="52" y="60"/>
                  </a:lnTo>
                  <a:lnTo>
                    <a:pt x="46" y="46"/>
                  </a:lnTo>
                  <a:lnTo>
                    <a:pt x="45" y="27"/>
                  </a:lnTo>
                  <a:lnTo>
                    <a:pt x="55" y="0"/>
                  </a:lnTo>
                  <a:lnTo>
                    <a:pt x="60" y="12"/>
                  </a:lnTo>
                  <a:lnTo>
                    <a:pt x="68" y="25"/>
                  </a:lnTo>
                  <a:lnTo>
                    <a:pt x="74" y="34"/>
                  </a:lnTo>
                  <a:lnTo>
                    <a:pt x="84" y="52"/>
                  </a:lnTo>
                  <a:lnTo>
                    <a:pt x="90" y="63"/>
                  </a:lnTo>
                  <a:lnTo>
                    <a:pt x="91" y="76"/>
                  </a:lnTo>
                  <a:lnTo>
                    <a:pt x="108" y="81"/>
                  </a:lnTo>
                  <a:lnTo>
                    <a:pt x="116" y="100"/>
                  </a:lnTo>
                  <a:lnTo>
                    <a:pt x="127" y="121"/>
                  </a:lnTo>
                  <a:lnTo>
                    <a:pt x="123" y="132"/>
                  </a:lnTo>
                  <a:lnTo>
                    <a:pt x="121" y="159"/>
                  </a:lnTo>
                  <a:lnTo>
                    <a:pt x="137" y="162"/>
                  </a:lnTo>
                  <a:lnTo>
                    <a:pt x="148" y="172"/>
                  </a:lnTo>
                  <a:lnTo>
                    <a:pt x="173" y="195"/>
                  </a:lnTo>
                  <a:lnTo>
                    <a:pt x="189" y="195"/>
                  </a:lnTo>
                  <a:lnTo>
                    <a:pt x="203" y="208"/>
                  </a:lnTo>
                  <a:lnTo>
                    <a:pt x="189" y="220"/>
                  </a:lnTo>
                  <a:lnTo>
                    <a:pt x="185" y="240"/>
                  </a:lnTo>
                  <a:lnTo>
                    <a:pt x="171" y="256"/>
                  </a:lnTo>
                  <a:lnTo>
                    <a:pt x="151" y="260"/>
                  </a:lnTo>
                  <a:lnTo>
                    <a:pt x="137" y="260"/>
                  </a:lnTo>
                  <a:lnTo>
                    <a:pt x="126" y="27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0" name="Freeform 217">
              <a:extLst>
                <a:ext uri="{FF2B5EF4-FFF2-40B4-BE49-F238E27FC236}">
                  <a16:creationId xmlns:a16="http://schemas.microsoft.com/office/drawing/2014/main" xmlns="" id="{5BB3B4BA-4485-48D7-9318-3DF9B119A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518" y="3813050"/>
              <a:ext cx="206856" cy="307998"/>
            </a:xfrm>
            <a:custGeom>
              <a:avLst/>
              <a:gdLst>
                <a:gd name="T0" fmla="*/ 23 w 155"/>
                <a:gd name="T1" fmla="*/ 33 h 231"/>
                <a:gd name="T2" fmla="*/ 34 w 155"/>
                <a:gd name="T3" fmla="*/ 43 h 231"/>
                <a:gd name="T4" fmla="*/ 58 w 155"/>
                <a:gd name="T5" fmla="*/ 67 h 231"/>
                <a:gd name="T6" fmla="*/ 75 w 155"/>
                <a:gd name="T7" fmla="*/ 66 h 231"/>
                <a:gd name="T8" fmla="*/ 89 w 155"/>
                <a:gd name="T9" fmla="*/ 80 h 231"/>
                <a:gd name="T10" fmla="*/ 74 w 155"/>
                <a:gd name="T11" fmla="*/ 92 h 231"/>
                <a:gd name="T12" fmla="*/ 71 w 155"/>
                <a:gd name="T13" fmla="*/ 112 h 231"/>
                <a:gd name="T14" fmla="*/ 57 w 155"/>
                <a:gd name="T15" fmla="*/ 127 h 231"/>
                <a:gd name="T16" fmla="*/ 37 w 155"/>
                <a:gd name="T17" fmla="*/ 132 h 231"/>
                <a:gd name="T18" fmla="*/ 23 w 155"/>
                <a:gd name="T19" fmla="*/ 132 h 231"/>
                <a:gd name="T20" fmla="*/ 12 w 155"/>
                <a:gd name="T21" fmla="*/ 147 h 231"/>
                <a:gd name="T22" fmla="*/ 4 w 155"/>
                <a:gd name="T23" fmla="*/ 154 h 231"/>
                <a:gd name="T24" fmla="*/ 0 w 155"/>
                <a:gd name="T25" fmla="*/ 163 h 231"/>
                <a:gd name="T26" fmla="*/ 3 w 155"/>
                <a:gd name="T27" fmla="*/ 227 h 231"/>
                <a:gd name="T28" fmla="*/ 8 w 155"/>
                <a:gd name="T29" fmla="*/ 230 h 231"/>
                <a:gd name="T30" fmla="*/ 19 w 155"/>
                <a:gd name="T31" fmla="*/ 216 h 231"/>
                <a:gd name="T32" fmla="*/ 28 w 155"/>
                <a:gd name="T33" fmla="*/ 201 h 231"/>
                <a:gd name="T34" fmla="*/ 45 w 155"/>
                <a:gd name="T35" fmla="*/ 189 h 231"/>
                <a:gd name="T36" fmla="*/ 72 w 155"/>
                <a:gd name="T37" fmla="*/ 165 h 231"/>
                <a:gd name="T38" fmla="*/ 98 w 155"/>
                <a:gd name="T39" fmla="*/ 138 h 231"/>
                <a:gd name="T40" fmla="*/ 114 w 155"/>
                <a:gd name="T41" fmla="*/ 115 h 231"/>
                <a:gd name="T42" fmla="*/ 120 w 155"/>
                <a:gd name="T43" fmla="*/ 87 h 231"/>
                <a:gd name="T44" fmla="*/ 129 w 155"/>
                <a:gd name="T45" fmla="*/ 67 h 231"/>
                <a:gd name="T46" fmla="*/ 141 w 155"/>
                <a:gd name="T47" fmla="*/ 51 h 231"/>
                <a:gd name="T48" fmla="*/ 146 w 155"/>
                <a:gd name="T49" fmla="*/ 33 h 231"/>
                <a:gd name="T50" fmla="*/ 154 w 155"/>
                <a:gd name="T51" fmla="*/ 25 h 231"/>
                <a:gd name="T52" fmla="*/ 146 w 155"/>
                <a:gd name="T53" fmla="*/ 15 h 231"/>
                <a:gd name="T54" fmla="*/ 134 w 155"/>
                <a:gd name="T55" fmla="*/ 0 h 231"/>
                <a:gd name="T56" fmla="*/ 118 w 155"/>
                <a:gd name="T57" fmla="*/ 14 h 231"/>
                <a:gd name="T58" fmla="*/ 103 w 155"/>
                <a:gd name="T59" fmla="*/ 17 h 231"/>
                <a:gd name="T60" fmla="*/ 93 w 155"/>
                <a:gd name="T61" fmla="*/ 22 h 231"/>
                <a:gd name="T62" fmla="*/ 84 w 155"/>
                <a:gd name="T63" fmla="*/ 29 h 231"/>
                <a:gd name="T64" fmla="*/ 54 w 155"/>
                <a:gd name="T65" fmla="*/ 26 h 231"/>
                <a:gd name="T66" fmla="*/ 37 w 155"/>
                <a:gd name="T67" fmla="*/ 20 h 231"/>
                <a:gd name="T68" fmla="*/ 23 w 155"/>
                <a:gd name="T69" fmla="*/ 33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231">
                  <a:moveTo>
                    <a:pt x="23" y="33"/>
                  </a:moveTo>
                  <a:lnTo>
                    <a:pt x="34" y="43"/>
                  </a:lnTo>
                  <a:lnTo>
                    <a:pt x="58" y="67"/>
                  </a:lnTo>
                  <a:lnTo>
                    <a:pt x="75" y="66"/>
                  </a:lnTo>
                  <a:lnTo>
                    <a:pt x="89" y="80"/>
                  </a:lnTo>
                  <a:lnTo>
                    <a:pt x="74" y="92"/>
                  </a:lnTo>
                  <a:lnTo>
                    <a:pt x="71" y="112"/>
                  </a:lnTo>
                  <a:lnTo>
                    <a:pt x="57" y="127"/>
                  </a:lnTo>
                  <a:lnTo>
                    <a:pt x="37" y="132"/>
                  </a:lnTo>
                  <a:lnTo>
                    <a:pt x="23" y="132"/>
                  </a:lnTo>
                  <a:lnTo>
                    <a:pt x="12" y="147"/>
                  </a:lnTo>
                  <a:lnTo>
                    <a:pt x="4" y="154"/>
                  </a:lnTo>
                  <a:lnTo>
                    <a:pt x="0" y="163"/>
                  </a:lnTo>
                  <a:lnTo>
                    <a:pt x="3" y="227"/>
                  </a:lnTo>
                  <a:lnTo>
                    <a:pt x="8" y="230"/>
                  </a:lnTo>
                  <a:lnTo>
                    <a:pt x="19" y="216"/>
                  </a:lnTo>
                  <a:lnTo>
                    <a:pt x="28" y="201"/>
                  </a:lnTo>
                  <a:lnTo>
                    <a:pt x="45" y="189"/>
                  </a:lnTo>
                  <a:lnTo>
                    <a:pt x="72" y="165"/>
                  </a:lnTo>
                  <a:lnTo>
                    <a:pt x="98" y="138"/>
                  </a:lnTo>
                  <a:lnTo>
                    <a:pt x="114" y="115"/>
                  </a:lnTo>
                  <a:lnTo>
                    <a:pt x="120" y="87"/>
                  </a:lnTo>
                  <a:lnTo>
                    <a:pt x="129" y="67"/>
                  </a:lnTo>
                  <a:lnTo>
                    <a:pt x="141" y="51"/>
                  </a:lnTo>
                  <a:lnTo>
                    <a:pt x="146" y="33"/>
                  </a:lnTo>
                  <a:lnTo>
                    <a:pt x="154" y="25"/>
                  </a:lnTo>
                  <a:lnTo>
                    <a:pt x="146" y="15"/>
                  </a:lnTo>
                  <a:lnTo>
                    <a:pt x="134" y="0"/>
                  </a:lnTo>
                  <a:lnTo>
                    <a:pt x="118" y="14"/>
                  </a:lnTo>
                  <a:lnTo>
                    <a:pt x="103" y="17"/>
                  </a:lnTo>
                  <a:lnTo>
                    <a:pt x="93" y="22"/>
                  </a:lnTo>
                  <a:lnTo>
                    <a:pt x="84" y="29"/>
                  </a:lnTo>
                  <a:lnTo>
                    <a:pt x="54" y="26"/>
                  </a:lnTo>
                  <a:lnTo>
                    <a:pt x="37" y="20"/>
                  </a:lnTo>
                  <a:lnTo>
                    <a:pt x="23" y="3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1" name="Freeform 218">
              <a:extLst>
                <a:ext uri="{FF2B5EF4-FFF2-40B4-BE49-F238E27FC236}">
                  <a16:creationId xmlns:a16="http://schemas.microsoft.com/office/drawing/2014/main" xmlns="" id="{B6235765-897A-439E-93BE-712D5576B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8216" y="3332621"/>
              <a:ext cx="296018" cy="353187"/>
            </a:xfrm>
            <a:custGeom>
              <a:avLst/>
              <a:gdLst>
                <a:gd name="T0" fmla="*/ 28 w 221"/>
                <a:gd name="T1" fmla="*/ 2 h 264"/>
                <a:gd name="T2" fmla="*/ 40 w 221"/>
                <a:gd name="T3" fmla="*/ 8 h 264"/>
                <a:gd name="T4" fmla="*/ 48 w 221"/>
                <a:gd name="T5" fmla="*/ 9 h 264"/>
                <a:gd name="T6" fmla="*/ 81 w 221"/>
                <a:gd name="T7" fmla="*/ 15 h 264"/>
                <a:gd name="T8" fmla="*/ 85 w 221"/>
                <a:gd name="T9" fmla="*/ 27 h 264"/>
                <a:gd name="T10" fmla="*/ 108 w 221"/>
                <a:gd name="T11" fmla="*/ 31 h 264"/>
                <a:gd name="T12" fmla="*/ 109 w 221"/>
                <a:gd name="T13" fmla="*/ 38 h 264"/>
                <a:gd name="T14" fmla="*/ 129 w 221"/>
                <a:gd name="T15" fmla="*/ 42 h 264"/>
                <a:gd name="T16" fmla="*/ 142 w 221"/>
                <a:gd name="T17" fmla="*/ 48 h 264"/>
                <a:gd name="T18" fmla="*/ 146 w 221"/>
                <a:gd name="T19" fmla="*/ 41 h 264"/>
                <a:gd name="T20" fmla="*/ 146 w 221"/>
                <a:gd name="T21" fmla="*/ 20 h 264"/>
                <a:gd name="T22" fmla="*/ 152 w 221"/>
                <a:gd name="T23" fmla="*/ 14 h 264"/>
                <a:gd name="T24" fmla="*/ 158 w 221"/>
                <a:gd name="T25" fmla="*/ 5 h 264"/>
                <a:gd name="T26" fmla="*/ 164 w 221"/>
                <a:gd name="T27" fmla="*/ 0 h 264"/>
                <a:gd name="T28" fmla="*/ 179 w 221"/>
                <a:gd name="T29" fmla="*/ 1 h 264"/>
                <a:gd name="T30" fmla="*/ 187 w 221"/>
                <a:gd name="T31" fmla="*/ 9 h 264"/>
                <a:gd name="T32" fmla="*/ 195 w 221"/>
                <a:gd name="T33" fmla="*/ 16 h 264"/>
                <a:gd name="T34" fmla="*/ 208 w 221"/>
                <a:gd name="T35" fmla="*/ 16 h 264"/>
                <a:gd name="T36" fmla="*/ 220 w 221"/>
                <a:gd name="T37" fmla="*/ 20 h 264"/>
                <a:gd name="T38" fmla="*/ 219 w 221"/>
                <a:gd name="T39" fmla="*/ 34 h 264"/>
                <a:gd name="T40" fmla="*/ 219 w 221"/>
                <a:gd name="T41" fmla="*/ 210 h 264"/>
                <a:gd name="T42" fmla="*/ 218 w 221"/>
                <a:gd name="T43" fmla="*/ 234 h 264"/>
                <a:gd name="T44" fmla="*/ 208 w 221"/>
                <a:gd name="T45" fmla="*/ 237 h 264"/>
                <a:gd name="T46" fmla="*/ 211 w 221"/>
                <a:gd name="T47" fmla="*/ 263 h 264"/>
                <a:gd name="T48" fmla="*/ 201 w 221"/>
                <a:gd name="T49" fmla="*/ 261 h 264"/>
                <a:gd name="T50" fmla="*/ 177 w 221"/>
                <a:gd name="T51" fmla="*/ 243 h 264"/>
                <a:gd name="T52" fmla="*/ 168 w 221"/>
                <a:gd name="T53" fmla="*/ 238 h 264"/>
                <a:gd name="T54" fmla="*/ 146 w 221"/>
                <a:gd name="T55" fmla="*/ 227 h 264"/>
                <a:gd name="T56" fmla="*/ 138 w 221"/>
                <a:gd name="T57" fmla="*/ 214 h 264"/>
                <a:gd name="T58" fmla="*/ 113 w 221"/>
                <a:gd name="T59" fmla="*/ 210 h 264"/>
                <a:gd name="T60" fmla="*/ 108 w 221"/>
                <a:gd name="T61" fmla="*/ 198 h 264"/>
                <a:gd name="T62" fmla="*/ 95 w 221"/>
                <a:gd name="T63" fmla="*/ 193 h 264"/>
                <a:gd name="T64" fmla="*/ 95 w 221"/>
                <a:gd name="T65" fmla="*/ 187 h 264"/>
                <a:gd name="T66" fmla="*/ 80 w 221"/>
                <a:gd name="T67" fmla="*/ 186 h 264"/>
                <a:gd name="T68" fmla="*/ 72 w 221"/>
                <a:gd name="T69" fmla="*/ 182 h 264"/>
                <a:gd name="T70" fmla="*/ 54 w 221"/>
                <a:gd name="T71" fmla="*/ 181 h 264"/>
                <a:gd name="T72" fmla="*/ 52 w 221"/>
                <a:gd name="T73" fmla="*/ 173 h 264"/>
                <a:gd name="T74" fmla="*/ 34 w 221"/>
                <a:gd name="T75" fmla="*/ 173 h 264"/>
                <a:gd name="T76" fmla="*/ 32 w 221"/>
                <a:gd name="T77" fmla="*/ 159 h 264"/>
                <a:gd name="T78" fmla="*/ 9 w 221"/>
                <a:gd name="T79" fmla="*/ 155 h 264"/>
                <a:gd name="T80" fmla="*/ 2 w 221"/>
                <a:gd name="T81" fmla="*/ 148 h 264"/>
                <a:gd name="T82" fmla="*/ 0 w 221"/>
                <a:gd name="T83" fmla="*/ 130 h 264"/>
                <a:gd name="T84" fmla="*/ 3 w 221"/>
                <a:gd name="T85" fmla="*/ 33 h 264"/>
                <a:gd name="T86" fmla="*/ 18 w 221"/>
                <a:gd name="T87" fmla="*/ 26 h 264"/>
                <a:gd name="T88" fmla="*/ 25 w 221"/>
                <a:gd name="T89" fmla="*/ 24 h 264"/>
                <a:gd name="T90" fmla="*/ 28 w 221"/>
                <a:gd name="T91" fmla="*/ 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1" h="264">
                  <a:moveTo>
                    <a:pt x="28" y="2"/>
                  </a:moveTo>
                  <a:lnTo>
                    <a:pt x="40" y="8"/>
                  </a:lnTo>
                  <a:lnTo>
                    <a:pt x="48" y="9"/>
                  </a:lnTo>
                  <a:lnTo>
                    <a:pt x="81" y="15"/>
                  </a:lnTo>
                  <a:lnTo>
                    <a:pt x="85" y="27"/>
                  </a:lnTo>
                  <a:lnTo>
                    <a:pt x="108" y="31"/>
                  </a:lnTo>
                  <a:lnTo>
                    <a:pt x="109" y="38"/>
                  </a:lnTo>
                  <a:lnTo>
                    <a:pt x="129" y="42"/>
                  </a:lnTo>
                  <a:lnTo>
                    <a:pt x="142" y="48"/>
                  </a:lnTo>
                  <a:lnTo>
                    <a:pt x="146" y="41"/>
                  </a:lnTo>
                  <a:lnTo>
                    <a:pt x="146" y="20"/>
                  </a:lnTo>
                  <a:lnTo>
                    <a:pt x="152" y="14"/>
                  </a:lnTo>
                  <a:lnTo>
                    <a:pt x="158" y="5"/>
                  </a:lnTo>
                  <a:lnTo>
                    <a:pt x="164" y="0"/>
                  </a:lnTo>
                  <a:lnTo>
                    <a:pt x="179" y="1"/>
                  </a:lnTo>
                  <a:lnTo>
                    <a:pt x="187" y="9"/>
                  </a:lnTo>
                  <a:lnTo>
                    <a:pt x="195" y="16"/>
                  </a:lnTo>
                  <a:lnTo>
                    <a:pt x="208" y="16"/>
                  </a:lnTo>
                  <a:lnTo>
                    <a:pt x="220" y="20"/>
                  </a:lnTo>
                  <a:lnTo>
                    <a:pt x="219" y="34"/>
                  </a:lnTo>
                  <a:lnTo>
                    <a:pt x="219" y="210"/>
                  </a:lnTo>
                  <a:lnTo>
                    <a:pt x="218" y="234"/>
                  </a:lnTo>
                  <a:lnTo>
                    <a:pt x="208" y="237"/>
                  </a:lnTo>
                  <a:lnTo>
                    <a:pt x="211" y="263"/>
                  </a:lnTo>
                  <a:lnTo>
                    <a:pt x="201" y="261"/>
                  </a:lnTo>
                  <a:lnTo>
                    <a:pt x="177" y="243"/>
                  </a:lnTo>
                  <a:lnTo>
                    <a:pt x="168" y="238"/>
                  </a:lnTo>
                  <a:lnTo>
                    <a:pt x="146" y="227"/>
                  </a:lnTo>
                  <a:lnTo>
                    <a:pt x="138" y="214"/>
                  </a:lnTo>
                  <a:lnTo>
                    <a:pt x="113" y="210"/>
                  </a:lnTo>
                  <a:lnTo>
                    <a:pt x="108" y="198"/>
                  </a:lnTo>
                  <a:lnTo>
                    <a:pt x="95" y="193"/>
                  </a:lnTo>
                  <a:lnTo>
                    <a:pt x="95" y="187"/>
                  </a:lnTo>
                  <a:lnTo>
                    <a:pt x="80" y="186"/>
                  </a:lnTo>
                  <a:lnTo>
                    <a:pt x="72" y="182"/>
                  </a:lnTo>
                  <a:lnTo>
                    <a:pt x="54" y="181"/>
                  </a:lnTo>
                  <a:lnTo>
                    <a:pt x="52" y="173"/>
                  </a:lnTo>
                  <a:lnTo>
                    <a:pt x="34" y="173"/>
                  </a:lnTo>
                  <a:lnTo>
                    <a:pt x="32" y="159"/>
                  </a:lnTo>
                  <a:lnTo>
                    <a:pt x="9" y="155"/>
                  </a:lnTo>
                  <a:lnTo>
                    <a:pt x="2" y="148"/>
                  </a:lnTo>
                  <a:lnTo>
                    <a:pt x="0" y="130"/>
                  </a:lnTo>
                  <a:lnTo>
                    <a:pt x="3" y="33"/>
                  </a:lnTo>
                  <a:lnTo>
                    <a:pt x="18" y="26"/>
                  </a:lnTo>
                  <a:lnTo>
                    <a:pt x="25" y="24"/>
                  </a:lnTo>
                  <a:lnTo>
                    <a:pt x="28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2" name="Freeform 219">
              <a:extLst>
                <a:ext uri="{FF2B5EF4-FFF2-40B4-BE49-F238E27FC236}">
                  <a16:creationId xmlns:a16="http://schemas.microsoft.com/office/drawing/2014/main" xmlns="" id="{10E1FE90-B1E7-4B69-B950-958906C99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415" y="3577592"/>
              <a:ext cx="293640" cy="428106"/>
            </a:xfrm>
            <a:custGeom>
              <a:avLst/>
              <a:gdLst>
                <a:gd name="T0" fmla="*/ 34 w 220"/>
                <a:gd name="T1" fmla="*/ 121 h 320"/>
                <a:gd name="T2" fmla="*/ 16 w 220"/>
                <a:gd name="T3" fmla="*/ 141 h 320"/>
                <a:gd name="T4" fmla="*/ 2 w 220"/>
                <a:gd name="T5" fmla="*/ 156 h 320"/>
                <a:gd name="T6" fmla="*/ 11 w 220"/>
                <a:gd name="T7" fmla="*/ 170 h 320"/>
                <a:gd name="T8" fmla="*/ 20 w 220"/>
                <a:gd name="T9" fmla="*/ 184 h 320"/>
                <a:gd name="T10" fmla="*/ 18 w 220"/>
                <a:gd name="T11" fmla="*/ 196 h 320"/>
                <a:gd name="T12" fmla="*/ 31 w 220"/>
                <a:gd name="T13" fmla="*/ 221 h 320"/>
                <a:gd name="T14" fmla="*/ 36 w 220"/>
                <a:gd name="T15" fmla="*/ 237 h 320"/>
                <a:gd name="T16" fmla="*/ 48 w 220"/>
                <a:gd name="T17" fmla="*/ 243 h 320"/>
                <a:gd name="T18" fmla="*/ 64 w 220"/>
                <a:gd name="T19" fmla="*/ 260 h 320"/>
                <a:gd name="T20" fmla="*/ 74 w 220"/>
                <a:gd name="T21" fmla="*/ 278 h 320"/>
                <a:gd name="T22" fmla="*/ 81 w 220"/>
                <a:gd name="T23" fmla="*/ 289 h 320"/>
                <a:gd name="T24" fmla="*/ 85 w 220"/>
                <a:gd name="T25" fmla="*/ 304 h 320"/>
                <a:gd name="T26" fmla="*/ 123 w 220"/>
                <a:gd name="T27" fmla="*/ 314 h 320"/>
                <a:gd name="T28" fmla="*/ 133 w 220"/>
                <a:gd name="T29" fmla="*/ 318 h 320"/>
                <a:gd name="T30" fmla="*/ 162 w 220"/>
                <a:gd name="T31" fmla="*/ 319 h 320"/>
                <a:gd name="T32" fmla="*/ 199 w 220"/>
                <a:gd name="T33" fmla="*/ 299 h 320"/>
                <a:gd name="T34" fmla="*/ 192 w 220"/>
                <a:gd name="T35" fmla="*/ 278 h 320"/>
                <a:gd name="T36" fmla="*/ 180 w 220"/>
                <a:gd name="T37" fmla="*/ 270 h 320"/>
                <a:gd name="T38" fmla="*/ 172 w 220"/>
                <a:gd name="T39" fmla="*/ 256 h 320"/>
                <a:gd name="T40" fmla="*/ 179 w 220"/>
                <a:gd name="T41" fmla="*/ 241 h 320"/>
                <a:gd name="T42" fmla="*/ 194 w 220"/>
                <a:gd name="T43" fmla="*/ 208 h 320"/>
                <a:gd name="T44" fmla="*/ 216 w 220"/>
                <a:gd name="T45" fmla="*/ 171 h 320"/>
                <a:gd name="T46" fmla="*/ 203 w 220"/>
                <a:gd name="T47" fmla="*/ 129 h 320"/>
                <a:gd name="T48" fmla="*/ 216 w 220"/>
                <a:gd name="T49" fmla="*/ 119 h 320"/>
                <a:gd name="T50" fmla="*/ 210 w 220"/>
                <a:gd name="T51" fmla="*/ 92 h 320"/>
                <a:gd name="T52" fmla="*/ 219 w 220"/>
                <a:gd name="T53" fmla="*/ 47 h 320"/>
                <a:gd name="T54" fmla="*/ 210 w 220"/>
                <a:gd name="T55" fmla="*/ 14 h 320"/>
                <a:gd name="T56" fmla="*/ 167 w 220"/>
                <a:gd name="T57" fmla="*/ 20 h 320"/>
                <a:gd name="T58" fmla="*/ 64 w 220"/>
                <a:gd name="T59" fmla="*/ 13 h 320"/>
                <a:gd name="T60" fmla="*/ 44 w 220"/>
                <a:gd name="T61" fmla="*/ 25 h 320"/>
                <a:gd name="T62" fmla="*/ 33 w 220"/>
                <a:gd name="T63" fmla="*/ 5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0" h="320">
                  <a:moveTo>
                    <a:pt x="36" y="79"/>
                  </a:moveTo>
                  <a:lnTo>
                    <a:pt x="34" y="121"/>
                  </a:lnTo>
                  <a:lnTo>
                    <a:pt x="25" y="125"/>
                  </a:lnTo>
                  <a:lnTo>
                    <a:pt x="16" y="141"/>
                  </a:lnTo>
                  <a:lnTo>
                    <a:pt x="13" y="155"/>
                  </a:lnTo>
                  <a:lnTo>
                    <a:pt x="2" y="156"/>
                  </a:lnTo>
                  <a:lnTo>
                    <a:pt x="0" y="165"/>
                  </a:lnTo>
                  <a:lnTo>
                    <a:pt x="11" y="170"/>
                  </a:lnTo>
                  <a:lnTo>
                    <a:pt x="14" y="182"/>
                  </a:lnTo>
                  <a:lnTo>
                    <a:pt x="20" y="184"/>
                  </a:lnTo>
                  <a:lnTo>
                    <a:pt x="20" y="191"/>
                  </a:lnTo>
                  <a:lnTo>
                    <a:pt x="18" y="196"/>
                  </a:lnTo>
                  <a:lnTo>
                    <a:pt x="25" y="207"/>
                  </a:lnTo>
                  <a:lnTo>
                    <a:pt x="31" y="221"/>
                  </a:lnTo>
                  <a:lnTo>
                    <a:pt x="30" y="234"/>
                  </a:lnTo>
                  <a:lnTo>
                    <a:pt x="36" y="237"/>
                  </a:lnTo>
                  <a:lnTo>
                    <a:pt x="37" y="245"/>
                  </a:lnTo>
                  <a:lnTo>
                    <a:pt x="48" y="243"/>
                  </a:lnTo>
                  <a:lnTo>
                    <a:pt x="52" y="256"/>
                  </a:lnTo>
                  <a:lnTo>
                    <a:pt x="64" y="260"/>
                  </a:lnTo>
                  <a:lnTo>
                    <a:pt x="67" y="276"/>
                  </a:lnTo>
                  <a:lnTo>
                    <a:pt x="74" y="278"/>
                  </a:lnTo>
                  <a:lnTo>
                    <a:pt x="79" y="284"/>
                  </a:lnTo>
                  <a:lnTo>
                    <a:pt x="81" y="289"/>
                  </a:lnTo>
                  <a:lnTo>
                    <a:pt x="79" y="296"/>
                  </a:lnTo>
                  <a:lnTo>
                    <a:pt x="85" y="304"/>
                  </a:lnTo>
                  <a:lnTo>
                    <a:pt x="118" y="306"/>
                  </a:lnTo>
                  <a:lnTo>
                    <a:pt x="123" y="314"/>
                  </a:lnTo>
                  <a:lnTo>
                    <a:pt x="133" y="316"/>
                  </a:lnTo>
                  <a:lnTo>
                    <a:pt x="133" y="318"/>
                  </a:lnTo>
                  <a:lnTo>
                    <a:pt x="148" y="318"/>
                  </a:lnTo>
                  <a:lnTo>
                    <a:pt x="162" y="319"/>
                  </a:lnTo>
                  <a:lnTo>
                    <a:pt x="178" y="314"/>
                  </a:lnTo>
                  <a:lnTo>
                    <a:pt x="199" y="299"/>
                  </a:lnTo>
                  <a:lnTo>
                    <a:pt x="199" y="290"/>
                  </a:lnTo>
                  <a:lnTo>
                    <a:pt x="192" y="278"/>
                  </a:lnTo>
                  <a:lnTo>
                    <a:pt x="188" y="275"/>
                  </a:lnTo>
                  <a:lnTo>
                    <a:pt x="180" y="270"/>
                  </a:lnTo>
                  <a:lnTo>
                    <a:pt x="180" y="258"/>
                  </a:lnTo>
                  <a:lnTo>
                    <a:pt x="172" y="256"/>
                  </a:lnTo>
                  <a:lnTo>
                    <a:pt x="164" y="242"/>
                  </a:lnTo>
                  <a:lnTo>
                    <a:pt x="179" y="241"/>
                  </a:lnTo>
                  <a:lnTo>
                    <a:pt x="183" y="209"/>
                  </a:lnTo>
                  <a:lnTo>
                    <a:pt x="194" y="208"/>
                  </a:lnTo>
                  <a:lnTo>
                    <a:pt x="197" y="175"/>
                  </a:lnTo>
                  <a:lnTo>
                    <a:pt x="216" y="171"/>
                  </a:lnTo>
                  <a:lnTo>
                    <a:pt x="213" y="132"/>
                  </a:lnTo>
                  <a:lnTo>
                    <a:pt x="203" y="129"/>
                  </a:lnTo>
                  <a:lnTo>
                    <a:pt x="204" y="118"/>
                  </a:lnTo>
                  <a:lnTo>
                    <a:pt x="216" y="119"/>
                  </a:lnTo>
                  <a:lnTo>
                    <a:pt x="216" y="107"/>
                  </a:lnTo>
                  <a:lnTo>
                    <a:pt x="210" y="92"/>
                  </a:lnTo>
                  <a:lnTo>
                    <a:pt x="209" y="74"/>
                  </a:lnTo>
                  <a:lnTo>
                    <a:pt x="219" y="47"/>
                  </a:lnTo>
                  <a:lnTo>
                    <a:pt x="217" y="33"/>
                  </a:lnTo>
                  <a:lnTo>
                    <a:pt x="210" y="14"/>
                  </a:lnTo>
                  <a:lnTo>
                    <a:pt x="191" y="0"/>
                  </a:lnTo>
                  <a:lnTo>
                    <a:pt x="167" y="20"/>
                  </a:lnTo>
                  <a:lnTo>
                    <a:pt x="158" y="13"/>
                  </a:lnTo>
                  <a:lnTo>
                    <a:pt x="64" y="13"/>
                  </a:lnTo>
                  <a:lnTo>
                    <a:pt x="53" y="20"/>
                  </a:lnTo>
                  <a:lnTo>
                    <a:pt x="44" y="25"/>
                  </a:lnTo>
                  <a:lnTo>
                    <a:pt x="43" y="50"/>
                  </a:lnTo>
                  <a:lnTo>
                    <a:pt x="33" y="53"/>
                  </a:lnTo>
                  <a:lnTo>
                    <a:pt x="36" y="7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" name="Freeform 223">
              <a:extLst>
                <a:ext uri="{FF2B5EF4-FFF2-40B4-BE49-F238E27FC236}">
                  <a16:creationId xmlns:a16="http://schemas.microsoft.com/office/drawing/2014/main" xmlns="" id="{7C0890AD-A2E1-40C6-AF57-3687DCEBD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5834" y="3858239"/>
              <a:ext cx="126016" cy="123675"/>
            </a:xfrm>
            <a:custGeom>
              <a:avLst/>
              <a:gdLst>
                <a:gd name="T0" fmla="*/ 32 w 94"/>
                <a:gd name="T1" fmla="*/ 92 h 93"/>
                <a:gd name="T2" fmla="*/ 15 w 94"/>
                <a:gd name="T3" fmla="*/ 86 h 93"/>
                <a:gd name="T4" fmla="*/ 14 w 94"/>
                <a:gd name="T5" fmla="*/ 69 h 93"/>
                <a:gd name="T6" fmla="*/ 4 w 94"/>
                <a:gd name="T7" fmla="*/ 68 h 93"/>
                <a:gd name="T8" fmla="*/ 0 w 94"/>
                <a:gd name="T9" fmla="*/ 53 h 93"/>
                <a:gd name="T10" fmla="*/ 4 w 94"/>
                <a:gd name="T11" fmla="*/ 35 h 93"/>
                <a:gd name="T12" fmla="*/ 20 w 94"/>
                <a:gd name="T13" fmla="*/ 24 h 93"/>
                <a:gd name="T14" fmla="*/ 10 w 94"/>
                <a:gd name="T15" fmla="*/ 15 h 93"/>
                <a:gd name="T16" fmla="*/ 15 w 94"/>
                <a:gd name="T17" fmla="*/ 3 h 93"/>
                <a:gd name="T18" fmla="*/ 28 w 94"/>
                <a:gd name="T19" fmla="*/ 3 h 93"/>
                <a:gd name="T20" fmla="*/ 46 w 94"/>
                <a:gd name="T21" fmla="*/ 0 h 93"/>
                <a:gd name="T22" fmla="*/ 54 w 94"/>
                <a:gd name="T23" fmla="*/ 6 h 93"/>
                <a:gd name="T24" fmla="*/ 83 w 94"/>
                <a:gd name="T25" fmla="*/ 8 h 93"/>
                <a:gd name="T26" fmla="*/ 84 w 94"/>
                <a:gd name="T27" fmla="*/ 21 h 93"/>
                <a:gd name="T28" fmla="*/ 93 w 94"/>
                <a:gd name="T29" fmla="*/ 26 h 93"/>
                <a:gd name="T30" fmla="*/ 91 w 94"/>
                <a:gd name="T31" fmla="*/ 37 h 93"/>
                <a:gd name="T32" fmla="*/ 84 w 94"/>
                <a:gd name="T33" fmla="*/ 39 h 93"/>
                <a:gd name="T34" fmla="*/ 81 w 94"/>
                <a:gd name="T35" fmla="*/ 61 h 93"/>
                <a:gd name="T36" fmla="*/ 84 w 94"/>
                <a:gd name="T37" fmla="*/ 84 h 93"/>
                <a:gd name="T38" fmla="*/ 48 w 94"/>
                <a:gd name="T39" fmla="*/ 85 h 93"/>
                <a:gd name="T40" fmla="*/ 32 w 94"/>
                <a:gd name="T41" fmla="*/ 9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93">
                  <a:moveTo>
                    <a:pt x="32" y="92"/>
                  </a:moveTo>
                  <a:lnTo>
                    <a:pt x="15" y="86"/>
                  </a:lnTo>
                  <a:lnTo>
                    <a:pt x="14" y="69"/>
                  </a:lnTo>
                  <a:lnTo>
                    <a:pt x="4" y="68"/>
                  </a:lnTo>
                  <a:lnTo>
                    <a:pt x="0" y="53"/>
                  </a:lnTo>
                  <a:lnTo>
                    <a:pt x="4" y="35"/>
                  </a:lnTo>
                  <a:lnTo>
                    <a:pt x="20" y="24"/>
                  </a:lnTo>
                  <a:lnTo>
                    <a:pt x="10" y="15"/>
                  </a:lnTo>
                  <a:lnTo>
                    <a:pt x="15" y="3"/>
                  </a:lnTo>
                  <a:lnTo>
                    <a:pt x="28" y="3"/>
                  </a:lnTo>
                  <a:lnTo>
                    <a:pt x="46" y="0"/>
                  </a:lnTo>
                  <a:lnTo>
                    <a:pt x="54" y="6"/>
                  </a:lnTo>
                  <a:lnTo>
                    <a:pt x="83" y="8"/>
                  </a:lnTo>
                  <a:lnTo>
                    <a:pt x="84" y="21"/>
                  </a:lnTo>
                  <a:lnTo>
                    <a:pt x="93" y="26"/>
                  </a:lnTo>
                  <a:lnTo>
                    <a:pt x="91" y="37"/>
                  </a:lnTo>
                  <a:lnTo>
                    <a:pt x="84" y="39"/>
                  </a:lnTo>
                  <a:lnTo>
                    <a:pt x="81" y="61"/>
                  </a:lnTo>
                  <a:lnTo>
                    <a:pt x="84" y="84"/>
                  </a:lnTo>
                  <a:lnTo>
                    <a:pt x="48" y="85"/>
                  </a:lnTo>
                  <a:lnTo>
                    <a:pt x="32" y="9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4" name="Freeform 224">
              <a:extLst>
                <a:ext uri="{FF2B5EF4-FFF2-40B4-BE49-F238E27FC236}">
                  <a16:creationId xmlns:a16="http://schemas.microsoft.com/office/drawing/2014/main" xmlns="" id="{61F96FF4-06AA-4C2F-87BD-F40CF56F3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4808" y="2847434"/>
              <a:ext cx="564693" cy="281836"/>
            </a:xfrm>
            <a:custGeom>
              <a:avLst/>
              <a:gdLst>
                <a:gd name="T0" fmla="*/ 0 w 424"/>
                <a:gd name="T1" fmla="*/ 80 h 212"/>
                <a:gd name="T2" fmla="*/ 8 w 424"/>
                <a:gd name="T3" fmla="*/ 73 h 212"/>
                <a:gd name="T4" fmla="*/ 27 w 424"/>
                <a:gd name="T5" fmla="*/ 68 h 212"/>
                <a:gd name="T6" fmla="*/ 70 w 424"/>
                <a:gd name="T7" fmla="*/ 64 h 212"/>
                <a:gd name="T8" fmla="*/ 75 w 424"/>
                <a:gd name="T9" fmla="*/ 70 h 212"/>
                <a:gd name="T10" fmla="*/ 90 w 424"/>
                <a:gd name="T11" fmla="*/ 73 h 212"/>
                <a:gd name="T12" fmla="*/ 96 w 424"/>
                <a:gd name="T13" fmla="*/ 79 h 212"/>
                <a:gd name="T14" fmla="*/ 125 w 424"/>
                <a:gd name="T15" fmla="*/ 76 h 212"/>
                <a:gd name="T16" fmla="*/ 118 w 424"/>
                <a:gd name="T17" fmla="*/ 59 h 212"/>
                <a:gd name="T18" fmla="*/ 114 w 424"/>
                <a:gd name="T19" fmla="*/ 51 h 212"/>
                <a:gd name="T20" fmla="*/ 125 w 424"/>
                <a:gd name="T21" fmla="*/ 51 h 212"/>
                <a:gd name="T22" fmla="*/ 125 w 424"/>
                <a:gd name="T23" fmla="*/ 26 h 212"/>
                <a:gd name="T24" fmla="*/ 125 w 424"/>
                <a:gd name="T25" fmla="*/ 0 h 212"/>
                <a:gd name="T26" fmla="*/ 152 w 424"/>
                <a:gd name="T27" fmla="*/ 11 h 212"/>
                <a:gd name="T28" fmla="*/ 170 w 424"/>
                <a:gd name="T29" fmla="*/ 11 h 212"/>
                <a:gd name="T30" fmla="*/ 182 w 424"/>
                <a:gd name="T31" fmla="*/ 24 h 212"/>
                <a:gd name="T32" fmla="*/ 188 w 424"/>
                <a:gd name="T33" fmla="*/ 37 h 212"/>
                <a:gd name="T34" fmla="*/ 209 w 424"/>
                <a:gd name="T35" fmla="*/ 37 h 212"/>
                <a:gd name="T36" fmla="*/ 241 w 424"/>
                <a:gd name="T37" fmla="*/ 39 h 212"/>
                <a:gd name="T38" fmla="*/ 259 w 424"/>
                <a:gd name="T39" fmla="*/ 49 h 212"/>
                <a:gd name="T40" fmla="*/ 272 w 424"/>
                <a:gd name="T41" fmla="*/ 52 h 212"/>
                <a:gd name="T42" fmla="*/ 276 w 424"/>
                <a:gd name="T43" fmla="*/ 64 h 212"/>
                <a:gd name="T44" fmla="*/ 313 w 424"/>
                <a:gd name="T45" fmla="*/ 58 h 212"/>
                <a:gd name="T46" fmla="*/ 320 w 424"/>
                <a:gd name="T47" fmla="*/ 49 h 212"/>
                <a:gd name="T48" fmla="*/ 332 w 424"/>
                <a:gd name="T49" fmla="*/ 57 h 212"/>
                <a:gd name="T50" fmla="*/ 349 w 424"/>
                <a:gd name="T51" fmla="*/ 41 h 212"/>
                <a:gd name="T52" fmla="*/ 364 w 424"/>
                <a:gd name="T53" fmla="*/ 41 h 212"/>
                <a:gd name="T54" fmla="*/ 376 w 424"/>
                <a:gd name="T55" fmla="*/ 47 h 212"/>
                <a:gd name="T56" fmla="*/ 372 w 424"/>
                <a:gd name="T57" fmla="*/ 59 h 212"/>
                <a:gd name="T58" fmla="*/ 374 w 424"/>
                <a:gd name="T59" fmla="*/ 91 h 212"/>
                <a:gd name="T60" fmla="*/ 377 w 424"/>
                <a:gd name="T61" fmla="*/ 97 h 212"/>
                <a:gd name="T62" fmla="*/ 389 w 424"/>
                <a:gd name="T63" fmla="*/ 94 h 212"/>
                <a:gd name="T64" fmla="*/ 412 w 424"/>
                <a:gd name="T65" fmla="*/ 91 h 212"/>
                <a:gd name="T66" fmla="*/ 423 w 424"/>
                <a:gd name="T67" fmla="*/ 106 h 212"/>
                <a:gd name="T68" fmla="*/ 398 w 424"/>
                <a:gd name="T69" fmla="*/ 117 h 212"/>
                <a:gd name="T70" fmla="*/ 377 w 424"/>
                <a:gd name="T71" fmla="*/ 130 h 212"/>
                <a:gd name="T72" fmla="*/ 365 w 424"/>
                <a:gd name="T73" fmla="*/ 139 h 212"/>
                <a:gd name="T74" fmla="*/ 351 w 424"/>
                <a:gd name="T75" fmla="*/ 154 h 212"/>
                <a:gd name="T76" fmla="*/ 331 w 424"/>
                <a:gd name="T77" fmla="*/ 147 h 212"/>
                <a:gd name="T78" fmla="*/ 332 w 424"/>
                <a:gd name="T79" fmla="*/ 164 h 212"/>
                <a:gd name="T80" fmla="*/ 330 w 424"/>
                <a:gd name="T81" fmla="*/ 181 h 212"/>
                <a:gd name="T82" fmla="*/ 307 w 424"/>
                <a:gd name="T83" fmla="*/ 199 h 212"/>
                <a:gd name="T84" fmla="*/ 279 w 424"/>
                <a:gd name="T85" fmla="*/ 196 h 212"/>
                <a:gd name="T86" fmla="*/ 267 w 424"/>
                <a:gd name="T87" fmla="*/ 204 h 212"/>
                <a:gd name="T88" fmla="*/ 246 w 424"/>
                <a:gd name="T89" fmla="*/ 211 h 212"/>
                <a:gd name="T90" fmla="*/ 225 w 424"/>
                <a:gd name="T91" fmla="*/ 199 h 212"/>
                <a:gd name="T92" fmla="*/ 207 w 424"/>
                <a:gd name="T93" fmla="*/ 194 h 212"/>
                <a:gd name="T94" fmla="*/ 127 w 424"/>
                <a:gd name="T95" fmla="*/ 188 h 212"/>
                <a:gd name="T96" fmla="*/ 117 w 424"/>
                <a:gd name="T97" fmla="*/ 179 h 212"/>
                <a:gd name="T98" fmla="*/ 107 w 424"/>
                <a:gd name="T99" fmla="*/ 160 h 212"/>
                <a:gd name="T100" fmla="*/ 91 w 424"/>
                <a:gd name="T101" fmla="*/ 152 h 212"/>
                <a:gd name="T102" fmla="*/ 76 w 424"/>
                <a:gd name="T103" fmla="*/ 149 h 212"/>
                <a:gd name="T104" fmla="*/ 43 w 424"/>
                <a:gd name="T105" fmla="*/ 143 h 212"/>
                <a:gd name="T106" fmla="*/ 33 w 424"/>
                <a:gd name="T107" fmla="*/ 118 h 212"/>
                <a:gd name="T108" fmla="*/ 29 w 424"/>
                <a:gd name="T109" fmla="*/ 102 h 212"/>
                <a:gd name="T110" fmla="*/ 8 w 424"/>
                <a:gd name="T111" fmla="*/ 91 h 212"/>
                <a:gd name="T112" fmla="*/ 0 w 424"/>
                <a:gd name="T113" fmla="*/ 8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4" h="212">
                  <a:moveTo>
                    <a:pt x="0" y="80"/>
                  </a:moveTo>
                  <a:lnTo>
                    <a:pt x="8" y="73"/>
                  </a:lnTo>
                  <a:lnTo>
                    <a:pt x="27" y="68"/>
                  </a:lnTo>
                  <a:lnTo>
                    <a:pt x="70" y="64"/>
                  </a:lnTo>
                  <a:lnTo>
                    <a:pt x="75" y="70"/>
                  </a:lnTo>
                  <a:lnTo>
                    <a:pt x="90" y="73"/>
                  </a:lnTo>
                  <a:lnTo>
                    <a:pt x="96" y="79"/>
                  </a:lnTo>
                  <a:lnTo>
                    <a:pt x="125" y="76"/>
                  </a:lnTo>
                  <a:lnTo>
                    <a:pt x="118" y="59"/>
                  </a:lnTo>
                  <a:lnTo>
                    <a:pt x="114" y="51"/>
                  </a:lnTo>
                  <a:lnTo>
                    <a:pt x="125" y="51"/>
                  </a:lnTo>
                  <a:lnTo>
                    <a:pt x="125" y="26"/>
                  </a:lnTo>
                  <a:lnTo>
                    <a:pt x="125" y="0"/>
                  </a:lnTo>
                  <a:lnTo>
                    <a:pt x="152" y="11"/>
                  </a:lnTo>
                  <a:lnTo>
                    <a:pt x="170" y="11"/>
                  </a:lnTo>
                  <a:lnTo>
                    <a:pt x="182" y="24"/>
                  </a:lnTo>
                  <a:lnTo>
                    <a:pt x="188" y="37"/>
                  </a:lnTo>
                  <a:lnTo>
                    <a:pt x="209" y="37"/>
                  </a:lnTo>
                  <a:lnTo>
                    <a:pt x="241" y="39"/>
                  </a:lnTo>
                  <a:lnTo>
                    <a:pt x="259" y="49"/>
                  </a:lnTo>
                  <a:lnTo>
                    <a:pt x="272" y="52"/>
                  </a:lnTo>
                  <a:lnTo>
                    <a:pt x="276" y="64"/>
                  </a:lnTo>
                  <a:lnTo>
                    <a:pt x="313" y="58"/>
                  </a:lnTo>
                  <a:lnTo>
                    <a:pt x="320" y="49"/>
                  </a:lnTo>
                  <a:lnTo>
                    <a:pt x="332" y="57"/>
                  </a:lnTo>
                  <a:lnTo>
                    <a:pt x="349" y="41"/>
                  </a:lnTo>
                  <a:lnTo>
                    <a:pt x="364" y="41"/>
                  </a:lnTo>
                  <a:lnTo>
                    <a:pt x="376" y="47"/>
                  </a:lnTo>
                  <a:lnTo>
                    <a:pt x="372" y="59"/>
                  </a:lnTo>
                  <a:lnTo>
                    <a:pt x="374" y="91"/>
                  </a:lnTo>
                  <a:lnTo>
                    <a:pt x="377" y="97"/>
                  </a:lnTo>
                  <a:lnTo>
                    <a:pt x="389" y="94"/>
                  </a:lnTo>
                  <a:lnTo>
                    <a:pt x="412" y="91"/>
                  </a:lnTo>
                  <a:lnTo>
                    <a:pt x="423" y="106"/>
                  </a:lnTo>
                  <a:lnTo>
                    <a:pt x="398" y="117"/>
                  </a:lnTo>
                  <a:lnTo>
                    <a:pt x="377" y="130"/>
                  </a:lnTo>
                  <a:lnTo>
                    <a:pt x="365" y="139"/>
                  </a:lnTo>
                  <a:lnTo>
                    <a:pt x="351" y="154"/>
                  </a:lnTo>
                  <a:lnTo>
                    <a:pt x="331" y="147"/>
                  </a:lnTo>
                  <a:lnTo>
                    <a:pt x="332" y="164"/>
                  </a:lnTo>
                  <a:lnTo>
                    <a:pt x="330" y="181"/>
                  </a:lnTo>
                  <a:lnTo>
                    <a:pt x="307" y="199"/>
                  </a:lnTo>
                  <a:lnTo>
                    <a:pt x="279" y="196"/>
                  </a:lnTo>
                  <a:lnTo>
                    <a:pt x="267" y="204"/>
                  </a:lnTo>
                  <a:lnTo>
                    <a:pt x="246" y="211"/>
                  </a:lnTo>
                  <a:lnTo>
                    <a:pt x="225" y="199"/>
                  </a:lnTo>
                  <a:lnTo>
                    <a:pt x="207" y="194"/>
                  </a:lnTo>
                  <a:lnTo>
                    <a:pt x="127" y="188"/>
                  </a:lnTo>
                  <a:lnTo>
                    <a:pt x="117" y="179"/>
                  </a:lnTo>
                  <a:lnTo>
                    <a:pt x="107" y="160"/>
                  </a:lnTo>
                  <a:lnTo>
                    <a:pt x="91" y="152"/>
                  </a:lnTo>
                  <a:lnTo>
                    <a:pt x="76" y="149"/>
                  </a:lnTo>
                  <a:lnTo>
                    <a:pt x="43" y="143"/>
                  </a:lnTo>
                  <a:lnTo>
                    <a:pt x="33" y="118"/>
                  </a:lnTo>
                  <a:lnTo>
                    <a:pt x="29" y="102"/>
                  </a:lnTo>
                  <a:lnTo>
                    <a:pt x="8" y="91"/>
                  </a:lnTo>
                  <a:lnTo>
                    <a:pt x="0" y="8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5" name="Freeform 225">
              <a:extLst>
                <a:ext uri="{FF2B5EF4-FFF2-40B4-BE49-F238E27FC236}">
                  <a16:creationId xmlns:a16="http://schemas.microsoft.com/office/drawing/2014/main" xmlns="" id="{A7E1AC80-ADCE-4167-A948-040873966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157" y="3870131"/>
              <a:ext cx="39231" cy="79675"/>
            </a:xfrm>
            <a:custGeom>
              <a:avLst/>
              <a:gdLst>
                <a:gd name="T0" fmla="*/ 9 w 29"/>
                <a:gd name="T1" fmla="*/ 0 h 60"/>
                <a:gd name="T2" fmla="*/ 1 w 29"/>
                <a:gd name="T3" fmla="*/ 17 h 60"/>
                <a:gd name="T4" fmla="*/ 0 w 29"/>
                <a:gd name="T5" fmla="*/ 40 h 60"/>
                <a:gd name="T6" fmla="*/ 8 w 29"/>
                <a:gd name="T7" fmla="*/ 59 h 60"/>
                <a:gd name="T8" fmla="*/ 28 w 29"/>
                <a:gd name="T9" fmla="*/ 56 h 60"/>
                <a:gd name="T10" fmla="*/ 28 w 29"/>
                <a:gd name="T11" fmla="*/ 19 h 60"/>
                <a:gd name="T12" fmla="*/ 22 w 29"/>
                <a:gd name="T13" fmla="*/ 11 h 60"/>
                <a:gd name="T14" fmla="*/ 9 w 29"/>
                <a:gd name="T1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0">
                  <a:moveTo>
                    <a:pt x="9" y="0"/>
                  </a:moveTo>
                  <a:lnTo>
                    <a:pt x="1" y="17"/>
                  </a:lnTo>
                  <a:lnTo>
                    <a:pt x="0" y="40"/>
                  </a:lnTo>
                  <a:lnTo>
                    <a:pt x="8" y="59"/>
                  </a:lnTo>
                  <a:lnTo>
                    <a:pt x="28" y="56"/>
                  </a:lnTo>
                  <a:lnTo>
                    <a:pt x="28" y="19"/>
                  </a:lnTo>
                  <a:lnTo>
                    <a:pt x="22" y="11"/>
                  </a:lnTo>
                  <a:lnTo>
                    <a:pt x="9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6" name="Freeform 226">
              <a:extLst>
                <a:ext uri="{FF2B5EF4-FFF2-40B4-BE49-F238E27FC236}">
                  <a16:creationId xmlns:a16="http://schemas.microsoft.com/office/drawing/2014/main" xmlns="" id="{05E4F86B-A323-4F17-A6C8-BDE23E518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7653" y="3757159"/>
              <a:ext cx="152170" cy="112972"/>
            </a:xfrm>
            <a:custGeom>
              <a:avLst/>
              <a:gdLst>
                <a:gd name="T0" fmla="*/ 113 w 114"/>
                <a:gd name="T1" fmla="*/ 42 h 84"/>
                <a:gd name="T2" fmla="*/ 109 w 114"/>
                <a:gd name="T3" fmla="*/ 57 h 84"/>
                <a:gd name="T4" fmla="*/ 93 w 114"/>
                <a:gd name="T5" fmla="*/ 62 h 84"/>
                <a:gd name="T6" fmla="*/ 82 w 114"/>
                <a:gd name="T7" fmla="*/ 77 h 84"/>
                <a:gd name="T8" fmla="*/ 75 w 114"/>
                <a:gd name="T9" fmla="*/ 78 h 84"/>
                <a:gd name="T10" fmla="*/ 63 w 114"/>
                <a:gd name="T11" fmla="*/ 75 h 84"/>
                <a:gd name="T12" fmla="*/ 52 w 114"/>
                <a:gd name="T13" fmla="*/ 69 h 84"/>
                <a:gd name="T14" fmla="*/ 45 w 114"/>
                <a:gd name="T15" fmla="*/ 69 h 84"/>
                <a:gd name="T16" fmla="*/ 37 w 114"/>
                <a:gd name="T17" fmla="*/ 83 h 84"/>
                <a:gd name="T18" fmla="*/ 8 w 114"/>
                <a:gd name="T19" fmla="*/ 81 h 84"/>
                <a:gd name="T20" fmla="*/ 0 w 114"/>
                <a:gd name="T21" fmla="*/ 75 h 84"/>
                <a:gd name="T22" fmla="*/ 4 w 114"/>
                <a:gd name="T23" fmla="*/ 56 h 84"/>
                <a:gd name="T24" fmla="*/ 14 w 114"/>
                <a:gd name="T25" fmla="*/ 42 h 84"/>
                <a:gd name="T26" fmla="*/ 19 w 114"/>
                <a:gd name="T27" fmla="*/ 30 h 84"/>
                <a:gd name="T28" fmla="*/ 23 w 114"/>
                <a:gd name="T29" fmla="*/ 23 h 84"/>
                <a:gd name="T30" fmla="*/ 41 w 114"/>
                <a:gd name="T31" fmla="*/ 17 h 84"/>
                <a:gd name="T32" fmla="*/ 49 w 114"/>
                <a:gd name="T33" fmla="*/ 9 h 84"/>
                <a:gd name="T34" fmla="*/ 57 w 114"/>
                <a:gd name="T35" fmla="*/ 0 h 84"/>
                <a:gd name="T36" fmla="*/ 81 w 114"/>
                <a:gd name="T37" fmla="*/ 1 h 84"/>
                <a:gd name="T38" fmla="*/ 85 w 114"/>
                <a:gd name="T39" fmla="*/ 9 h 84"/>
                <a:gd name="T40" fmla="*/ 94 w 114"/>
                <a:gd name="T41" fmla="*/ 14 h 84"/>
                <a:gd name="T42" fmla="*/ 95 w 114"/>
                <a:gd name="T43" fmla="*/ 30 h 84"/>
                <a:gd name="T44" fmla="*/ 105 w 114"/>
                <a:gd name="T45" fmla="*/ 30 h 84"/>
                <a:gd name="T46" fmla="*/ 113 w 114"/>
                <a:gd name="T47" fmla="*/ 4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4" h="84">
                  <a:moveTo>
                    <a:pt x="113" y="42"/>
                  </a:moveTo>
                  <a:lnTo>
                    <a:pt x="109" y="57"/>
                  </a:lnTo>
                  <a:lnTo>
                    <a:pt x="93" y="62"/>
                  </a:lnTo>
                  <a:lnTo>
                    <a:pt x="82" y="77"/>
                  </a:lnTo>
                  <a:lnTo>
                    <a:pt x="75" y="78"/>
                  </a:lnTo>
                  <a:lnTo>
                    <a:pt x="63" y="75"/>
                  </a:lnTo>
                  <a:lnTo>
                    <a:pt x="52" y="69"/>
                  </a:lnTo>
                  <a:lnTo>
                    <a:pt x="45" y="69"/>
                  </a:lnTo>
                  <a:lnTo>
                    <a:pt x="37" y="83"/>
                  </a:lnTo>
                  <a:lnTo>
                    <a:pt x="8" y="81"/>
                  </a:lnTo>
                  <a:lnTo>
                    <a:pt x="0" y="75"/>
                  </a:lnTo>
                  <a:lnTo>
                    <a:pt x="4" y="56"/>
                  </a:lnTo>
                  <a:lnTo>
                    <a:pt x="14" y="42"/>
                  </a:lnTo>
                  <a:lnTo>
                    <a:pt x="19" y="30"/>
                  </a:lnTo>
                  <a:lnTo>
                    <a:pt x="23" y="23"/>
                  </a:lnTo>
                  <a:lnTo>
                    <a:pt x="41" y="17"/>
                  </a:lnTo>
                  <a:lnTo>
                    <a:pt x="49" y="9"/>
                  </a:lnTo>
                  <a:lnTo>
                    <a:pt x="57" y="0"/>
                  </a:lnTo>
                  <a:lnTo>
                    <a:pt x="81" y="1"/>
                  </a:lnTo>
                  <a:lnTo>
                    <a:pt x="85" y="9"/>
                  </a:lnTo>
                  <a:lnTo>
                    <a:pt x="94" y="14"/>
                  </a:lnTo>
                  <a:lnTo>
                    <a:pt x="95" y="30"/>
                  </a:lnTo>
                  <a:lnTo>
                    <a:pt x="105" y="30"/>
                  </a:lnTo>
                  <a:lnTo>
                    <a:pt x="113" y="4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7" name="Freeform 227">
              <a:extLst>
                <a:ext uri="{FF2B5EF4-FFF2-40B4-BE49-F238E27FC236}">
                  <a16:creationId xmlns:a16="http://schemas.microsoft.com/office/drawing/2014/main" xmlns="" id="{E8B7E453-9F80-4F34-954B-103D915AA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3385" y="3805915"/>
              <a:ext cx="149792" cy="123675"/>
            </a:xfrm>
            <a:custGeom>
              <a:avLst/>
              <a:gdLst>
                <a:gd name="T0" fmla="*/ 0 w 113"/>
                <a:gd name="T1" fmla="*/ 15 h 93"/>
                <a:gd name="T2" fmla="*/ 8 w 113"/>
                <a:gd name="T3" fmla="*/ 6 h 93"/>
                <a:gd name="T4" fmla="*/ 25 w 113"/>
                <a:gd name="T5" fmla="*/ 0 h 93"/>
                <a:gd name="T6" fmla="*/ 45 w 113"/>
                <a:gd name="T7" fmla="*/ 3 h 93"/>
                <a:gd name="T8" fmla="*/ 61 w 113"/>
                <a:gd name="T9" fmla="*/ 3 h 93"/>
                <a:gd name="T10" fmla="*/ 76 w 113"/>
                <a:gd name="T11" fmla="*/ 8 h 93"/>
                <a:gd name="T12" fmla="*/ 92 w 113"/>
                <a:gd name="T13" fmla="*/ 11 h 93"/>
                <a:gd name="T14" fmla="*/ 103 w 113"/>
                <a:gd name="T15" fmla="*/ 23 h 93"/>
                <a:gd name="T16" fmla="*/ 107 w 113"/>
                <a:gd name="T17" fmla="*/ 42 h 93"/>
                <a:gd name="T18" fmla="*/ 102 w 113"/>
                <a:gd name="T19" fmla="*/ 54 h 93"/>
                <a:gd name="T20" fmla="*/ 112 w 113"/>
                <a:gd name="T21" fmla="*/ 62 h 93"/>
                <a:gd name="T22" fmla="*/ 96 w 113"/>
                <a:gd name="T23" fmla="*/ 74 h 93"/>
                <a:gd name="T24" fmla="*/ 92 w 113"/>
                <a:gd name="T25" fmla="*/ 92 h 93"/>
                <a:gd name="T26" fmla="*/ 81 w 113"/>
                <a:gd name="T27" fmla="*/ 89 h 93"/>
                <a:gd name="T28" fmla="*/ 72 w 113"/>
                <a:gd name="T29" fmla="*/ 72 h 93"/>
                <a:gd name="T30" fmla="*/ 68 w 113"/>
                <a:gd name="T31" fmla="*/ 55 h 93"/>
                <a:gd name="T32" fmla="*/ 52 w 113"/>
                <a:gd name="T33" fmla="*/ 46 h 93"/>
                <a:gd name="T34" fmla="*/ 40 w 113"/>
                <a:gd name="T35" fmla="*/ 52 h 93"/>
                <a:gd name="T36" fmla="*/ 25 w 113"/>
                <a:gd name="T37" fmla="*/ 56 h 93"/>
                <a:gd name="T38" fmla="*/ 7 w 113"/>
                <a:gd name="T39" fmla="*/ 37 h 93"/>
                <a:gd name="T40" fmla="*/ 0 w 113"/>
                <a:gd name="T41" fmla="*/ 1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93">
                  <a:moveTo>
                    <a:pt x="0" y="15"/>
                  </a:moveTo>
                  <a:lnTo>
                    <a:pt x="8" y="6"/>
                  </a:lnTo>
                  <a:lnTo>
                    <a:pt x="25" y="0"/>
                  </a:lnTo>
                  <a:lnTo>
                    <a:pt x="45" y="3"/>
                  </a:lnTo>
                  <a:lnTo>
                    <a:pt x="61" y="3"/>
                  </a:lnTo>
                  <a:lnTo>
                    <a:pt x="76" y="8"/>
                  </a:lnTo>
                  <a:lnTo>
                    <a:pt x="92" y="11"/>
                  </a:lnTo>
                  <a:lnTo>
                    <a:pt x="103" y="23"/>
                  </a:lnTo>
                  <a:lnTo>
                    <a:pt x="107" y="42"/>
                  </a:lnTo>
                  <a:lnTo>
                    <a:pt x="102" y="54"/>
                  </a:lnTo>
                  <a:lnTo>
                    <a:pt x="112" y="62"/>
                  </a:lnTo>
                  <a:lnTo>
                    <a:pt x="96" y="74"/>
                  </a:lnTo>
                  <a:lnTo>
                    <a:pt x="92" y="92"/>
                  </a:lnTo>
                  <a:lnTo>
                    <a:pt x="81" y="89"/>
                  </a:lnTo>
                  <a:lnTo>
                    <a:pt x="72" y="72"/>
                  </a:lnTo>
                  <a:lnTo>
                    <a:pt x="68" y="55"/>
                  </a:lnTo>
                  <a:lnTo>
                    <a:pt x="52" y="46"/>
                  </a:lnTo>
                  <a:lnTo>
                    <a:pt x="40" y="52"/>
                  </a:lnTo>
                  <a:lnTo>
                    <a:pt x="25" y="56"/>
                  </a:lnTo>
                  <a:lnTo>
                    <a:pt x="7" y="37"/>
                  </a:lnTo>
                  <a:lnTo>
                    <a:pt x="0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8" name="Freeform 228">
              <a:extLst>
                <a:ext uri="{FF2B5EF4-FFF2-40B4-BE49-F238E27FC236}">
                  <a16:creationId xmlns:a16="http://schemas.microsoft.com/office/drawing/2014/main" xmlns="" id="{BFEF8D74-524A-40B4-8269-E2DCD3552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206" y="3848726"/>
              <a:ext cx="70141" cy="127243"/>
            </a:xfrm>
            <a:custGeom>
              <a:avLst/>
              <a:gdLst>
                <a:gd name="T0" fmla="*/ 2 w 53"/>
                <a:gd name="T1" fmla="*/ 91 h 95"/>
                <a:gd name="T2" fmla="*/ 0 w 53"/>
                <a:gd name="T3" fmla="*/ 68 h 95"/>
                <a:gd name="T4" fmla="*/ 2 w 53"/>
                <a:gd name="T5" fmla="*/ 45 h 95"/>
                <a:gd name="T6" fmla="*/ 10 w 53"/>
                <a:gd name="T7" fmla="*/ 44 h 95"/>
                <a:gd name="T8" fmla="*/ 12 w 53"/>
                <a:gd name="T9" fmla="*/ 32 h 95"/>
                <a:gd name="T10" fmla="*/ 2 w 53"/>
                <a:gd name="T11" fmla="*/ 27 h 95"/>
                <a:gd name="T12" fmla="*/ 2 w 53"/>
                <a:gd name="T13" fmla="*/ 14 h 95"/>
                <a:gd name="T14" fmla="*/ 9 w 53"/>
                <a:gd name="T15" fmla="*/ 0 h 95"/>
                <a:gd name="T16" fmla="*/ 17 w 53"/>
                <a:gd name="T17" fmla="*/ 0 h 95"/>
                <a:gd name="T18" fmla="*/ 27 w 53"/>
                <a:gd name="T19" fmla="*/ 6 h 95"/>
                <a:gd name="T20" fmla="*/ 39 w 53"/>
                <a:gd name="T21" fmla="*/ 9 h 95"/>
                <a:gd name="T22" fmla="*/ 40 w 53"/>
                <a:gd name="T23" fmla="*/ 23 h 95"/>
                <a:gd name="T24" fmla="*/ 46 w 53"/>
                <a:gd name="T25" fmla="*/ 26 h 95"/>
                <a:gd name="T26" fmla="*/ 45 w 53"/>
                <a:gd name="T27" fmla="*/ 39 h 95"/>
                <a:gd name="T28" fmla="*/ 48 w 53"/>
                <a:gd name="T29" fmla="*/ 60 h 95"/>
                <a:gd name="T30" fmla="*/ 52 w 53"/>
                <a:gd name="T31" fmla="*/ 79 h 95"/>
                <a:gd name="T32" fmla="*/ 46 w 53"/>
                <a:gd name="T33" fmla="*/ 86 h 95"/>
                <a:gd name="T34" fmla="*/ 35 w 53"/>
                <a:gd name="T35" fmla="*/ 86 h 95"/>
                <a:gd name="T36" fmla="*/ 29 w 53"/>
                <a:gd name="T37" fmla="*/ 93 h 95"/>
                <a:gd name="T38" fmla="*/ 18 w 53"/>
                <a:gd name="T39" fmla="*/ 94 h 95"/>
                <a:gd name="T40" fmla="*/ 2 w 53"/>
                <a:gd name="T41" fmla="*/ 9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95">
                  <a:moveTo>
                    <a:pt x="2" y="91"/>
                  </a:moveTo>
                  <a:lnTo>
                    <a:pt x="0" y="68"/>
                  </a:lnTo>
                  <a:lnTo>
                    <a:pt x="2" y="45"/>
                  </a:lnTo>
                  <a:lnTo>
                    <a:pt x="10" y="44"/>
                  </a:lnTo>
                  <a:lnTo>
                    <a:pt x="12" y="32"/>
                  </a:lnTo>
                  <a:lnTo>
                    <a:pt x="2" y="27"/>
                  </a:lnTo>
                  <a:lnTo>
                    <a:pt x="2" y="14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7" y="6"/>
                  </a:lnTo>
                  <a:lnTo>
                    <a:pt x="39" y="9"/>
                  </a:lnTo>
                  <a:lnTo>
                    <a:pt x="40" y="23"/>
                  </a:lnTo>
                  <a:lnTo>
                    <a:pt x="46" y="26"/>
                  </a:lnTo>
                  <a:lnTo>
                    <a:pt x="45" y="39"/>
                  </a:lnTo>
                  <a:lnTo>
                    <a:pt x="48" y="60"/>
                  </a:lnTo>
                  <a:lnTo>
                    <a:pt x="52" y="79"/>
                  </a:lnTo>
                  <a:lnTo>
                    <a:pt x="46" y="86"/>
                  </a:lnTo>
                  <a:lnTo>
                    <a:pt x="35" y="86"/>
                  </a:lnTo>
                  <a:lnTo>
                    <a:pt x="29" y="93"/>
                  </a:lnTo>
                  <a:lnTo>
                    <a:pt x="18" y="94"/>
                  </a:lnTo>
                  <a:lnTo>
                    <a:pt x="2" y="9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9" name="Freeform 229">
              <a:extLst>
                <a:ext uri="{FF2B5EF4-FFF2-40B4-BE49-F238E27FC236}">
                  <a16:creationId xmlns:a16="http://schemas.microsoft.com/office/drawing/2014/main" xmlns="" id="{83B06B04-5F79-4C43-B6F6-AA73D260C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151" y="4109157"/>
              <a:ext cx="210422" cy="233080"/>
            </a:xfrm>
            <a:custGeom>
              <a:avLst/>
              <a:gdLst>
                <a:gd name="T0" fmla="*/ 156 w 157"/>
                <a:gd name="T1" fmla="*/ 154 h 175"/>
                <a:gd name="T2" fmla="*/ 139 w 157"/>
                <a:gd name="T3" fmla="*/ 158 h 175"/>
                <a:gd name="T4" fmla="*/ 136 w 157"/>
                <a:gd name="T5" fmla="*/ 165 h 175"/>
                <a:gd name="T6" fmla="*/ 119 w 157"/>
                <a:gd name="T7" fmla="*/ 165 h 175"/>
                <a:gd name="T8" fmla="*/ 116 w 157"/>
                <a:gd name="T9" fmla="*/ 174 h 175"/>
                <a:gd name="T10" fmla="*/ 86 w 157"/>
                <a:gd name="T11" fmla="*/ 171 h 175"/>
                <a:gd name="T12" fmla="*/ 84 w 157"/>
                <a:gd name="T13" fmla="*/ 163 h 175"/>
                <a:gd name="T14" fmla="*/ 71 w 157"/>
                <a:gd name="T15" fmla="*/ 154 h 175"/>
                <a:gd name="T16" fmla="*/ 60 w 157"/>
                <a:gd name="T17" fmla="*/ 146 h 175"/>
                <a:gd name="T18" fmla="*/ 53 w 157"/>
                <a:gd name="T19" fmla="*/ 143 h 175"/>
                <a:gd name="T20" fmla="*/ 44 w 157"/>
                <a:gd name="T21" fmla="*/ 129 h 175"/>
                <a:gd name="T22" fmla="*/ 31 w 157"/>
                <a:gd name="T23" fmla="*/ 122 h 175"/>
                <a:gd name="T24" fmla="*/ 21 w 157"/>
                <a:gd name="T25" fmla="*/ 112 h 175"/>
                <a:gd name="T26" fmla="*/ 19 w 157"/>
                <a:gd name="T27" fmla="*/ 104 h 175"/>
                <a:gd name="T28" fmla="*/ 8 w 157"/>
                <a:gd name="T29" fmla="*/ 105 h 175"/>
                <a:gd name="T30" fmla="*/ 9 w 157"/>
                <a:gd name="T31" fmla="*/ 97 h 175"/>
                <a:gd name="T32" fmla="*/ 8 w 157"/>
                <a:gd name="T33" fmla="*/ 87 h 175"/>
                <a:gd name="T34" fmla="*/ 4 w 157"/>
                <a:gd name="T35" fmla="*/ 78 h 175"/>
                <a:gd name="T36" fmla="*/ 3 w 157"/>
                <a:gd name="T37" fmla="*/ 70 h 175"/>
                <a:gd name="T38" fmla="*/ 4 w 157"/>
                <a:gd name="T39" fmla="*/ 57 h 175"/>
                <a:gd name="T40" fmla="*/ 0 w 157"/>
                <a:gd name="T41" fmla="*/ 46 h 175"/>
                <a:gd name="T42" fmla="*/ 8 w 157"/>
                <a:gd name="T43" fmla="*/ 45 h 175"/>
                <a:gd name="T44" fmla="*/ 19 w 157"/>
                <a:gd name="T45" fmla="*/ 43 h 175"/>
                <a:gd name="T46" fmla="*/ 18 w 157"/>
                <a:gd name="T47" fmla="*/ 26 h 175"/>
                <a:gd name="T48" fmla="*/ 14 w 157"/>
                <a:gd name="T49" fmla="*/ 19 h 175"/>
                <a:gd name="T50" fmla="*/ 11 w 157"/>
                <a:gd name="T51" fmla="*/ 4 h 175"/>
                <a:gd name="T52" fmla="*/ 18 w 157"/>
                <a:gd name="T53" fmla="*/ 0 h 175"/>
                <a:gd name="T54" fmla="*/ 33 w 157"/>
                <a:gd name="T55" fmla="*/ 1 h 175"/>
                <a:gd name="T56" fmla="*/ 63 w 157"/>
                <a:gd name="T57" fmla="*/ 0 h 175"/>
                <a:gd name="T58" fmla="*/ 74 w 157"/>
                <a:gd name="T59" fmla="*/ 0 h 175"/>
                <a:gd name="T60" fmla="*/ 103 w 157"/>
                <a:gd name="T61" fmla="*/ 24 h 175"/>
                <a:gd name="T62" fmla="*/ 118 w 157"/>
                <a:gd name="T63" fmla="*/ 28 h 175"/>
                <a:gd name="T64" fmla="*/ 119 w 157"/>
                <a:gd name="T65" fmla="*/ 41 h 175"/>
                <a:gd name="T66" fmla="*/ 141 w 157"/>
                <a:gd name="T67" fmla="*/ 52 h 175"/>
                <a:gd name="T68" fmla="*/ 142 w 157"/>
                <a:gd name="T69" fmla="*/ 60 h 175"/>
                <a:gd name="T70" fmla="*/ 142 w 157"/>
                <a:gd name="T71" fmla="*/ 71 h 175"/>
                <a:gd name="T72" fmla="*/ 137 w 157"/>
                <a:gd name="T73" fmla="*/ 77 h 175"/>
                <a:gd name="T74" fmla="*/ 135 w 157"/>
                <a:gd name="T75" fmla="*/ 88 h 175"/>
                <a:gd name="T76" fmla="*/ 143 w 157"/>
                <a:gd name="T77" fmla="*/ 90 h 175"/>
                <a:gd name="T78" fmla="*/ 142 w 157"/>
                <a:gd name="T79" fmla="*/ 106 h 175"/>
                <a:gd name="T80" fmla="*/ 145 w 157"/>
                <a:gd name="T81" fmla="*/ 122 h 175"/>
                <a:gd name="T82" fmla="*/ 146 w 157"/>
                <a:gd name="T83" fmla="*/ 140 h 175"/>
                <a:gd name="T84" fmla="*/ 152 w 157"/>
                <a:gd name="T85" fmla="*/ 146 h 175"/>
                <a:gd name="T86" fmla="*/ 156 w 157"/>
                <a:gd name="T87" fmla="*/ 15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7" h="175">
                  <a:moveTo>
                    <a:pt x="156" y="154"/>
                  </a:moveTo>
                  <a:lnTo>
                    <a:pt x="139" y="158"/>
                  </a:lnTo>
                  <a:lnTo>
                    <a:pt x="136" y="165"/>
                  </a:lnTo>
                  <a:lnTo>
                    <a:pt x="119" y="165"/>
                  </a:lnTo>
                  <a:lnTo>
                    <a:pt x="116" y="174"/>
                  </a:lnTo>
                  <a:lnTo>
                    <a:pt x="86" y="171"/>
                  </a:lnTo>
                  <a:lnTo>
                    <a:pt x="84" y="163"/>
                  </a:lnTo>
                  <a:lnTo>
                    <a:pt x="71" y="154"/>
                  </a:lnTo>
                  <a:lnTo>
                    <a:pt x="60" y="146"/>
                  </a:lnTo>
                  <a:lnTo>
                    <a:pt x="53" y="143"/>
                  </a:lnTo>
                  <a:lnTo>
                    <a:pt x="44" y="129"/>
                  </a:lnTo>
                  <a:lnTo>
                    <a:pt x="31" y="122"/>
                  </a:lnTo>
                  <a:lnTo>
                    <a:pt x="21" y="112"/>
                  </a:lnTo>
                  <a:lnTo>
                    <a:pt x="19" y="104"/>
                  </a:lnTo>
                  <a:lnTo>
                    <a:pt x="8" y="105"/>
                  </a:lnTo>
                  <a:lnTo>
                    <a:pt x="9" y="97"/>
                  </a:lnTo>
                  <a:lnTo>
                    <a:pt x="8" y="87"/>
                  </a:lnTo>
                  <a:lnTo>
                    <a:pt x="4" y="78"/>
                  </a:lnTo>
                  <a:lnTo>
                    <a:pt x="3" y="70"/>
                  </a:lnTo>
                  <a:lnTo>
                    <a:pt x="4" y="57"/>
                  </a:lnTo>
                  <a:lnTo>
                    <a:pt x="0" y="46"/>
                  </a:lnTo>
                  <a:lnTo>
                    <a:pt x="8" y="45"/>
                  </a:lnTo>
                  <a:lnTo>
                    <a:pt x="19" y="43"/>
                  </a:lnTo>
                  <a:lnTo>
                    <a:pt x="18" y="26"/>
                  </a:lnTo>
                  <a:lnTo>
                    <a:pt x="14" y="19"/>
                  </a:lnTo>
                  <a:lnTo>
                    <a:pt x="11" y="4"/>
                  </a:lnTo>
                  <a:lnTo>
                    <a:pt x="18" y="0"/>
                  </a:lnTo>
                  <a:lnTo>
                    <a:pt x="33" y="1"/>
                  </a:lnTo>
                  <a:lnTo>
                    <a:pt x="63" y="0"/>
                  </a:lnTo>
                  <a:lnTo>
                    <a:pt x="74" y="0"/>
                  </a:lnTo>
                  <a:lnTo>
                    <a:pt x="103" y="24"/>
                  </a:lnTo>
                  <a:lnTo>
                    <a:pt x="118" y="28"/>
                  </a:lnTo>
                  <a:lnTo>
                    <a:pt x="119" y="41"/>
                  </a:lnTo>
                  <a:lnTo>
                    <a:pt x="141" y="52"/>
                  </a:lnTo>
                  <a:lnTo>
                    <a:pt x="142" y="60"/>
                  </a:lnTo>
                  <a:lnTo>
                    <a:pt x="142" y="71"/>
                  </a:lnTo>
                  <a:lnTo>
                    <a:pt x="137" y="77"/>
                  </a:lnTo>
                  <a:lnTo>
                    <a:pt x="135" y="88"/>
                  </a:lnTo>
                  <a:lnTo>
                    <a:pt x="143" y="90"/>
                  </a:lnTo>
                  <a:lnTo>
                    <a:pt x="142" y="106"/>
                  </a:lnTo>
                  <a:lnTo>
                    <a:pt x="145" y="122"/>
                  </a:lnTo>
                  <a:lnTo>
                    <a:pt x="146" y="140"/>
                  </a:lnTo>
                  <a:lnTo>
                    <a:pt x="152" y="146"/>
                  </a:lnTo>
                  <a:lnTo>
                    <a:pt x="156" y="15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0" name="Freeform 230">
              <a:extLst>
                <a:ext uri="{FF2B5EF4-FFF2-40B4-BE49-F238E27FC236}">
                  <a16:creationId xmlns:a16="http://schemas.microsoft.com/office/drawing/2014/main" xmlns="" id="{B62E09F4-0EFA-4033-98D9-213865899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151" y="3997374"/>
              <a:ext cx="95106" cy="118918"/>
            </a:xfrm>
            <a:custGeom>
              <a:avLst/>
              <a:gdLst>
                <a:gd name="T0" fmla="*/ 61 w 71"/>
                <a:gd name="T1" fmla="*/ 0 h 89"/>
                <a:gd name="T2" fmla="*/ 70 w 71"/>
                <a:gd name="T3" fmla="*/ 14 h 89"/>
                <a:gd name="T4" fmla="*/ 70 w 71"/>
                <a:gd name="T5" fmla="*/ 41 h 89"/>
                <a:gd name="T6" fmla="*/ 61 w 71"/>
                <a:gd name="T7" fmla="*/ 58 h 89"/>
                <a:gd name="T8" fmla="*/ 59 w 71"/>
                <a:gd name="T9" fmla="*/ 74 h 89"/>
                <a:gd name="T10" fmla="*/ 63 w 71"/>
                <a:gd name="T11" fmla="*/ 84 h 89"/>
                <a:gd name="T12" fmla="*/ 33 w 71"/>
                <a:gd name="T13" fmla="*/ 85 h 89"/>
                <a:gd name="T14" fmla="*/ 18 w 71"/>
                <a:gd name="T15" fmla="*/ 84 h 89"/>
                <a:gd name="T16" fmla="*/ 11 w 71"/>
                <a:gd name="T17" fmla="*/ 88 h 89"/>
                <a:gd name="T18" fmla="*/ 0 w 71"/>
                <a:gd name="T19" fmla="*/ 84 h 89"/>
                <a:gd name="T20" fmla="*/ 4 w 71"/>
                <a:gd name="T21" fmla="*/ 49 h 89"/>
                <a:gd name="T22" fmla="*/ 19 w 71"/>
                <a:gd name="T23" fmla="*/ 43 h 89"/>
                <a:gd name="T24" fmla="*/ 27 w 71"/>
                <a:gd name="T25" fmla="*/ 39 h 89"/>
                <a:gd name="T26" fmla="*/ 28 w 71"/>
                <a:gd name="T27" fmla="*/ 30 h 89"/>
                <a:gd name="T28" fmla="*/ 19 w 71"/>
                <a:gd name="T29" fmla="*/ 30 h 89"/>
                <a:gd name="T30" fmla="*/ 19 w 71"/>
                <a:gd name="T31" fmla="*/ 23 h 89"/>
                <a:gd name="T32" fmla="*/ 15 w 71"/>
                <a:gd name="T33" fmla="*/ 4 h 89"/>
                <a:gd name="T34" fmla="*/ 31 w 71"/>
                <a:gd name="T35" fmla="*/ 4 h 89"/>
                <a:gd name="T36" fmla="*/ 44 w 71"/>
                <a:gd name="T37" fmla="*/ 5 h 89"/>
                <a:gd name="T38" fmla="*/ 61 w 71"/>
                <a:gd name="T3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9">
                  <a:moveTo>
                    <a:pt x="61" y="0"/>
                  </a:moveTo>
                  <a:lnTo>
                    <a:pt x="70" y="14"/>
                  </a:lnTo>
                  <a:lnTo>
                    <a:pt x="70" y="41"/>
                  </a:lnTo>
                  <a:lnTo>
                    <a:pt x="61" y="58"/>
                  </a:lnTo>
                  <a:lnTo>
                    <a:pt x="59" y="74"/>
                  </a:lnTo>
                  <a:lnTo>
                    <a:pt x="63" y="84"/>
                  </a:lnTo>
                  <a:lnTo>
                    <a:pt x="33" y="85"/>
                  </a:lnTo>
                  <a:lnTo>
                    <a:pt x="18" y="84"/>
                  </a:lnTo>
                  <a:lnTo>
                    <a:pt x="11" y="88"/>
                  </a:lnTo>
                  <a:lnTo>
                    <a:pt x="0" y="84"/>
                  </a:lnTo>
                  <a:lnTo>
                    <a:pt x="4" y="49"/>
                  </a:lnTo>
                  <a:lnTo>
                    <a:pt x="19" y="43"/>
                  </a:lnTo>
                  <a:lnTo>
                    <a:pt x="27" y="39"/>
                  </a:lnTo>
                  <a:lnTo>
                    <a:pt x="28" y="30"/>
                  </a:lnTo>
                  <a:lnTo>
                    <a:pt x="19" y="30"/>
                  </a:lnTo>
                  <a:lnTo>
                    <a:pt x="19" y="23"/>
                  </a:lnTo>
                  <a:lnTo>
                    <a:pt x="15" y="4"/>
                  </a:lnTo>
                  <a:lnTo>
                    <a:pt x="31" y="4"/>
                  </a:lnTo>
                  <a:lnTo>
                    <a:pt x="44" y="5"/>
                  </a:lnTo>
                  <a:lnTo>
                    <a:pt x="6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xmlns="" id="{C4A0C9AB-2750-4EB2-8E48-44F6B1064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861" y="3660835"/>
              <a:ext cx="196156" cy="147459"/>
            </a:xfrm>
            <a:custGeom>
              <a:avLst/>
              <a:gdLst>
                <a:gd name="T0" fmla="*/ 51 w 147"/>
                <a:gd name="T1" fmla="*/ 59 h 110"/>
                <a:gd name="T2" fmla="*/ 51 w 147"/>
                <a:gd name="T3" fmla="*/ 46 h 110"/>
                <a:gd name="T4" fmla="*/ 51 w 147"/>
                <a:gd name="T5" fmla="*/ 36 h 110"/>
                <a:gd name="T6" fmla="*/ 45 w 147"/>
                <a:gd name="T7" fmla="*/ 34 h 110"/>
                <a:gd name="T8" fmla="*/ 28 w 147"/>
                <a:gd name="T9" fmla="*/ 33 h 110"/>
                <a:gd name="T10" fmla="*/ 11 w 147"/>
                <a:gd name="T11" fmla="*/ 34 h 110"/>
                <a:gd name="T12" fmla="*/ 0 w 147"/>
                <a:gd name="T13" fmla="*/ 41 h 110"/>
                <a:gd name="T14" fmla="*/ 2 w 147"/>
                <a:gd name="T15" fmla="*/ 74 h 110"/>
                <a:gd name="T16" fmla="*/ 2 w 147"/>
                <a:gd name="T17" fmla="*/ 91 h 110"/>
                <a:gd name="T18" fmla="*/ 8 w 147"/>
                <a:gd name="T19" fmla="*/ 101 h 110"/>
                <a:gd name="T20" fmla="*/ 23 w 147"/>
                <a:gd name="T21" fmla="*/ 109 h 110"/>
                <a:gd name="T22" fmla="*/ 34 w 147"/>
                <a:gd name="T23" fmla="*/ 98 h 110"/>
                <a:gd name="T24" fmla="*/ 48 w 147"/>
                <a:gd name="T25" fmla="*/ 84 h 110"/>
                <a:gd name="T26" fmla="*/ 53 w 147"/>
                <a:gd name="T27" fmla="*/ 79 h 110"/>
                <a:gd name="T28" fmla="*/ 91 w 147"/>
                <a:gd name="T29" fmla="*/ 78 h 110"/>
                <a:gd name="T30" fmla="*/ 102 w 147"/>
                <a:gd name="T31" fmla="*/ 68 h 110"/>
                <a:gd name="T32" fmla="*/ 134 w 147"/>
                <a:gd name="T33" fmla="*/ 62 h 110"/>
                <a:gd name="T34" fmla="*/ 134 w 147"/>
                <a:gd name="T35" fmla="*/ 51 h 110"/>
                <a:gd name="T36" fmla="*/ 146 w 147"/>
                <a:gd name="T37" fmla="*/ 41 h 110"/>
                <a:gd name="T38" fmla="*/ 137 w 147"/>
                <a:gd name="T39" fmla="*/ 19 h 110"/>
                <a:gd name="T40" fmla="*/ 131 w 147"/>
                <a:gd name="T41" fmla="*/ 0 h 110"/>
                <a:gd name="T42" fmla="*/ 87 w 147"/>
                <a:gd name="T43" fmla="*/ 8 h 110"/>
                <a:gd name="T44" fmla="*/ 76 w 147"/>
                <a:gd name="T45" fmla="*/ 23 h 110"/>
                <a:gd name="T46" fmla="*/ 70 w 147"/>
                <a:gd name="T47" fmla="*/ 44 h 110"/>
                <a:gd name="T48" fmla="*/ 51 w 147"/>
                <a:gd name="T49" fmla="*/ 5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" h="110">
                  <a:moveTo>
                    <a:pt x="51" y="59"/>
                  </a:moveTo>
                  <a:lnTo>
                    <a:pt x="51" y="46"/>
                  </a:lnTo>
                  <a:lnTo>
                    <a:pt x="51" y="36"/>
                  </a:lnTo>
                  <a:lnTo>
                    <a:pt x="45" y="34"/>
                  </a:lnTo>
                  <a:lnTo>
                    <a:pt x="28" y="33"/>
                  </a:lnTo>
                  <a:lnTo>
                    <a:pt x="11" y="34"/>
                  </a:lnTo>
                  <a:lnTo>
                    <a:pt x="0" y="41"/>
                  </a:lnTo>
                  <a:lnTo>
                    <a:pt x="2" y="74"/>
                  </a:lnTo>
                  <a:lnTo>
                    <a:pt x="2" y="91"/>
                  </a:lnTo>
                  <a:lnTo>
                    <a:pt x="8" y="101"/>
                  </a:lnTo>
                  <a:lnTo>
                    <a:pt x="23" y="109"/>
                  </a:lnTo>
                  <a:lnTo>
                    <a:pt x="34" y="98"/>
                  </a:lnTo>
                  <a:lnTo>
                    <a:pt x="48" y="84"/>
                  </a:lnTo>
                  <a:lnTo>
                    <a:pt x="53" y="79"/>
                  </a:lnTo>
                  <a:lnTo>
                    <a:pt x="91" y="78"/>
                  </a:lnTo>
                  <a:lnTo>
                    <a:pt x="102" y="68"/>
                  </a:lnTo>
                  <a:lnTo>
                    <a:pt x="134" y="62"/>
                  </a:lnTo>
                  <a:lnTo>
                    <a:pt x="134" y="51"/>
                  </a:lnTo>
                  <a:lnTo>
                    <a:pt x="146" y="41"/>
                  </a:lnTo>
                  <a:lnTo>
                    <a:pt x="137" y="19"/>
                  </a:lnTo>
                  <a:lnTo>
                    <a:pt x="131" y="0"/>
                  </a:lnTo>
                  <a:lnTo>
                    <a:pt x="87" y="8"/>
                  </a:lnTo>
                  <a:lnTo>
                    <a:pt x="76" y="23"/>
                  </a:lnTo>
                  <a:lnTo>
                    <a:pt x="70" y="44"/>
                  </a:lnTo>
                  <a:lnTo>
                    <a:pt x="51" y="5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xmlns="" id="{5E8409E5-BD67-49A8-AB29-5109853BF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112" y="3581160"/>
              <a:ext cx="208045" cy="346052"/>
            </a:xfrm>
            <a:custGeom>
              <a:avLst/>
              <a:gdLst>
                <a:gd name="T0" fmla="*/ 24 w 155"/>
                <a:gd name="T1" fmla="*/ 0 h 260"/>
                <a:gd name="T2" fmla="*/ 26 w 155"/>
                <a:gd name="T3" fmla="*/ 8 h 260"/>
                <a:gd name="T4" fmla="*/ 29 w 155"/>
                <a:gd name="T5" fmla="*/ 14 h 260"/>
                <a:gd name="T6" fmla="*/ 36 w 155"/>
                <a:gd name="T7" fmla="*/ 30 h 260"/>
                <a:gd name="T8" fmla="*/ 30 w 155"/>
                <a:gd name="T9" fmla="*/ 108 h 260"/>
                <a:gd name="T10" fmla="*/ 20 w 155"/>
                <a:gd name="T11" fmla="*/ 112 h 260"/>
                <a:gd name="T12" fmla="*/ 15 w 155"/>
                <a:gd name="T13" fmla="*/ 121 h 260"/>
                <a:gd name="T14" fmla="*/ 5 w 155"/>
                <a:gd name="T15" fmla="*/ 127 h 260"/>
                <a:gd name="T16" fmla="*/ 0 w 155"/>
                <a:gd name="T17" fmla="*/ 135 h 260"/>
                <a:gd name="T18" fmla="*/ 0 w 155"/>
                <a:gd name="T19" fmla="*/ 149 h 260"/>
                <a:gd name="T20" fmla="*/ 6 w 155"/>
                <a:gd name="T21" fmla="*/ 148 h 260"/>
                <a:gd name="T22" fmla="*/ 8 w 155"/>
                <a:gd name="T23" fmla="*/ 158 h 260"/>
                <a:gd name="T24" fmla="*/ 13 w 155"/>
                <a:gd name="T25" fmla="*/ 166 h 260"/>
                <a:gd name="T26" fmla="*/ 19 w 155"/>
                <a:gd name="T27" fmla="*/ 180 h 260"/>
                <a:gd name="T28" fmla="*/ 19 w 155"/>
                <a:gd name="T29" fmla="*/ 188 h 260"/>
                <a:gd name="T30" fmla="*/ 14 w 155"/>
                <a:gd name="T31" fmla="*/ 191 h 260"/>
                <a:gd name="T32" fmla="*/ 17 w 155"/>
                <a:gd name="T33" fmla="*/ 194 h 260"/>
                <a:gd name="T34" fmla="*/ 19 w 155"/>
                <a:gd name="T35" fmla="*/ 202 h 260"/>
                <a:gd name="T36" fmla="*/ 25 w 155"/>
                <a:gd name="T37" fmla="*/ 210 h 260"/>
                <a:gd name="T38" fmla="*/ 24 w 155"/>
                <a:gd name="T39" fmla="*/ 218 h 260"/>
                <a:gd name="T40" fmla="*/ 17 w 155"/>
                <a:gd name="T41" fmla="*/ 221 h 260"/>
                <a:gd name="T42" fmla="*/ 18 w 155"/>
                <a:gd name="T43" fmla="*/ 229 h 260"/>
                <a:gd name="T44" fmla="*/ 29 w 155"/>
                <a:gd name="T45" fmla="*/ 243 h 260"/>
                <a:gd name="T46" fmla="*/ 36 w 155"/>
                <a:gd name="T47" fmla="*/ 259 h 260"/>
                <a:gd name="T48" fmla="*/ 45 w 155"/>
                <a:gd name="T49" fmla="*/ 254 h 260"/>
                <a:gd name="T50" fmla="*/ 58 w 155"/>
                <a:gd name="T51" fmla="*/ 256 h 260"/>
                <a:gd name="T52" fmla="*/ 63 w 155"/>
                <a:gd name="T53" fmla="*/ 246 h 260"/>
                <a:gd name="T54" fmla="*/ 79 w 155"/>
                <a:gd name="T55" fmla="*/ 245 h 260"/>
                <a:gd name="T56" fmla="*/ 85 w 155"/>
                <a:gd name="T57" fmla="*/ 235 h 260"/>
                <a:gd name="T58" fmla="*/ 99 w 155"/>
                <a:gd name="T59" fmla="*/ 232 h 260"/>
                <a:gd name="T60" fmla="*/ 104 w 155"/>
                <a:gd name="T61" fmla="*/ 221 h 260"/>
                <a:gd name="T62" fmla="*/ 113 w 155"/>
                <a:gd name="T63" fmla="*/ 218 h 260"/>
                <a:gd name="T64" fmla="*/ 119 w 155"/>
                <a:gd name="T65" fmla="*/ 206 h 260"/>
                <a:gd name="T66" fmla="*/ 129 w 155"/>
                <a:gd name="T67" fmla="*/ 196 h 260"/>
                <a:gd name="T68" fmla="*/ 136 w 155"/>
                <a:gd name="T69" fmla="*/ 194 h 260"/>
                <a:gd name="T70" fmla="*/ 139 w 155"/>
                <a:gd name="T71" fmla="*/ 189 h 260"/>
                <a:gd name="T72" fmla="*/ 139 w 155"/>
                <a:gd name="T73" fmla="*/ 182 h 260"/>
                <a:gd name="T74" fmla="*/ 133 w 155"/>
                <a:gd name="T75" fmla="*/ 179 h 260"/>
                <a:gd name="T76" fmla="*/ 129 w 155"/>
                <a:gd name="T77" fmla="*/ 168 h 260"/>
                <a:gd name="T78" fmla="*/ 118 w 155"/>
                <a:gd name="T79" fmla="*/ 163 h 260"/>
                <a:gd name="T80" fmla="*/ 120 w 155"/>
                <a:gd name="T81" fmla="*/ 154 h 260"/>
                <a:gd name="T82" fmla="*/ 131 w 155"/>
                <a:gd name="T83" fmla="*/ 153 h 260"/>
                <a:gd name="T84" fmla="*/ 135 w 155"/>
                <a:gd name="T85" fmla="*/ 139 h 260"/>
                <a:gd name="T86" fmla="*/ 144 w 155"/>
                <a:gd name="T87" fmla="*/ 123 h 260"/>
                <a:gd name="T88" fmla="*/ 152 w 155"/>
                <a:gd name="T89" fmla="*/ 119 h 260"/>
                <a:gd name="T90" fmla="*/ 154 w 155"/>
                <a:gd name="T91" fmla="*/ 77 h 260"/>
                <a:gd name="T92" fmla="*/ 145 w 155"/>
                <a:gd name="T93" fmla="*/ 75 h 260"/>
                <a:gd name="T94" fmla="*/ 120 w 155"/>
                <a:gd name="T95" fmla="*/ 57 h 260"/>
                <a:gd name="T96" fmla="*/ 111 w 155"/>
                <a:gd name="T97" fmla="*/ 52 h 260"/>
                <a:gd name="T98" fmla="*/ 89 w 155"/>
                <a:gd name="T99" fmla="*/ 41 h 260"/>
                <a:gd name="T100" fmla="*/ 81 w 155"/>
                <a:gd name="T101" fmla="*/ 28 h 260"/>
                <a:gd name="T102" fmla="*/ 57 w 155"/>
                <a:gd name="T103" fmla="*/ 24 h 260"/>
                <a:gd name="T104" fmla="*/ 52 w 155"/>
                <a:gd name="T105" fmla="*/ 12 h 260"/>
                <a:gd name="T106" fmla="*/ 38 w 155"/>
                <a:gd name="T107" fmla="*/ 7 h 260"/>
                <a:gd name="T108" fmla="*/ 38 w 155"/>
                <a:gd name="T109" fmla="*/ 2 h 260"/>
                <a:gd name="T110" fmla="*/ 24 w 155"/>
                <a:gd name="T111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5" h="260">
                  <a:moveTo>
                    <a:pt x="24" y="0"/>
                  </a:moveTo>
                  <a:lnTo>
                    <a:pt x="26" y="8"/>
                  </a:lnTo>
                  <a:lnTo>
                    <a:pt x="29" y="14"/>
                  </a:lnTo>
                  <a:lnTo>
                    <a:pt x="36" y="30"/>
                  </a:lnTo>
                  <a:lnTo>
                    <a:pt x="30" y="108"/>
                  </a:lnTo>
                  <a:lnTo>
                    <a:pt x="20" y="112"/>
                  </a:lnTo>
                  <a:lnTo>
                    <a:pt x="15" y="121"/>
                  </a:lnTo>
                  <a:lnTo>
                    <a:pt x="5" y="127"/>
                  </a:lnTo>
                  <a:lnTo>
                    <a:pt x="0" y="135"/>
                  </a:lnTo>
                  <a:lnTo>
                    <a:pt x="0" y="149"/>
                  </a:lnTo>
                  <a:lnTo>
                    <a:pt x="6" y="148"/>
                  </a:lnTo>
                  <a:lnTo>
                    <a:pt x="8" y="158"/>
                  </a:lnTo>
                  <a:lnTo>
                    <a:pt x="13" y="166"/>
                  </a:lnTo>
                  <a:lnTo>
                    <a:pt x="19" y="180"/>
                  </a:lnTo>
                  <a:lnTo>
                    <a:pt x="19" y="188"/>
                  </a:lnTo>
                  <a:lnTo>
                    <a:pt x="14" y="191"/>
                  </a:lnTo>
                  <a:lnTo>
                    <a:pt x="17" y="194"/>
                  </a:lnTo>
                  <a:lnTo>
                    <a:pt x="19" y="202"/>
                  </a:lnTo>
                  <a:lnTo>
                    <a:pt x="25" y="210"/>
                  </a:lnTo>
                  <a:lnTo>
                    <a:pt x="24" y="218"/>
                  </a:lnTo>
                  <a:lnTo>
                    <a:pt x="17" y="221"/>
                  </a:lnTo>
                  <a:lnTo>
                    <a:pt x="18" y="229"/>
                  </a:lnTo>
                  <a:lnTo>
                    <a:pt x="29" y="243"/>
                  </a:lnTo>
                  <a:lnTo>
                    <a:pt x="36" y="259"/>
                  </a:lnTo>
                  <a:lnTo>
                    <a:pt x="45" y="254"/>
                  </a:lnTo>
                  <a:lnTo>
                    <a:pt x="58" y="256"/>
                  </a:lnTo>
                  <a:lnTo>
                    <a:pt x="63" y="246"/>
                  </a:lnTo>
                  <a:lnTo>
                    <a:pt x="79" y="245"/>
                  </a:lnTo>
                  <a:lnTo>
                    <a:pt x="85" y="235"/>
                  </a:lnTo>
                  <a:lnTo>
                    <a:pt x="99" y="232"/>
                  </a:lnTo>
                  <a:lnTo>
                    <a:pt x="104" y="221"/>
                  </a:lnTo>
                  <a:lnTo>
                    <a:pt x="113" y="218"/>
                  </a:lnTo>
                  <a:lnTo>
                    <a:pt x="119" y="206"/>
                  </a:lnTo>
                  <a:lnTo>
                    <a:pt x="129" y="196"/>
                  </a:lnTo>
                  <a:lnTo>
                    <a:pt x="136" y="194"/>
                  </a:lnTo>
                  <a:lnTo>
                    <a:pt x="139" y="189"/>
                  </a:lnTo>
                  <a:lnTo>
                    <a:pt x="139" y="182"/>
                  </a:lnTo>
                  <a:lnTo>
                    <a:pt x="133" y="179"/>
                  </a:lnTo>
                  <a:lnTo>
                    <a:pt x="129" y="168"/>
                  </a:lnTo>
                  <a:lnTo>
                    <a:pt x="118" y="163"/>
                  </a:lnTo>
                  <a:lnTo>
                    <a:pt x="120" y="154"/>
                  </a:lnTo>
                  <a:lnTo>
                    <a:pt x="131" y="153"/>
                  </a:lnTo>
                  <a:lnTo>
                    <a:pt x="135" y="139"/>
                  </a:lnTo>
                  <a:lnTo>
                    <a:pt x="144" y="123"/>
                  </a:lnTo>
                  <a:lnTo>
                    <a:pt x="152" y="119"/>
                  </a:lnTo>
                  <a:lnTo>
                    <a:pt x="154" y="77"/>
                  </a:lnTo>
                  <a:lnTo>
                    <a:pt x="145" y="75"/>
                  </a:lnTo>
                  <a:lnTo>
                    <a:pt x="120" y="57"/>
                  </a:lnTo>
                  <a:lnTo>
                    <a:pt x="111" y="52"/>
                  </a:lnTo>
                  <a:lnTo>
                    <a:pt x="89" y="41"/>
                  </a:lnTo>
                  <a:lnTo>
                    <a:pt x="81" y="28"/>
                  </a:lnTo>
                  <a:lnTo>
                    <a:pt x="57" y="24"/>
                  </a:lnTo>
                  <a:lnTo>
                    <a:pt x="52" y="12"/>
                  </a:lnTo>
                  <a:lnTo>
                    <a:pt x="38" y="7"/>
                  </a:lnTo>
                  <a:lnTo>
                    <a:pt x="38" y="2"/>
                  </a:lnTo>
                  <a:lnTo>
                    <a:pt x="24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xmlns="" id="{0BE2A57A-9E64-41D0-85FF-1B43F5DAE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025" y="3563322"/>
              <a:ext cx="293640" cy="250917"/>
            </a:xfrm>
            <a:custGeom>
              <a:avLst/>
              <a:gdLst>
                <a:gd name="T0" fmla="*/ 50 w 221"/>
                <a:gd name="T1" fmla="*/ 186 h 188"/>
                <a:gd name="T2" fmla="*/ 55 w 221"/>
                <a:gd name="T3" fmla="*/ 179 h 188"/>
                <a:gd name="T4" fmla="*/ 60 w 221"/>
                <a:gd name="T5" fmla="*/ 168 h 188"/>
                <a:gd name="T6" fmla="*/ 73 w 221"/>
                <a:gd name="T7" fmla="*/ 164 h 188"/>
                <a:gd name="T8" fmla="*/ 84 w 221"/>
                <a:gd name="T9" fmla="*/ 166 h 188"/>
                <a:gd name="T10" fmla="*/ 91 w 221"/>
                <a:gd name="T11" fmla="*/ 176 h 188"/>
                <a:gd name="T12" fmla="*/ 92 w 221"/>
                <a:gd name="T13" fmla="*/ 169 h 188"/>
                <a:gd name="T14" fmla="*/ 109 w 221"/>
                <a:gd name="T15" fmla="*/ 168 h 188"/>
                <a:gd name="T16" fmla="*/ 120 w 221"/>
                <a:gd name="T17" fmla="*/ 167 h 188"/>
                <a:gd name="T18" fmla="*/ 128 w 221"/>
                <a:gd name="T19" fmla="*/ 175 h 188"/>
                <a:gd name="T20" fmla="*/ 140 w 221"/>
                <a:gd name="T21" fmla="*/ 176 h 188"/>
                <a:gd name="T22" fmla="*/ 142 w 221"/>
                <a:gd name="T23" fmla="*/ 168 h 188"/>
                <a:gd name="T24" fmla="*/ 160 w 221"/>
                <a:gd name="T25" fmla="*/ 168 h 188"/>
                <a:gd name="T26" fmla="*/ 168 w 221"/>
                <a:gd name="T27" fmla="*/ 176 h 188"/>
                <a:gd name="T28" fmla="*/ 175 w 221"/>
                <a:gd name="T29" fmla="*/ 168 h 188"/>
                <a:gd name="T30" fmla="*/ 185 w 221"/>
                <a:gd name="T31" fmla="*/ 162 h 188"/>
                <a:gd name="T32" fmla="*/ 185 w 221"/>
                <a:gd name="T33" fmla="*/ 148 h 188"/>
                <a:gd name="T34" fmla="*/ 190 w 221"/>
                <a:gd name="T35" fmla="*/ 140 h 188"/>
                <a:gd name="T36" fmla="*/ 200 w 221"/>
                <a:gd name="T37" fmla="*/ 134 h 188"/>
                <a:gd name="T38" fmla="*/ 205 w 221"/>
                <a:gd name="T39" fmla="*/ 125 h 188"/>
                <a:gd name="T40" fmla="*/ 215 w 221"/>
                <a:gd name="T41" fmla="*/ 122 h 188"/>
                <a:gd name="T42" fmla="*/ 220 w 221"/>
                <a:gd name="T43" fmla="*/ 43 h 188"/>
                <a:gd name="T44" fmla="*/ 213 w 221"/>
                <a:gd name="T45" fmla="*/ 27 h 188"/>
                <a:gd name="T46" fmla="*/ 211 w 221"/>
                <a:gd name="T47" fmla="*/ 21 h 188"/>
                <a:gd name="T48" fmla="*/ 208 w 221"/>
                <a:gd name="T49" fmla="*/ 13 h 188"/>
                <a:gd name="T50" fmla="*/ 200 w 221"/>
                <a:gd name="T51" fmla="*/ 9 h 188"/>
                <a:gd name="T52" fmla="*/ 182 w 221"/>
                <a:gd name="T53" fmla="*/ 8 h 188"/>
                <a:gd name="T54" fmla="*/ 181 w 221"/>
                <a:gd name="T55" fmla="*/ 0 h 188"/>
                <a:gd name="T56" fmla="*/ 162 w 221"/>
                <a:gd name="T57" fmla="*/ 0 h 188"/>
                <a:gd name="T58" fmla="*/ 157 w 221"/>
                <a:gd name="T59" fmla="*/ 7 h 188"/>
                <a:gd name="T60" fmla="*/ 143 w 221"/>
                <a:gd name="T61" fmla="*/ 13 h 188"/>
                <a:gd name="T62" fmla="*/ 131 w 221"/>
                <a:gd name="T63" fmla="*/ 23 h 188"/>
                <a:gd name="T64" fmla="*/ 124 w 221"/>
                <a:gd name="T65" fmla="*/ 33 h 188"/>
                <a:gd name="T66" fmla="*/ 102 w 221"/>
                <a:gd name="T67" fmla="*/ 41 h 188"/>
                <a:gd name="T68" fmla="*/ 99 w 221"/>
                <a:gd name="T69" fmla="*/ 50 h 188"/>
                <a:gd name="T70" fmla="*/ 91 w 221"/>
                <a:gd name="T71" fmla="*/ 55 h 188"/>
                <a:gd name="T72" fmla="*/ 81 w 221"/>
                <a:gd name="T73" fmla="*/ 66 h 188"/>
                <a:gd name="T74" fmla="*/ 57 w 221"/>
                <a:gd name="T75" fmla="*/ 68 h 188"/>
                <a:gd name="T76" fmla="*/ 55 w 221"/>
                <a:gd name="T77" fmla="*/ 76 h 188"/>
                <a:gd name="T78" fmla="*/ 58 w 221"/>
                <a:gd name="T79" fmla="*/ 123 h 188"/>
                <a:gd name="T80" fmla="*/ 48 w 221"/>
                <a:gd name="T81" fmla="*/ 125 h 188"/>
                <a:gd name="T82" fmla="*/ 48 w 221"/>
                <a:gd name="T83" fmla="*/ 133 h 188"/>
                <a:gd name="T84" fmla="*/ 11 w 221"/>
                <a:gd name="T85" fmla="*/ 139 h 188"/>
                <a:gd name="T86" fmla="*/ 0 w 221"/>
                <a:gd name="T87" fmla="*/ 146 h 188"/>
                <a:gd name="T88" fmla="*/ 4 w 221"/>
                <a:gd name="T89" fmla="*/ 155 h 188"/>
                <a:gd name="T90" fmla="*/ 13 w 221"/>
                <a:gd name="T91" fmla="*/ 160 h 188"/>
                <a:gd name="T92" fmla="*/ 14 w 221"/>
                <a:gd name="T93" fmla="*/ 175 h 188"/>
                <a:gd name="T94" fmla="*/ 24 w 221"/>
                <a:gd name="T95" fmla="*/ 176 h 188"/>
                <a:gd name="T96" fmla="*/ 32 w 221"/>
                <a:gd name="T97" fmla="*/ 187 h 188"/>
                <a:gd name="T98" fmla="*/ 45 w 221"/>
                <a:gd name="T99" fmla="*/ 186 h 188"/>
                <a:gd name="T100" fmla="*/ 50 w 221"/>
                <a:gd name="T101" fmla="*/ 18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1" h="188">
                  <a:moveTo>
                    <a:pt x="50" y="186"/>
                  </a:moveTo>
                  <a:lnTo>
                    <a:pt x="55" y="179"/>
                  </a:lnTo>
                  <a:lnTo>
                    <a:pt x="60" y="168"/>
                  </a:lnTo>
                  <a:lnTo>
                    <a:pt x="73" y="164"/>
                  </a:lnTo>
                  <a:lnTo>
                    <a:pt x="84" y="166"/>
                  </a:lnTo>
                  <a:lnTo>
                    <a:pt x="91" y="176"/>
                  </a:lnTo>
                  <a:lnTo>
                    <a:pt x="92" y="169"/>
                  </a:lnTo>
                  <a:lnTo>
                    <a:pt x="109" y="168"/>
                  </a:lnTo>
                  <a:lnTo>
                    <a:pt x="120" y="167"/>
                  </a:lnTo>
                  <a:lnTo>
                    <a:pt x="128" y="175"/>
                  </a:lnTo>
                  <a:lnTo>
                    <a:pt x="140" y="176"/>
                  </a:lnTo>
                  <a:lnTo>
                    <a:pt x="142" y="168"/>
                  </a:lnTo>
                  <a:lnTo>
                    <a:pt x="160" y="168"/>
                  </a:lnTo>
                  <a:lnTo>
                    <a:pt x="168" y="176"/>
                  </a:lnTo>
                  <a:lnTo>
                    <a:pt x="175" y="168"/>
                  </a:lnTo>
                  <a:lnTo>
                    <a:pt x="185" y="162"/>
                  </a:lnTo>
                  <a:lnTo>
                    <a:pt x="185" y="148"/>
                  </a:lnTo>
                  <a:lnTo>
                    <a:pt x="190" y="140"/>
                  </a:lnTo>
                  <a:lnTo>
                    <a:pt x="200" y="134"/>
                  </a:lnTo>
                  <a:lnTo>
                    <a:pt x="205" y="125"/>
                  </a:lnTo>
                  <a:lnTo>
                    <a:pt x="215" y="122"/>
                  </a:lnTo>
                  <a:lnTo>
                    <a:pt x="220" y="43"/>
                  </a:lnTo>
                  <a:lnTo>
                    <a:pt x="213" y="27"/>
                  </a:lnTo>
                  <a:lnTo>
                    <a:pt x="211" y="21"/>
                  </a:lnTo>
                  <a:lnTo>
                    <a:pt x="208" y="13"/>
                  </a:lnTo>
                  <a:lnTo>
                    <a:pt x="200" y="9"/>
                  </a:lnTo>
                  <a:lnTo>
                    <a:pt x="182" y="8"/>
                  </a:lnTo>
                  <a:lnTo>
                    <a:pt x="181" y="0"/>
                  </a:lnTo>
                  <a:lnTo>
                    <a:pt x="162" y="0"/>
                  </a:lnTo>
                  <a:lnTo>
                    <a:pt x="157" y="7"/>
                  </a:lnTo>
                  <a:lnTo>
                    <a:pt x="143" y="13"/>
                  </a:lnTo>
                  <a:lnTo>
                    <a:pt x="131" y="23"/>
                  </a:lnTo>
                  <a:lnTo>
                    <a:pt x="124" y="33"/>
                  </a:lnTo>
                  <a:lnTo>
                    <a:pt x="102" y="41"/>
                  </a:lnTo>
                  <a:lnTo>
                    <a:pt x="99" y="50"/>
                  </a:lnTo>
                  <a:lnTo>
                    <a:pt x="91" y="55"/>
                  </a:lnTo>
                  <a:lnTo>
                    <a:pt x="81" y="66"/>
                  </a:lnTo>
                  <a:lnTo>
                    <a:pt x="57" y="68"/>
                  </a:lnTo>
                  <a:lnTo>
                    <a:pt x="55" y="76"/>
                  </a:lnTo>
                  <a:lnTo>
                    <a:pt x="58" y="123"/>
                  </a:lnTo>
                  <a:lnTo>
                    <a:pt x="48" y="125"/>
                  </a:lnTo>
                  <a:lnTo>
                    <a:pt x="48" y="133"/>
                  </a:lnTo>
                  <a:lnTo>
                    <a:pt x="11" y="139"/>
                  </a:lnTo>
                  <a:lnTo>
                    <a:pt x="0" y="146"/>
                  </a:lnTo>
                  <a:lnTo>
                    <a:pt x="4" y="155"/>
                  </a:lnTo>
                  <a:lnTo>
                    <a:pt x="13" y="160"/>
                  </a:lnTo>
                  <a:lnTo>
                    <a:pt x="14" y="175"/>
                  </a:lnTo>
                  <a:lnTo>
                    <a:pt x="24" y="176"/>
                  </a:lnTo>
                  <a:lnTo>
                    <a:pt x="32" y="187"/>
                  </a:lnTo>
                  <a:lnTo>
                    <a:pt x="45" y="186"/>
                  </a:lnTo>
                  <a:lnTo>
                    <a:pt x="50" y="18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4" name="Freeform 234">
              <a:extLst>
                <a:ext uri="{FF2B5EF4-FFF2-40B4-BE49-F238E27FC236}">
                  <a16:creationId xmlns:a16="http://schemas.microsoft.com/office/drawing/2014/main" xmlns="" id="{0BC3FC2B-8F97-46EA-B67C-DB1921931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180" y="3336188"/>
              <a:ext cx="79651" cy="98702"/>
            </a:xfrm>
            <a:custGeom>
              <a:avLst/>
              <a:gdLst>
                <a:gd name="T0" fmla="*/ 18 w 60"/>
                <a:gd name="T1" fmla="*/ 72 h 73"/>
                <a:gd name="T2" fmla="*/ 31 w 60"/>
                <a:gd name="T3" fmla="*/ 59 h 73"/>
                <a:gd name="T4" fmla="*/ 44 w 60"/>
                <a:gd name="T5" fmla="*/ 49 h 73"/>
                <a:gd name="T6" fmla="*/ 44 w 60"/>
                <a:gd name="T7" fmla="*/ 29 h 73"/>
                <a:gd name="T8" fmla="*/ 59 w 60"/>
                <a:gd name="T9" fmla="*/ 15 h 73"/>
                <a:gd name="T10" fmla="*/ 50 w 60"/>
                <a:gd name="T11" fmla="*/ 0 h 73"/>
                <a:gd name="T12" fmla="*/ 32 w 60"/>
                <a:gd name="T13" fmla="*/ 14 h 73"/>
                <a:gd name="T14" fmla="*/ 13 w 60"/>
                <a:gd name="T15" fmla="*/ 12 h 73"/>
                <a:gd name="T16" fmla="*/ 3 w 60"/>
                <a:gd name="T17" fmla="*/ 3 h 73"/>
                <a:gd name="T18" fmla="*/ 3 w 60"/>
                <a:gd name="T19" fmla="*/ 36 h 73"/>
                <a:gd name="T20" fmla="*/ 0 w 60"/>
                <a:gd name="T21" fmla="*/ 54 h 73"/>
                <a:gd name="T22" fmla="*/ 0 w 60"/>
                <a:gd name="T23" fmla="*/ 72 h 73"/>
                <a:gd name="T24" fmla="*/ 18 w 60"/>
                <a:gd name="T25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73">
                  <a:moveTo>
                    <a:pt x="18" y="72"/>
                  </a:moveTo>
                  <a:lnTo>
                    <a:pt x="31" y="59"/>
                  </a:lnTo>
                  <a:lnTo>
                    <a:pt x="44" y="49"/>
                  </a:lnTo>
                  <a:lnTo>
                    <a:pt x="44" y="29"/>
                  </a:lnTo>
                  <a:lnTo>
                    <a:pt x="59" y="15"/>
                  </a:lnTo>
                  <a:lnTo>
                    <a:pt x="50" y="0"/>
                  </a:lnTo>
                  <a:lnTo>
                    <a:pt x="32" y="14"/>
                  </a:lnTo>
                  <a:lnTo>
                    <a:pt x="13" y="12"/>
                  </a:lnTo>
                  <a:lnTo>
                    <a:pt x="3" y="3"/>
                  </a:lnTo>
                  <a:lnTo>
                    <a:pt x="3" y="36"/>
                  </a:lnTo>
                  <a:lnTo>
                    <a:pt x="0" y="54"/>
                  </a:lnTo>
                  <a:lnTo>
                    <a:pt x="0" y="72"/>
                  </a:lnTo>
                  <a:lnTo>
                    <a:pt x="18" y="7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xmlns="" id="{D8EF03B0-5B02-4329-A244-B2832CD8D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1369" y="3244621"/>
              <a:ext cx="116505" cy="111783"/>
            </a:xfrm>
            <a:custGeom>
              <a:avLst/>
              <a:gdLst>
                <a:gd name="T0" fmla="*/ 0 w 87"/>
                <a:gd name="T1" fmla="*/ 70 h 82"/>
                <a:gd name="T2" fmla="*/ 10 w 87"/>
                <a:gd name="T3" fmla="*/ 79 h 82"/>
                <a:gd name="T4" fmla="*/ 30 w 87"/>
                <a:gd name="T5" fmla="*/ 81 h 82"/>
                <a:gd name="T6" fmla="*/ 48 w 87"/>
                <a:gd name="T7" fmla="*/ 68 h 82"/>
                <a:gd name="T8" fmla="*/ 64 w 87"/>
                <a:gd name="T9" fmla="*/ 59 h 82"/>
                <a:gd name="T10" fmla="*/ 83 w 87"/>
                <a:gd name="T11" fmla="*/ 48 h 82"/>
                <a:gd name="T12" fmla="*/ 85 w 87"/>
                <a:gd name="T13" fmla="*/ 34 h 82"/>
                <a:gd name="T14" fmla="*/ 86 w 87"/>
                <a:gd name="T15" fmla="*/ 15 h 82"/>
                <a:gd name="T16" fmla="*/ 81 w 87"/>
                <a:gd name="T17" fmla="*/ 0 h 82"/>
                <a:gd name="T18" fmla="*/ 61 w 87"/>
                <a:gd name="T19" fmla="*/ 4 h 82"/>
                <a:gd name="T20" fmla="*/ 45 w 87"/>
                <a:gd name="T21" fmla="*/ 4 h 82"/>
                <a:gd name="T22" fmla="*/ 22 w 87"/>
                <a:gd name="T23" fmla="*/ 6 h 82"/>
                <a:gd name="T24" fmla="*/ 9 w 87"/>
                <a:gd name="T25" fmla="*/ 9 h 82"/>
                <a:gd name="T26" fmla="*/ 5 w 87"/>
                <a:gd name="T27" fmla="*/ 23 h 82"/>
                <a:gd name="T28" fmla="*/ 9 w 87"/>
                <a:gd name="T29" fmla="*/ 38 h 82"/>
                <a:gd name="T30" fmla="*/ 22 w 87"/>
                <a:gd name="T31" fmla="*/ 48 h 82"/>
                <a:gd name="T32" fmla="*/ 15 w 87"/>
                <a:gd name="T33" fmla="*/ 63 h 82"/>
                <a:gd name="T34" fmla="*/ 0 w 87"/>
                <a:gd name="T35" fmla="*/ 7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82">
                  <a:moveTo>
                    <a:pt x="0" y="70"/>
                  </a:moveTo>
                  <a:lnTo>
                    <a:pt x="10" y="79"/>
                  </a:lnTo>
                  <a:lnTo>
                    <a:pt x="30" y="81"/>
                  </a:lnTo>
                  <a:lnTo>
                    <a:pt x="48" y="68"/>
                  </a:lnTo>
                  <a:lnTo>
                    <a:pt x="64" y="59"/>
                  </a:lnTo>
                  <a:lnTo>
                    <a:pt x="83" y="48"/>
                  </a:lnTo>
                  <a:lnTo>
                    <a:pt x="85" y="34"/>
                  </a:lnTo>
                  <a:lnTo>
                    <a:pt x="86" y="15"/>
                  </a:lnTo>
                  <a:lnTo>
                    <a:pt x="81" y="0"/>
                  </a:lnTo>
                  <a:lnTo>
                    <a:pt x="61" y="4"/>
                  </a:lnTo>
                  <a:lnTo>
                    <a:pt x="45" y="4"/>
                  </a:lnTo>
                  <a:lnTo>
                    <a:pt x="22" y="6"/>
                  </a:lnTo>
                  <a:lnTo>
                    <a:pt x="9" y="9"/>
                  </a:lnTo>
                  <a:lnTo>
                    <a:pt x="5" y="23"/>
                  </a:lnTo>
                  <a:lnTo>
                    <a:pt x="9" y="38"/>
                  </a:lnTo>
                  <a:lnTo>
                    <a:pt x="22" y="48"/>
                  </a:lnTo>
                  <a:lnTo>
                    <a:pt x="15" y="63"/>
                  </a:lnTo>
                  <a:lnTo>
                    <a:pt x="0" y="7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6" name="Freeform 236">
              <a:extLst>
                <a:ext uri="{FF2B5EF4-FFF2-40B4-BE49-F238E27FC236}">
                  <a16:creationId xmlns:a16="http://schemas.microsoft.com/office/drawing/2014/main" xmlns="" id="{B9BC2D8E-DBE8-485D-9BCE-1FB53584F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466" y="3212513"/>
              <a:ext cx="255598" cy="229512"/>
            </a:xfrm>
            <a:custGeom>
              <a:avLst/>
              <a:gdLst>
                <a:gd name="T0" fmla="*/ 191 w 192"/>
                <a:gd name="T1" fmla="*/ 29 h 173"/>
                <a:gd name="T2" fmla="*/ 160 w 192"/>
                <a:gd name="T3" fmla="*/ 27 h 173"/>
                <a:gd name="T4" fmla="*/ 145 w 192"/>
                <a:gd name="T5" fmla="*/ 20 h 173"/>
                <a:gd name="T6" fmla="*/ 138 w 192"/>
                <a:gd name="T7" fmla="*/ 2 h 173"/>
                <a:gd name="T8" fmla="*/ 130 w 192"/>
                <a:gd name="T9" fmla="*/ 0 h 173"/>
                <a:gd name="T10" fmla="*/ 124 w 192"/>
                <a:gd name="T11" fmla="*/ 13 h 173"/>
                <a:gd name="T12" fmla="*/ 102 w 192"/>
                <a:gd name="T13" fmla="*/ 18 h 173"/>
                <a:gd name="T14" fmla="*/ 93 w 192"/>
                <a:gd name="T15" fmla="*/ 23 h 173"/>
                <a:gd name="T16" fmla="*/ 81 w 192"/>
                <a:gd name="T17" fmla="*/ 18 h 173"/>
                <a:gd name="T18" fmla="*/ 62 w 192"/>
                <a:gd name="T19" fmla="*/ 17 h 173"/>
                <a:gd name="T20" fmla="*/ 54 w 192"/>
                <a:gd name="T21" fmla="*/ 23 h 173"/>
                <a:gd name="T22" fmla="*/ 43 w 192"/>
                <a:gd name="T23" fmla="*/ 25 h 173"/>
                <a:gd name="T24" fmla="*/ 40 w 192"/>
                <a:gd name="T25" fmla="*/ 32 h 173"/>
                <a:gd name="T26" fmla="*/ 30 w 192"/>
                <a:gd name="T27" fmla="*/ 38 h 173"/>
                <a:gd name="T28" fmla="*/ 28 w 192"/>
                <a:gd name="T29" fmla="*/ 51 h 173"/>
                <a:gd name="T30" fmla="*/ 13 w 192"/>
                <a:gd name="T31" fmla="*/ 54 h 173"/>
                <a:gd name="T32" fmla="*/ 0 w 192"/>
                <a:gd name="T33" fmla="*/ 66 h 173"/>
                <a:gd name="T34" fmla="*/ 3 w 192"/>
                <a:gd name="T35" fmla="*/ 88 h 173"/>
                <a:gd name="T36" fmla="*/ 0 w 192"/>
                <a:gd name="T37" fmla="*/ 123 h 173"/>
                <a:gd name="T38" fmla="*/ 17 w 192"/>
                <a:gd name="T39" fmla="*/ 123 h 173"/>
                <a:gd name="T40" fmla="*/ 22 w 192"/>
                <a:gd name="T41" fmla="*/ 140 h 173"/>
                <a:gd name="T42" fmla="*/ 14 w 192"/>
                <a:gd name="T43" fmla="*/ 151 h 173"/>
                <a:gd name="T44" fmla="*/ 14 w 192"/>
                <a:gd name="T45" fmla="*/ 165 h 173"/>
                <a:gd name="T46" fmla="*/ 30 w 192"/>
                <a:gd name="T47" fmla="*/ 172 h 173"/>
                <a:gd name="T48" fmla="*/ 36 w 192"/>
                <a:gd name="T49" fmla="*/ 160 h 173"/>
                <a:gd name="T50" fmla="*/ 77 w 192"/>
                <a:gd name="T51" fmla="*/ 156 h 173"/>
                <a:gd name="T52" fmla="*/ 83 w 192"/>
                <a:gd name="T53" fmla="*/ 140 h 173"/>
                <a:gd name="T54" fmla="*/ 95 w 192"/>
                <a:gd name="T55" fmla="*/ 132 h 173"/>
                <a:gd name="T56" fmla="*/ 111 w 192"/>
                <a:gd name="T57" fmla="*/ 122 h 173"/>
                <a:gd name="T58" fmla="*/ 124 w 192"/>
                <a:gd name="T59" fmla="*/ 121 h 173"/>
                <a:gd name="T60" fmla="*/ 127 w 192"/>
                <a:gd name="T61" fmla="*/ 103 h 173"/>
                <a:gd name="T62" fmla="*/ 138 w 192"/>
                <a:gd name="T63" fmla="*/ 97 h 173"/>
                <a:gd name="T64" fmla="*/ 143 w 192"/>
                <a:gd name="T65" fmla="*/ 82 h 173"/>
                <a:gd name="T66" fmla="*/ 149 w 192"/>
                <a:gd name="T67" fmla="*/ 64 h 173"/>
                <a:gd name="T68" fmla="*/ 153 w 192"/>
                <a:gd name="T69" fmla="*/ 48 h 173"/>
                <a:gd name="T70" fmla="*/ 166 w 192"/>
                <a:gd name="T71" fmla="*/ 43 h 173"/>
                <a:gd name="T72" fmla="*/ 176 w 192"/>
                <a:gd name="T73" fmla="*/ 45 h 173"/>
                <a:gd name="T74" fmla="*/ 188 w 192"/>
                <a:gd name="T75" fmla="*/ 52 h 173"/>
                <a:gd name="T76" fmla="*/ 191 w 192"/>
                <a:gd name="T77" fmla="*/ 2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173">
                  <a:moveTo>
                    <a:pt x="191" y="29"/>
                  </a:moveTo>
                  <a:lnTo>
                    <a:pt x="160" y="27"/>
                  </a:lnTo>
                  <a:lnTo>
                    <a:pt x="145" y="20"/>
                  </a:lnTo>
                  <a:lnTo>
                    <a:pt x="138" y="2"/>
                  </a:lnTo>
                  <a:lnTo>
                    <a:pt x="130" y="0"/>
                  </a:lnTo>
                  <a:lnTo>
                    <a:pt x="124" y="13"/>
                  </a:lnTo>
                  <a:lnTo>
                    <a:pt x="102" y="18"/>
                  </a:lnTo>
                  <a:lnTo>
                    <a:pt x="93" y="23"/>
                  </a:lnTo>
                  <a:lnTo>
                    <a:pt x="81" y="18"/>
                  </a:lnTo>
                  <a:lnTo>
                    <a:pt x="62" y="17"/>
                  </a:lnTo>
                  <a:lnTo>
                    <a:pt x="54" y="23"/>
                  </a:lnTo>
                  <a:lnTo>
                    <a:pt x="43" y="25"/>
                  </a:lnTo>
                  <a:lnTo>
                    <a:pt x="40" y="32"/>
                  </a:lnTo>
                  <a:lnTo>
                    <a:pt x="30" y="38"/>
                  </a:lnTo>
                  <a:lnTo>
                    <a:pt x="28" y="51"/>
                  </a:lnTo>
                  <a:lnTo>
                    <a:pt x="13" y="54"/>
                  </a:lnTo>
                  <a:lnTo>
                    <a:pt x="0" y="66"/>
                  </a:lnTo>
                  <a:lnTo>
                    <a:pt x="3" y="88"/>
                  </a:lnTo>
                  <a:lnTo>
                    <a:pt x="0" y="123"/>
                  </a:lnTo>
                  <a:lnTo>
                    <a:pt x="17" y="123"/>
                  </a:lnTo>
                  <a:lnTo>
                    <a:pt x="22" y="140"/>
                  </a:lnTo>
                  <a:lnTo>
                    <a:pt x="14" y="151"/>
                  </a:lnTo>
                  <a:lnTo>
                    <a:pt x="14" y="165"/>
                  </a:lnTo>
                  <a:lnTo>
                    <a:pt x="30" y="172"/>
                  </a:lnTo>
                  <a:lnTo>
                    <a:pt x="36" y="160"/>
                  </a:lnTo>
                  <a:lnTo>
                    <a:pt x="77" y="156"/>
                  </a:lnTo>
                  <a:lnTo>
                    <a:pt x="83" y="140"/>
                  </a:lnTo>
                  <a:lnTo>
                    <a:pt x="95" y="132"/>
                  </a:lnTo>
                  <a:lnTo>
                    <a:pt x="111" y="122"/>
                  </a:lnTo>
                  <a:lnTo>
                    <a:pt x="124" y="121"/>
                  </a:lnTo>
                  <a:lnTo>
                    <a:pt x="127" y="103"/>
                  </a:lnTo>
                  <a:lnTo>
                    <a:pt x="138" y="97"/>
                  </a:lnTo>
                  <a:lnTo>
                    <a:pt x="143" y="82"/>
                  </a:lnTo>
                  <a:lnTo>
                    <a:pt x="149" y="64"/>
                  </a:lnTo>
                  <a:lnTo>
                    <a:pt x="153" y="48"/>
                  </a:lnTo>
                  <a:lnTo>
                    <a:pt x="166" y="43"/>
                  </a:lnTo>
                  <a:lnTo>
                    <a:pt x="176" y="45"/>
                  </a:lnTo>
                  <a:lnTo>
                    <a:pt x="188" y="52"/>
                  </a:lnTo>
                  <a:lnTo>
                    <a:pt x="191" y="2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7" name="Freeform 237">
              <a:extLst>
                <a:ext uri="{FF2B5EF4-FFF2-40B4-BE49-F238E27FC236}">
                  <a16:creationId xmlns:a16="http://schemas.microsoft.com/office/drawing/2014/main" xmlns="" id="{6DA459CC-5CD1-486D-BF14-3EE3EC8C8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541" y="3128081"/>
              <a:ext cx="244898" cy="173621"/>
            </a:xfrm>
            <a:custGeom>
              <a:avLst/>
              <a:gdLst>
                <a:gd name="T0" fmla="*/ 181 w 184"/>
                <a:gd name="T1" fmla="*/ 82 h 131"/>
                <a:gd name="T2" fmla="*/ 174 w 184"/>
                <a:gd name="T3" fmla="*/ 88 h 131"/>
                <a:gd name="T4" fmla="*/ 163 w 184"/>
                <a:gd name="T5" fmla="*/ 89 h 131"/>
                <a:gd name="T6" fmla="*/ 159 w 184"/>
                <a:gd name="T7" fmla="*/ 97 h 131"/>
                <a:gd name="T8" fmla="*/ 149 w 184"/>
                <a:gd name="T9" fmla="*/ 103 h 131"/>
                <a:gd name="T10" fmla="*/ 147 w 184"/>
                <a:gd name="T11" fmla="*/ 116 h 131"/>
                <a:gd name="T12" fmla="*/ 132 w 184"/>
                <a:gd name="T13" fmla="*/ 119 h 131"/>
                <a:gd name="T14" fmla="*/ 119 w 184"/>
                <a:gd name="T15" fmla="*/ 130 h 131"/>
                <a:gd name="T16" fmla="*/ 124 w 184"/>
                <a:gd name="T17" fmla="*/ 98 h 131"/>
                <a:gd name="T18" fmla="*/ 104 w 184"/>
                <a:gd name="T19" fmla="*/ 88 h 131"/>
                <a:gd name="T20" fmla="*/ 81 w 184"/>
                <a:gd name="T21" fmla="*/ 71 h 131"/>
                <a:gd name="T22" fmla="*/ 66 w 184"/>
                <a:gd name="T23" fmla="*/ 70 h 131"/>
                <a:gd name="T24" fmla="*/ 40 w 184"/>
                <a:gd name="T25" fmla="*/ 65 h 131"/>
                <a:gd name="T26" fmla="*/ 33 w 184"/>
                <a:gd name="T27" fmla="*/ 77 h 131"/>
                <a:gd name="T28" fmla="*/ 19 w 184"/>
                <a:gd name="T29" fmla="*/ 83 h 131"/>
                <a:gd name="T30" fmla="*/ 16 w 184"/>
                <a:gd name="T31" fmla="*/ 65 h 131"/>
                <a:gd name="T32" fmla="*/ 14 w 184"/>
                <a:gd name="T33" fmla="*/ 55 h 131"/>
                <a:gd name="T34" fmla="*/ 11 w 184"/>
                <a:gd name="T35" fmla="*/ 48 h 131"/>
                <a:gd name="T36" fmla="*/ 9 w 184"/>
                <a:gd name="T37" fmla="*/ 31 h 131"/>
                <a:gd name="T38" fmla="*/ 3 w 184"/>
                <a:gd name="T39" fmla="*/ 25 h 131"/>
                <a:gd name="T40" fmla="*/ 7 w 184"/>
                <a:gd name="T41" fmla="*/ 19 h 131"/>
                <a:gd name="T42" fmla="*/ 0 w 184"/>
                <a:gd name="T43" fmla="*/ 14 h 131"/>
                <a:gd name="T44" fmla="*/ 1 w 184"/>
                <a:gd name="T45" fmla="*/ 3 h 131"/>
                <a:gd name="T46" fmla="*/ 16 w 184"/>
                <a:gd name="T47" fmla="*/ 19 h 131"/>
                <a:gd name="T48" fmla="*/ 24 w 184"/>
                <a:gd name="T49" fmla="*/ 6 h 131"/>
                <a:gd name="T50" fmla="*/ 37 w 184"/>
                <a:gd name="T51" fmla="*/ 0 h 131"/>
                <a:gd name="T52" fmla="*/ 49 w 184"/>
                <a:gd name="T53" fmla="*/ 5 h 131"/>
                <a:gd name="T54" fmla="*/ 49 w 184"/>
                <a:gd name="T55" fmla="*/ 14 h 131"/>
                <a:gd name="T56" fmla="*/ 63 w 184"/>
                <a:gd name="T57" fmla="*/ 19 h 131"/>
                <a:gd name="T58" fmla="*/ 81 w 184"/>
                <a:gd name="T59" fmla="*/ 24 h 131"/>
                <a:gd name="T60" fmla="*/ 83 w 184"/>
                <a:gd name="T61" fmla="*/ 14 h 131"/>
                <a:gd name="T62" fmla="*/ 92 w 184"/>
                <a:gd name="T63" fmla="*/ 11 h 131"/>
                <a:gd name="T64" fmla="*/ 102 w 184"/>
                <a:gd name="T65" fmla="*/ 6 h 131"/>
                <a:gd name="T66" fmla="*/ 107 w 184"/>
                <a:gd name="T67" fmla="*/ 14 h 131"/>
                <a:gd name="T68" fmla="*/ 114 w 184"/>
                <a:gd name="T69" fmla="*/ 20 h 131"/>
                <a:gd name="T70" fmla="*/ 111 w 184"/>
                <a:gd name="T71" fmla="*/ 28 h 131"/>
                <a:gd name="T72" fmla="*/ 122 w 184"/>
                <a:gd name="T73" fmla="*/ 31 h 131"/>
                <a:gd name="T74" fmla="*/ 129 w 184"/>
                <a:gd name="T75" fmla="*/ 31 h 131"/>
                <a:gd name="T76" fmla="*/ 137 w 184"/>
                <a:gd name="T77" fmla="*/ 34 h 131"/>
                <a:gd name="T78" fmla="*/ 133 w 184"/>
                <a:gd name="T79" fmla="*/ 46 h 131"/>
                <a:gd name="T80" fmla="*/ 167 w 184"/>
                <a:gd name="T81" fmla="*/ 72 h 131"/>
                <a:gd name="T82" fmla="*/ 175 w 184"/>
                <a:gd name="T83" fmla="*/ 68 h 131"/>
                <a:gd name="T84" fmla="*/ 183 w 184"/>
                <a:gd name="T85" fmla="*/ 71 h 131"/>
                <a:gd name="T86" fmla="*/ 181 w 184"/>
                <a:gd name="T87" fmla="*/ 8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4" h="131">
                  <a:moveTo>
                    <a:pt x="181" y="82"/>
                  </a:moveTo>
                  <a:lnTo>
                    <a:pt x="174" y="88"/>
                  </a:lnTo>
                  <a:lnTo>
                    <a:pt x="163" y="89"/>
                  </a:lnTo>
                  <a:lnTo>
                    <a:pt x="159" y="97"/>
                  </a:lnTo>
                  <a:lnTo>
                    <a:pt x="149" y="103"/>
                  </a:lnTo>
                  <a:lnTo>
                    <a:pt x="147" y="116"/>
                  </a:lnTo>
                  <a:lnTo>
                    <a:pt x="132" y="119"/>
                  </a:lnTo>
                  <a:lnTo>
                    <a:pt x="119" y="130"/>
                  </a:lnTo>
                  <a:lnTo>
                    <a:pt x="124" y="98"/>
                  </a:lnTo>
                  <a:lnTo>
                    <a:pt x="104" y="88"/>
                  </a:lnTo>
                  <a:lnTo>
                    <a:pt x="81" y="71"/>
                  </a:lnTo>
                  <a:lnTo>
                    <a:pt x="66" y="70"/>
                  </a:lnTo>
                  <a:lnTo>
                    <a:pt x="40" y="65"/>
                  </a:lnTo>
                  <a:lnTo>
                    <a:pt x="33" y="77"/>
                  </a:lnTo>
                  <a:lnTo>
                    <a:pt x="19" y="83"/>
                  </a:lnTo>
                  <a:lnTo>
                    <a:pt x="16" y="65"/>
                  </a:lnTo>
                  <a:lnTo>
                    <a:pt x="14" y="55"/>
                  </a:lnTo>
                  <a:lnTo>
                    <a:pt x="11" y="48"/>
                  </a:lnTo>
                  <a:lnTo>
                    <a:pt x="9" y="31"/>
                  </a:lnTo>
                  <a:lnTo>
                    <a:pt x="3" y="25"/>
                  </a:lnTo>
                  <a:lnTo>
                    <a:pt x="7" y="19"/>
                  </a:lnTo>
                  <a:lnTo>
                    <a:pt x="0" y="14"/>
                  </a:lnTo>
                  <a:lnTo>
                    <a:pt x="1" y="3"/>
                  </a:lnTo>
                  <a:lnTo>
                    <a:pt x="16" y="19"/>
                  </a:lnTo>
                  <a:lnTo>
                    <a:pt x="24" y="6"/>
                  </a:lnTo>
                  <a:lnTo>
                    <a:pt x="37" y="0"/>
                  </a:lnTo>
                  <a:lnTo>
                    <a:pt x="49" y="5"/>
                  </a:lnTo>
                  <a:lnTo>
                    <a:pt x="49" y="14"/>
                  </a:lnTo>
                  <a:lnTo>
                    <a:pt x="63" y="19"/>
                  </a:lnTo>
                  <a:lnTo>
                    <a:pt x="81" y="24"/>
                  </a:lnTo>
                  <a:lnTo>
                    <a:pt x="83" y="14"/>
                  </a:lnTo>
                  <a:lnTo>
                    <a:pt x="92" y="11"/>
                  </a:lnTo>
                  <a:lnTo>
                    <a:pt x="102" y="6"/>
                  </a:lnTo>
                  <a:lnTo>
                    <a:pt x="107" y="14"/>
                  </a:lnTo>
                  <a:lnTo>
                    <a:pt x="114" y="20"/>
                  </a:lnTo>
                  <a:lnTo>
                    <a:pt x="111" y="28"/>
                  </a:lnTo>
                  <a:lnTo>
                    <a:pt x="122" y="31"/>
                  </a:lnTo>
                  <a:lnTo>
                    <a:pt x="129" y="31"/>
                  </a:lnTo>
                  <a:lnTo>
                    <a:pt x="137" y="34"/>
                  </a:lnTo>
                  <a:lnTo>
                    <a:pt x="133" y="46"/>
                  </a:lnTo>
                  <a:lnTo>
                    <a:pt x="167" y="72"/>
                  </a:lnTo>
                  <a:lnTo>
                    <a:pt x="175" y="68"/>
                  </a:lnTo>
                  <a:lnTo>
                    <a:pt x="183" y="71"/>
                  </a:lnTo>
                  <a:lnTo>
                    <a:pt x="181" y="8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8" name="Freeform 238">
              <a:extLst>
                <a:ext uri="{FF2B5EF4-FFF2-40B4-BE49-F238E27FC236}">
                  <a16:creationId xmlns:a16="http://schemas.microsoft.com/office/drawing/2014/main" xmlns="" id="{1EF1C13A-5E27-4B43-AD33-4553942C7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4104" y="3150676"/>
              <a:ext cx="154547" cy="101080"/>
            </a:xfrm>
            <a:custGeom>
              <a:avLst/>
              <a:gdLst>
                <a:gd name="T0" fmla="*/ 35 w 117"/>
                <a:gd name="T1" fmla="*/ 9 h 76"/>
                <a:gd name="T2" fmla="*/ 27 w 117"/>
                <a:gd name="T3" fmla="*/ 25 h 76"/>
                <a:gd name="T4" fmla="*/ 15 w 117"/>
                <a:gd name="T5" fmla="*/ 40 h 76"/>
                <a:gd name="T6" fmla="*/ 0 w 117"/>
                <a:gd name="T7" fmla="*/ 69 h 76"/>
                <a:gd name="T8" fmla="*/ 9 w 117"/>
                <a:gd name="T9" fmla="*/ 64 h 76"/>
                <a:gd name="T10" fmla="*/ 31 w 117"/>
                <a:gd name="T11" fmla="*/ 59 h 76"/>
                <a:gd name="T12" fmla="*/ 37 w 117"/>
                <a:gd name="T13" fmla="*/ 46 h 76"/>
                <a:gd name="T14" fmla="*/ 45 w 117"/>
                <a:gd name="T15" fmla="*/ 48 h 76"/>
                <a:gd name="T16" fmla="*/ 52 w 117"/>
                <a:gd name="T17" fmla="*/ 67 h 76"/>
                <a:gd name="T18" fmla="*/ 68 w 117"/>
                <a:gd name="T19" fmla="*/ 73 h 76"/>
                <a:gd name="T20" fmla="*/ 98 w 117"/>
                <a:gd name="T21" fmla="*/ 75 h 76"/>
                <a:gd name="T22" fmla="*/ 98 w 117"/>
                <a:gd name="T23" fmla="*/ 62 h 76"/>
                <a:gd name="T24" fmla="*/ 97 w 117"/>
                <a:gd name="T25" fmla="*/ 64 h 76"/>
                <a:gd name="T26" fmla="*/ 81 w 117"/>
                <a:gd name="T27" fmla="*/ 53 h 76"/>
                <a:gd name="T28" fmla="*/ 83 w 117"/>
                <a:gd name="T29" fmla="*/ 31 h 76"/>
                <a:gd name="T30" fmla="*/ 95 w 117"/>
                <a:gd name="T31" fmla="*/ 23 h 76"/>
                <a:gd name="T32" fmla="*/ 116 w 117"/>
                <a:gd name="T33" fmla="*/ 36 h 76"/>
                <a:gd name="T34" fmla="*/ 102 w 117"/>
                <a:gd name="T35" fmla="*/ 0 h 76"/>
                <a:gd name="T36" fmla="*/ 86 w 117"/>
                <a:gd name="T37" fmla="*/ 13 h 76"/>
                <a:gd name="T38" fmla="*/ 71 w 117"/>
                <a:gd name="T39" fmla="*/ 14 h 76"/>
                <a:gd name="T40" fmla="*/ 35 w 117"/>
                <a:gd name="T41" fmla="*/ 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7" h="76">
                  <a:moveTo>
                    <a:pt x="35" y="9"/>
                  </a:moveTo>
                  <a:lnTo>
                    <a:pt x="27" y="25"/>
                  </a:lnTo>
                  <a:lnTo>
                    <a:pt x="15" y="40"/>
                  </a:lnTo>
                  <a:lnTo>
                    <a:pt x="0" y="69"/>
                  </a:lnTo>
                  <a:lnTo>
                    <a:pt x="9" y="64"/>
                  </a:lnTo>
                  <a:lnTo>
                    <a:pt x="31" y="59"/>
                  </a:lnTo>
                  <a:lnTo>
                    <a:pt x="37" y="46"/>
                  </a:lnTo>
                  <a:lnTo>
                    <a:pt x="45" y="48"/>
                  </a:lnTo>
                  <a:lnTo>
                    <a:pt x="52" y="67"/>
                  </a:lnTo>
                  <a:lnTo>
                    <a:pt x="68" y="73"/>
                  </a:lnTo>
                  <a:lnTo>
                    <a:pt x="98" y="75"/>
                  </a:lnTo>
                  <a:lnTo>
                    <a:pt x="98" y="62"/>
                  </a:lnTo>
                  <a:lnTo>
                    <a:pt x="97" y="64"/>
                  </a:lnTo>
                  <a:lnTo>
                    <a:pt x="81" y="53"/>
                  </a:lnTo>
                  <a:lnTo>
                    <a:pt x="83" y="31"/>
                  </a:lnTo>
                  <a:lnTo>
                    <a:pt x="95" y="23"/>
                  </a:lnTo>
                  <a:lnTo>
                    <a:pt x="116" y="36"/>
                  </a:lnTo>
                  <a:lnTo>
                    <a:pt x="102" y="0"/>
                  </a:lnTo>
                  <a:lnTo>
                    <a:pt x="86" y="13"/>
                  </a:lnTo>
                  <a:lnTo>
                    <a:pt x="71" y="14"/>
                  </a:lnTo>
                  <a:lnTo>
                    <a:pt x="35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9" name="Freeform 239">
              <a:extLst>
                <a:ext uri="{FF2B5EF4-FFF2-40B4-BE49-F238E27FC236}">
                  <a16:creationId xmlns:a16="http://schemas.microsoft.com/office/drawing/2014/main" xmlns="" id="{A9C9644E-5830-45A1-943F-3FD95E38A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127" y="3084082"/>
              <a:ext cx="101050" cy="115351"/>
            </a:xfrm>
            <a:custGeom>
              <a:avLst/>
              <a:gdLst>
                <a:gd name="T0" fmla="*/ 0 w 76"/>
                <a:gd name="T1" fmla="*/ 8 h 87"/>
                <a:gd name="T2" fmla="*/ 5 w 76"/>
                <a:gd name="T3" fmla="*/ 29 h 87"/>
                <a:gd name="T4" fmla="*/ 16 w 76"/>
                <a:gd name="T5" fmla="*/ 51 h 87"/>
                <a:gd name="T6" fmla="*/ 29 w 76"/>
                <a:gd name="T7" fmla="*/ 77 h 87"/>
                <a:gd name="T8" fmla="*/ 18 w 76"/>
                <a:gd name="T9" fmla="*/ 84 h 87"/>
                <a:gd name="T10" fmla="*/ 37 w 76"/>
                <a:gd name="T11" fmla="*/ 84 h 87"/>
                <a:gd name="T12" fmla="*/ 40 w 76"/>
                <a:gd name="T13" fmla="*/ 73 h 87"/>
                <a:gd name="T14" fmla="*/ 49 w 76"/>
                <a:gd name="T15" fmla="*/ 67 h 87"/>
                <a:gd name="T16" fmla="*/ 55 w 76"/>
                <a:gd name="T17" fmla="*/ 86 h 87"/>
                <a:gd name="T18" fmla="*/ 62 w 76"/>
                <a:gd name="T19" fmla="*/ 79 h 87"/>
                <a:gd name="T20" fmla="*/ 66 w 76"/>
                <a:gd name="T21" fmla="*/ 65 h 87"/>
                <a:gd name="T22" fmla="*/ 75 w 76"/>
                <a:gd name="T23" fmla="*/ 62 h 87"/>
                <a:gd name="T24" fmla="*/ 73 w 76"/>
                <a:gd name="T25" fmla="*/ 52 h 87"/>
                <a:gd name="T26" fmla="*/ 58 w 76"/>
                <a:gd name="T27" fmla="*/ 43 h 87"/>
                <a:gd name="T28" fmla="*/ 44 w 76"/>
                <a:gd name="T29" fmla="*/ 28 h 87"/>
                <a:gd name="T30" fmla="*/ 29 w 76"/>
                <a:gd name="T31" fmla="*/ 0 h 87"/>
                <a:gd name="T32" fmla="*/ 0 w 76"/>
                <a:gd name="T33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87">
                  <a:moveTo>
                    <a:pt x="0" y="8"/>
                  </a:moveTo>
                  <a:lnTo>
                    <a:pt x="5" y="29"/>
                  </a:lnTo>
                  <a:lnTo>
                    <a:pt x="16" y="51"/>
                  </a:lnTo>
                  <a:lnTo>
                    <a:pt x="29" y="77"/>
                  </a:lnTo>
                  <a:lnTo>
                    <a:pt x="18" y="84"/>
                  </a:lnTo>
                  <a:lnTo>
                    <a:pt x="37" y="84"/>
                  </a:lnTo>
                  <a:lnTo>
                    <a:pt x="40" y="73"/>
                  </a:lnTo>
                  <a:lnTo>
                    <a:pt x="49" y="67"/>
                  </a:lnTo>
                  <a:lnTo>
                    <a:pt x="55" y="86"/>
                  </a:lnTo>
                  <a:lnTo>
                    <a:pt x="62" y="79"/>
                  </a:lnTo>
                  <a:lnTo>
                    <a:pt x="66" y="65"/>
                  </a:lnTo>
                  <a:lnTo>
                    <a:pt x="75" y="62"/>
                  </a:lnTo>
                  <a:lnTo>
                    <a:pt x="73" y="52"/>
                  </a:lnTo>
                  <a:lnTo>
                    <a:pt x="58" y="43"/>
                  </a:lnTo>
                  <a:lnTo>
                    <a:pt x="44" y="28"/>
                  </a:lnTo>
                  <a:lnTo>
                    <a:pt x="29" y="0"/>
                  </a:lnTo>
                  <a:lnTo>
                    <a:pt x="0" y="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0" name="Freeform 240">
              <a:extLst>
                <a:ext uri="{FF2B5EF4-FFF2-40B4-BE49-F238E27FC236}">
                  <a16:creationId xmlns:a16="http://schemas.microsoft.com/office/drawing/2014/main" xmlns="" id="{2F472392-5311-40B1-9EDA-53DDA759D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588" y="2952082"/>
              <a:ext cx="120071" cy="66594"/>
            </a:xfrm>
            <a:custGeom>
              <a:avLst/>
              <a:gdLst>
                <a:gd name="T0" fmla="*/ 88 w 89"/>
                <a:gd name="T1" fmla="*/ 13 h 50"/>
                <a:gd name="T2" fmla="*/ 76 w 89"/>
                <a:gd name="T3" fmla="*/ 3 h 50"/>
                <a:gd name="T4" fmla="*/ 69 w 89"/>
                <a:gd name="T5" fmla="*/ 0 h 50"/>
                <a:gd name="T6" fmla="*/ 46 w 89"/>
                <a:gd name="T7" fmla="*/ 5 h 50"/>
                <a:gd name="T8" fmla="*/ 30 w 89"/>
                <a:gd name="T9" fmla="*/ 5 h 50"/>
                <a:gd name="T10" fmla="*/ 9 w 89"/>
                <a:gd name="T11" fmla="*/ 2 h 50"/>
                <a:gd name="T12" fmla="*/ 11 w 89"/>
                <a:gd name="T13" fmla="*/ 16 h 50"/>
                <a:gd name="T14" fmla="*/ 5 w 89"/>
                <a:gd name="T15" fmla="*/ 25 h 50"/>
                <a:gd name="T16" fmla="*/ 5 w 89"/>
                <a:gd name="T17" fmla="*/ 29 h 50"/>
                <a:gd name="T18" fmla="*/ 0 w 89"/>
                <a:gd name="T19" fmla="*/ 35 h 50"/>
                <a:gd name="T20" fmla="*/ 6 w 89"/>
                <a:gd name="T21" fmla="*/ 37 h 50"/>
                <a:gd name="T22" fmla="*/ 21 w 89"/>
                <a:gd name="T23" fmla="*/ 46 h 50"/>
                <a:gd name="T24" fmla="*/ 38 w 89"/>
                <a:gd name="T25" fmla="*/ 49 h 50"/>
                <a:gd name="T26" fmla="*/ 47 w 89"/>
                <a:gd name="T27" fmla="*/ 41 h 50"/>
                <a:gd name="T28" fmla="*/ 58 w 89"/>
                <a:gd name="T29" fmla="*/ 42 h 50"/>
                <a:gd name="T30" fmla="*/ 71 w 89"/>
                <a:gd name="T31" fmla="*/ 38 h 50"/>
                <a:gd name="T32" fmla="*/ 82 w 89"/>
                <a:gd name="T33" fmla="*/ 22 h 50"/>
                <a:gd name="T34" fmla="*/ 88 w 89"/>
                <a:gd name="T35" fmla="*/ 1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9" h="50">
                  <a:moveTo>
                    <a:pt x="88" y="13"/>
                  </a:moveTo>
                  <a:lnTo>
                    <a:pt x="76" y="3"/>
                  </a:lnTo>
                  <a:lnTo>
                    <a:pt x="69" y="0"/>
                  </a:lnTo>
                  <a:lnTo>
                    <a:pt x="46" y="5"/>
                  </a:lnTo>
                  <a:lnTo>
                    <a:pt x="30" y="5"/>
                  </a:lnTo>
                  <a:lnTo>
                    <a:pt x="9" y="2"/>
                  </a:lnTo>
                  <a:lnTo>
                    <a:pt x="11" y="16"/>
                  </a:lnTo>
                  <a:lnTo>
                    <a:pt x="5" y="25"/>
                  </a:lnTo>
                  <a:lnTo>
                    <a:pt x="5" y="29"/>
                  </a:lnTo>
                  <a:lnTo>
                    <a:pt x="0" y="35"/>
                  </a:lnTo>
                  <a:lnTo>
                    <a:pt x="6" y="37"/>
                  </a:lnTo>
                  <a:lnTo>
                    <a:pt x="21" y="46"/>
                  </a:lnTo>
                  <a:lnTo>
                    <a:pt x="38" y="49"/>
                  </a:lnTo>
                  <a:lnTo>
                    <a:pt x="47" y="41"/>
                  </a:lnTo>
                  <a:lnTo>
                    <a:pt x="58" y="42"/>
                  </a:lnTo>
                  <a:lnTo>
                    <a:pt x="71" y="38"/>
                  </a:lnTo>
                  <a:lnTo>
                    <a:pt x="82" y="22"/>
                  </a:lnTo>
                  <a:lnTo>
                    <a:pt x="88" y="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1" name="Freeform 241">
              <a:extLst>
                <a:ext uri="{FF2B5EF4-FFF2-40B4-BE49-F238E27FC236}">
                  <a16:creationId xmlns:a16="http://schemas.microsoft.com/office/drawing/2014/main" xmlns="" id="{3586D003-E3F0-43D2-BFC7-310A674EE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5767" y="2871218"/>
              <a:ext cx="63008" cy="51135"/>
            </a:xfrm>
            <a:custGeom>
              <a:avLst/>
              <a:gdLst>
                <a:gd name="T0" fmla="*/ 2 w 47"/>
                <a:gd name="T1" fmla="*/ 3 h 38"/>
                <a:gd name="T2" fmla="*/ 0 w 47"/>
                <a:gd name="T3" fmla="*/ 11 h 38"/>
                <a:gd name="T4" fmla="*/ 12 w 47"/>
                <a:gd name="T5" fmla="*/ 18 h 38"/>
                <a:gd name="T6" fmla="*/ 18 w 47"/>
                <a:gd name="T7" fmla="*/ 31 h 38"/>
                <a:gd name="T8" fmla="*/ 35 w 47"/>
                <a:gd name="T9" fmla="*/ 37 h 38"/>
                <a:gd name="T10" fmla="*/ 37 w 47"/>
                <a:gd name="T11" fmla="*/ 29 h 38"/>
                <a:gd name="T12" fmla="*/ 46 w 47"/>
                <a:gd name="T13" fmla="*/ 19 h 38"/>
                <a:gd name="T14" fmla="*/ 37 w 47"/>
                <a:gd name="T15" fmla="*/ 15 h 38"/>
                <a:gd name="T16" fmla="*/ 34 w 47"/>
                <a:gd name="T17" fmla="*/ 2 h 38"/>
                <a:gd name="T18" fmla="*/ 25 w 47"/>
                <a:gd name="T19" fmla="*/ 0 h 38"/>
                <a:gd name="T20" fmla="*/ 17 w 47"/>
                <a:gd name="T21" fmla="*/ 3 h 38"/>
                <a:gd name="T22" fmla="*/ 2 w 47"/>
                <a:gd name="T23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38">
                  <a:moveTo>
                    <a:pt x="2" y="3"/>
                  </a:moveTo>
                  <a:lnTo>
                    <a:pt x="0" y="11"/>
                  </a:lnTo>
                  <a:lnTo>
                    <a:pt x="12" y="18"/>
                  </a:lnTo>
                  <a:lnTo>
                    <a:pt x="18" y="31"/>
                  </a:lnTo>
                  <a:lnTo>
                    <a:pt x="35" y="37"/>
                  </a:lnTo>
                  <a:lnTo>
                    <a:pt x="37" y="29"/>
                  </a:lnTo>
                  <a:lnTo>
                    <a:pt x="46" y="19"/>
                  </a:lnTo>
                  <a:lnTo>
                    <a:pt x="37" y="15"/>
                  </a:lnTo>
                  <a:lnTo>
                    <a:pt x="34" y="2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2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2" name="Freeform 242">
              <a:extLst>
                <a:ext uri="{FF2B5EF4-FFF2-40B4-BE49-F238E27FC236}">
                  <a16:creationId xmlns:a16="http://schemas.microsoft.com/office/drawing/2014/main" xmlns="" id="{39362373-856D-4FA3-BE27-106ED8AA9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6118" y="2703543"/>
              <a:ext cx="52308" cy="83243"/>
            </a:xfrm>
            <a:custGeom>
              <a:avLst/>
              <a:gdLst>
                <a:gd name="T0" fmla="*/ 30 w 39"/>
                <a:gd name="T1" fmla="*/ 58 h 63"/>
                <a:gd name="T2" fmla="*/ 14 w 39"/>
                <a:gd name="T3" fmla="*/ 62 h 63"/>
                <a:gd name="T4" fmla="*/ 8 w 39"/>
                <a:gd name="T5" fmla="*/ 48 h 63"/>
                <a:gd name="T6" fmla="*/ 0 w 39"/>
                <a:gd name="T7" fmla="*/ 43 h 63"/>
                <a:gd name="T8" fmla="*/ 0 w 39"/>
                <a:gd name="T9" fmla="*/ 19 h 63"/>
                <a:gd name="T10" fmla="*/ 18 w 39"/>
                <a:gd name="T11" fmla="*/ 17 h 63"/>
                <a:gd name="T12" fmla="*/ 27 w 39"/>
                <a:gd name="T13" fmla="*/ 0 h 63"/>
                <a:gd name="T14" fmla="*/ 38 w 39"/>
                <a:gd name="T15" fmla="*/ 17 h 63"/>
                <a:gd name="T16" fmla="*/ 28 w 39"/>
                <a:gd name="T17" fmla="*/ 42 h 63"/>
                <a:gd name="T18" fmla="*/ 30 w 39"/>
                <a:gd name="T19" fmla="*/ 5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63">
                  <a:moveTo>
                    <a:pt x="30" y="58"/>
                  </a:moveTo>
                  <a:lnTo>
                    <a:pt x="14" y="62"/>
                  </a:lnTo>
                  <a:lnTo>
                    <a:pt x="8" y="48"/>
                  </a:lnTo>
                  <a:lnTo>
                    <a:pt x="0" y="43"/>
                  </a:lnTo>
                  <a:lnTo>
                    <a:pt x="0" y="19"/>
                  </a:lnTo>
                  <a:lnTo>
                    <a:pt x="18" y="17"/>
                  </a:lnTo>
                  <a:lnTo>
                    <a:pt x="27" y="0"/>
                  </a:lnTo>
                  <a:lnTo>
                    <a:pt x="38" y="17"/>
                  </a:lnTo>
                  <a:lnTo>
                    <a:pt x="28" y="42"/>
                  </a:lnTo>
                  <a:lnTo>
                    <a:pt x="30" y="5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3" name="Freeform 243">
              <a:extLst>
                <a:ext uri="{FF2B5EF4-FFF2-40B4-BE49-F238E27FC236}">
                  <a16:creationId xmlns:a16="http://schemas.microsoft.com/office/drawing/2014/main" xmlns="" id="{91E75BD0-546F-4D83-8722-40C67BFFC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715" y="3054352"/>
              <a:ext cx="109372" cy="82054"/>
            </a:xfrm>
            <a:custGeom>
              <a:avLst/>
              <a:gdLst>
                <a:gd name="T0" fmla="*/ 61 w 82"/>
                <a:gd name="T1" fmla="*/ 53 h 62"/>
                <a:gd name="T2" fmla="*/ 48 w 82"/>
                <a:gd name="T3" fmla="*/ 54 h 62"/>
                <a:gd name="T4" fmla="*/ 40 w 82"/>
                <a:gd name="T5" fmla="*/ 54 h 62"/>
                <a:gd name="T6" fmla="*/ 31 w 82"/>
                <a:gd name="T7" fmla="*/ 61 h 62"/>
                <a:gd name="T8" fmla="*/ 18 w 82"/>
                <a:gd name="T9" fmla="*/ 57 h 62"/>
                <a:gd name="T10" fmla="*/ 11 w 82"/>
                <a:gd name="T11" fmla="*/ 57 h 62"/>
                <a:gd name="T12" fmla="*/ 9 w 82"/>
                <a:gd name="T13" fmla="*/ 36 h 62"/>
                <a:gd name="T14" fmla="*/ 1 w 82"/>
                <a:gd name="T15" fmla="*/ 21 h 62"/>
                <a:gd name="T16" fmla="*/ 0 w 82"/>
                <a:gd name="T17" fmla="*/ 13 h 62"/>
                <a:gd name="T18" fmla="*/ 13 w 82"/>
                <a:gd name="T19" fmla="*/ 3 h 62"/>
                <a:gd name="T20" fmla="*/ 17 w 82"/>
                <a:gd name="T21" fmla="*/ 6 h 62"/>
                <a:gd name="T22" fmla="*/ 21 w 82"/>
                <a:gd name="T23" fmla="*/ 0 h 62"/>
                <a:gd name="T24" fmla="*/ 38 w 82"/>
                <a:gd name="T25" fmla="*/ 6 h 62"/>
                <a:gd name="T26" fmla="*/ 42 w 82"/>
                <a:gd name="T27" fmla="*/ 19 h 62"/>
                <a:gd name="T28" fmla="*/ 62 w 82"/>
                <a:gd name="T29" fmla="*/ 16 h 62"/>
                <a:gd name="T30" fmla="*/ 76 w 82"/>
                <a:gd name="T31" fmla="*/ 14 h 62"/>
                <a:gd name="T32" fmla="*/ 81 w 82"/>
                <a:gd name="T33" fmla="*/ 26 h 62"/>
                <a:gd name="T34" fmla="*/ 76 w 82"/>
                <a:gd name="T35" fmla="*/ 36 h 62"/>
                <a:gd name="T36" fmla="*/ 70 w 82"/>
                <a:gd name="T37" fmla="*/ 43 h 62"/>
                <a:gd name="T38" fmla="*/ 75 w 82"/>
                <a:gd name="T39" fmla="*/ 50 h 62"/>
                <a:gd name="T40" fmla="*/ 61 w 82"/>
                <a:gd name="T41" fmla="*/ 5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2" h="62">
                  <a:moveTo>
                    <a:pt x="61" y="53"/>
                  </a:moveTo>
                  <a:lnTo>
                    <a:pt x="48" y="54"/>
                  </a:lnTo>
                  <a:lnTo>
                    <a:pt x="40" y="54"/>
                  </a:lnTo>
                  <a:lnTo>
                    <a:pt x="31" y="61"/>
                  </a:lnTo>
                  <a:lnTo>
                    <a:pt x="18" y="57"/>
                  </a:lnTo>
                  <a:lnTo>
                    <a:pt x="11" y="57"/>
                  </a:lnTo>
                  <a:lnTo>
                    <a:pt x="9" y="36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13" y="3"/>
                  </a:lnTo>
                  <a:lnTo>
                    <a:pt x="17" y="6"/>
                  </a:lnTo>
                  <a:lnTo>
                    <a:pt x="21" y="0"/>
                  </a:lnTo>
                  <a:lnTo>
                    <a:pt x="38" y="6"/>
                  </a:lnTo>
                  <a:lnTo>
                    <a:pt x="42" y="19"/>
                  </a:lnTo>
                  <a:lnTo>
                    <a:pt x="62" y="16"/>
                  </a:lnTo>
                  <a:lnTo>
                    <a:pt x="76" y="14"/>
                  </a:lnTo>
                  <a:lnTo>
                    <a:pt x="81" y="26"/>
                  </a:lnTo>
                  <a:lnTo>
                    <a:pt x="76" y="36"/>
                  </a:lnTo>
                  <a:lnTo>
                    <a:pt x="70" y="43"/>
                  </a:lnTo>
                  <a:lnTo>
                    <a:pt x="75" y="50"/>
                  </a:lnTo>
                  <a:lnTo>
                    <a:pt x="61" y="5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4" name="Freeform 244">
              <a:extLst>
                <a:ext uri="{FF2B5EF4-FFF2-40B4-BE49-F238E27FC236}">
                  <a16:creationId xmlns:a16="http://schemas.microsoft.com/office/drawing/2014/main" xmlns="" id="{ACA0A2B0-93AA-496A-B523-2986732DF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8428" y="2320627"/>
              <a:ext cx="185457" cy="322268"/>
            </a:xfrm>
            <a:custGeom>
              <a:avLst/>
              <a:gdLst>
                <a:gd name="T0" fmla="*/ 19 w 139"/>
                <a:gd name="T1" fmla="*/ 101 h 242"/>
                <a:gd name="T2" fmla="*/ 29 w 139"/>
                <a:gd name="T3" fmla="*/ 94 h 242"/>
                <a:gd name="T4" fmla="*/ 27 w 139"/>
                <a:gd name="T5" fmla="*/ 63 h 242"/>
                <a:gd name="T6" fmla="*/ 26 w 139"/>
                <a:gd name="T7" fmla="*/ 53 h 242"/>
                <a:gd name="T8" fmla="*/ 15 w 139"/>
                <a:gd name="T9" fmla="*/ 43 h 242"/>
                <a:gd name="T10" fmla="*/ 3 w 139"/>
                <a:gd name="T11" fmla="*/ 30 h 242"/>
                <a:gd name="T12" fmla="*/ 14 w 139"/>
                <a:gd name="T13" fmla="*/ 33 h 242"/>
                <a:gd name="T14" fmla="*/ 27 w 139"/>
                <a:gd name="T15" fmla="*/ 36 h 242"/>
                <a:gd name="T16" fmla="*/ 47 w 139"/>
                <a:gd name="T17" fmla="*/ 33 h 242"/>
                <a:gd name="T18" fmla="*/ 53 w 139"/>
                <a:gd name="T19" fmla="*/ 18 h 242"/>
                <a:gd name="T20" fmla="*/ 63 w 139"/>
                <a:gd name="T21" fmla="*/ 7 h 242"/>
                <a:gd name="T22" fmla="*/ 70 w 139"/>
                <a:gd name="T23" fmla="*/ 0 h 242"/>
                <a:gd name="T24" fmla="*/ 82 w 139"/>
                <a:gd name="T25" fmla="*/ 2 h 242"/>
                <a:gd name="T26" fmla="*/ 93 w 139"/>
                <a:gd name="T27" fmla="*/ 12 h 242"/>
                <a:gd name="T28" fmla="*/ 85 w 139"/>
                <a:gd name="T29" fmla="*/ 36 h 242"/>
                <a:gd name="T30" fmla="*/ 100 w 139"/>
                <a:gd name="T31" fmla="*/ 50 h 242"/>
                <a:gd name="T32" fmla="*/ 100 w 139"/>
                <a:gd name="T33" fmla="*/ 65 h 242"/>
                <a:gd name="T34" fmla="*/ 105 w 139"/>
                <a:gd name="T35" fmla="*/ 85 h 242"/>
                <a:gd name="T36" fmla="*/ 107 w 139"/>
                <a:gd name="T37" fmla="*/ 109 h 242"/>
                <a:gd name="T38" fmla="*/ 113 w 139"/>
                <a:gd name="T39" fmla="*/ 129 h 242"/>
                <a:gd name="T40" fmla="*/ 120 w 139"/>
                <a:gd name="T41" fmla="*/ 151 h 242"/>
                <a:gd name="T42" fmla="*/ 128 w 139"/>
                <a:gd name="T43" fmla="*/ 161 h 242"/>
                <a:gd name="T44" fmla="*/ 138 w 139"/>
                <a:gd name="T45" fmla="*/ 169 h 242"/>
                <a:gd name="T46" fmla="*/ 127 w 139"/>
                <a:gd name="T47" fmla="*/ 178 h 242"/>
                <a:gd name="T48" fmla="*/ 112 w 139"/>
                <a:gd name="T49" fmla="*/ 194 h 242"/>
                <a:gd name="T50" fmla="*/ 98 w 139"/>
                <a:gd name="T51" fmla="*/ 211 h 242"/>
                <a:gd name="T52" fmla="*/ 94 w 139"/>
                <a:gd name="T53" fmla="*/ 225 h 242"/>
                <a:gd name="T54" fmla="*/ 96 w 139"/>
                <a:gd name="T55" fmla="*/ 241 h 242"/>
                <a:gd name="T56" fmla="*/ 81 w 139"/>
                <a:gd name="T57" fmla="*/ 219 h 242"/>
                <a:gd name="T58" fmla="*/ 63 w 139"/>
                <a:gd name="T59" fmla="*/ 222 h 242"/>
                <a:gd name="T60" fmla="*/ 53 w 139"/>
                <a:gd name="T61" fmla="*/ 231 h 242"/>
                <a:gd name="T62" fmla="*/ 29 w 139"/>
                <a:gd name="T63" fmla="*/ 229 h 242"/>
                <a:gd name="T64" fmla="*/ 11 w 139"/>
                <a:gd name="T65" fmla="*/ 217 h 242"/>
                <a:gd name="T66" fmla="*/ 4 w 139"/>
                <a:gd name="T67" fmla="*/ 200 h 242"/>
                <a:gd name="T68" fmla="*/ 0 w 139"/>
                <a:gd name="T69" fmla="*/ 185 h 242"/>
                <a:gd name="T70" fmla="*/ 3 w 139"/>
                <a:gd name="T71" fmla="*/ 157 h 242"/>
                <a:gd name="T72" fmla="*/ 21 w 139"/>
                <a:gd name="T73" fmla="*/ 150 h 242"/>
                <a:gd name="T74" fmla="*/ 33 w 139"/>
                <a:gd name="T75" fmla="*/ 138 h 242"/>
                <a:gd name="T76" fmla="*/ 37 w 139"/>
                <a:gd name="T77" fmla="*/ 121 h 242"/>
                <a:gd name="T78" fmla="*/ 58 w 139"/>
                <a:gd name="T79" fmla="*/ 123 h 242"/>
                <a:gd name="T80" fmla="*/ 46 w 139"/>
                <a:gd name="T81" fmla="*/ 102 h 242"/>
                <a:gd name="T82" fmla="*/ 19 w 139"/>
                <a:gd name="T83" fmla="*/ 10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" h="242">
                  <a:moveTo>
                    <a:pt x="19" y="101"/>
                  </a:moveTo>
                  <a:lnTo>
                    <a:pt x="29" y="94"/>
                  </a:lnTo>
                  <a:lnTo>
                    <a:pt x="27" y="63"/>
                  </a:lnTo>
                  <a:lnTo>
                    <a:pt x="26" y="53"/>
                  </a:lnTo>
                  <a:lnTo>
                    <a:pt x="15" y="43"/>
                  </a:lnTo>
                  <a:lnTo>
                    <a:pt x="3" y="30"/>
                  </a:lnTo>
                  <a:lnTo>
                    <a:pt x="14" y="33"/>
                  </a:lnTo>
                  <a:lnTo>
                    <a:pt x="27" y="36"/>
                  </a:lnTo>
                  <a:lnTo>
                    <a:pt x="47" y="33"/>
                  </a:lnTo>
                  <a:lnTo>
                    <a:pt x="53" y="18"/>
                  </a:lnTo>
                  <a:lnTo>
                    <a:pt x="63" y="7"/>
                  </a:lnTo>
                  <a:lnTo>
                    <a:pt x="70" y="0"/>
                  </a:lnTo>
                  <a:lnTo>
                    <a:pt x="82" y="2"/>
                  </a:lnTo>
                  <a:lnTo>
                    <a:pt x="93" y="12"/>
                  </a:lnTo>
                  <a:lnTo>
                    <a:pt x="85" y="36"/>
                  </a:lnTo>
                  <a:lnTo>
                    <a:pt x="100" y="50"/>
                  </a:lnTo>
                  <a:lnTo>
                    <a:pt x="100" y="65"/>
                  </a:lnTo>
                  <a:lnTo>
                    <a:pt x="105" y="85"/>
                  </a:lnTo>
                  <a:lnTo>
                    <a:pt x="107" y="109"/>
                  </a:lnTo>
                  <a:lnTo>
                    <a:pt x="113" y="129"/>
                  </a:lnTo>
                  <a:lnTo>
                    <a:pt x="120" y="151"/>
                  </a:lnTo>
                  <a:lnTo>
                    <a:pt x="128" y="161"/>
                  </a:lnTo>
                  <a:lnTo>
                    <a:pt x="138" y="169"/>
                  </a:lnTo>
                  <a:lnTo>
                    <a:pt x="127" y="178"/>
                  </a:lnTo>
                  <a:lnTo>
                    <a:pt x="112" y="194"/>
                  </a:lnTo>
                  <a:lnTo>
                    <a:pt x="98" y="211"/>
                  </a:lnTo>
                  <a:lnTo>
                    <a:pt x="94" y="225"/>
                  </a:lnTo>
                  <a:lnTo>
                    <a:pt x="96" y="241"/>
                  </a:lnTo>
                  <a:lnTo>
                    <a:pt x="81" y="219"/>
                  </a:lnTo>
                  <a:lnTo>
                    <a:pt x="63" y="222"/>
                  </a:lnTo>
                  <a:lnTo>
                    <a:pt x="53" y="231"/>
                  </a:lnTo>
                  <a:lnTo>
                    <a:pt x="29" y="229"/>
                  </a:lnTo>
                  <a:lnTo>
                    <a:pt x="11" y="217"/>
                  </a:lnTo>
                  <a:lnTo>
                    <a:pt x="4" y="200"/>
                  </a:lnTo>
                  <a:lnTo>
                    <a:pt x="0" y="185"/>
                  </a:lnTo>
                  <a:lnTo>
                    <a:pt x="3" y="157"/>
                  </a:lnTo>
                  <a:lnTo>
                    <a:pt x="21" y="150"/>
                  </a:lnTo>
                  <a:lnTo>
                    <a:pt x="33" y="138"/>
                  </a:lnTo>
                  <a:lnTo>
                    <a:pt x="37" y="121"/>
                  </a:lnTo>
                  <a:lnTo>
                    <a:pt x="58" y="123"/>
                  </a:lnTo>
                  <a:lnTo>
                    <a:pt x="46" y="102"/>
                  </a:lnTo>
                  <a:lnTo>
                    <a:pt x="19" y="10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5" name="Freeform 245">
              <a:extLst>
                <a:ext uri="{FF2B5EF4-FFF2-40B4-BE49-F238E27FC236}">
                  <a16:creationId xmlns:a16="http://schemas.microsoft.com/office/drawing/2014/main" xmlns="" id="{32028542-719F-46E5-BCDB-369BC5D4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7027" y="2931866"/>
              <a:ext cx="126016" cy="77297"/>
            </a:xfrm>
            <a:custGeom>
              <a:avLst/>
              <a:gdLst>
                <a:gd name="T0" fmla="*/ 3 w 94"/>
                <a:gd name="T1" fmla="*/ 43 h 57"/>
                <a:gd name="T2" fmla="*/ 0 w 94"/>
                <a:gd name="T3" fmla="*/ 34 h 57"/>
                <a:gd name="T4" fmla="*/ 7 w 94"/>
                <a:gd name="T5" fmla="*/ 35 h 57"/>
                <a:gd name="T6" fmla="*/ 11 w 94"/>
                <a:gd name="T7" fmla="*/ 36 h 57"/>
                <a:gd name="T8" fmla="*/ 29 w 94"/>
                <a:gd name="T9" fmla="*/ 28 h 57"/>
                <a:gd name="T10" fmla="*/ 43 w 94"/>
                <a:gd name="T11" fmla="*/ 20 h 57"/>
                <a:gd name="T12" fmla="*/ 47 w 94"/>
                <a:gd name="T13" fmla="*/ 15 h 57"/>
                <a:gd name="T14" fmla="*/ 48 w 94"/>
                <a:gd name="T15" fmla="*/ 0 h 57"/>
                <a:gd name="T16" fmla="*/ 59 w 94"/>
                <a:gd name="T17" fmla="*/ 10 h 57"/>
                <a:gd name="T18" fmla="*/ 69 w 94"/>
                <a:gd name="T19" fmla="*/ 9 h 57"/>
                <a:gd name="T20" fmla="*/ 71 w 94"/>
                <a:gd name="T21" fmla="*/ 1 h 57"/>
                <a:gd name="T22" fmla="*/ 84 w 94"/>
                <a:gd name="T23" fmla="*/ 2 h 57"/>
                <a:gd name="T24" fmla="*/ 83 w 94"/>
                <a:gd name="T25" fmla="*/ 12 h 57"/>
                <a:gd name="T26" fmla="*/ 91 w 94"/>
                <a:gd name="T27" fmla="*/ 16 h 57"/>
                <a:gd name="T28" fmla="*/ 93 w 94"/>
                <a:gd name="T29" fmla="*/ 31 h 57"/>
                <a:gd name="T30" fmla="*/ 87 w 94"/>
                <a:gd name="T31" fmla="*/ 39 h 57"/>
                <a:gd name="T32" fmla="*/ 87 w 94"/>
                <a:gd name="T33" fmla="*/ 43 h 57"/>
                <a:gd name="T34" fmla="*/ 82 w 94"/>
                <a:gd name="T35" fmla="*/ 50 h 57"/>
                <a:gd name="T36" fmla="*/ 69 w 94"/>
                <a:gd name="T37" fmla="*/ 56 h 57"/>
                <a:gd name="T38" fmla="*/ 45 w 94"/>
                <a:gd name="T39" fmla="*/ 50 h 57"/>
                <a:gd name="T40" fmla="*/ 37 w 94"/>
                <a:gd name="T41" fmla="*/ 41 h 57"/>
                <a:gd name="T42" fmla="*/ 24 w 94"/>
                <a:gd name="T43" fmla="*/ 47 h 57"/>
                <a:gd name="T44" fmla="*/ 10 w 94"/>
                <a:gd name="T45" fmla="*/ 47 h 57"/>
                <a:gd name="T46" fmla="*/ 3 w 94"/>
                <a:gd name="T47" fmla="*/ 4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57">
                  <a:moveTo>
                    <a:pt x="3" y="43"/>
                  </a:moveTo>
                  <a:lnTo>
                    <a:pt x="0" y="34"/>
                  </a:lnTo>
                  <a:lnTo>
                    <a:pt x="7" y="35"/>
                  </a:lnTo>
                  <a:lnTo>
                    <a:pt x="11" y="36"/>
                  </a:lnTo>
                  <a:lnTo>
                    <a:pt x="29" y="28"/>
                  </a:lnTo>
                  <a:lnTo>
                    <a:pt x="43" y="20"/>
                  </a:lnTo>
                  <a:lnTo>
                    <a:pt x="47" y="15"/>
                  </a:lnTo>
                  <a:lnTo>
                    <a:pt x="48" y="0"/>
                  </a:lnTo>
                  <a:lnTo>
                    <a:pt x="59" y="10"/>
                  </a:lnTo>
                  <a:lnTo>
                    <a:pt x="69" y="9"/>
                  </a:lnTo>
                  <a:lnTo>
                    <a:pt x="71" y="1"/>
                  </a:lnTo>
                  <a:lnTo>
                    <a:pt x="84" y="2"/>
                  </a:lnTo>
                  <a:lnTo>
                    <a:pt x="83" y="12"/>
                  </a:lnTo>
                  <a:lnTo>
                    <a:pt x="91" y="16"/>
                  </a:lnTo>
                  <a:lnTo>
                    <a:pt x="93" y="31"/>
                  </a:lnTo>
                  <a:lnTo>
                    <a:pt x="87" y="39"/>
                  </a:lnTo>
                  <a:lnTo>
                    <a:pt x="87" y="43"/>
                  </a:lnTo>
                  <a:lnTo>
                    <a:pt x="82" y="50"/>
                  </a:lnTo>
                  <a:lnTo>
                    <a:pt x="69" y="56"/>
                  </a:lnTo>
                  <a:lnTo>
                    <a:pt x="45" y="50"/>
                  </a:lnTo>
                  <a:lnTo>
                    <a:pt x="37" y="41"/>
                  </a:lnTo>
                  <a:lnTo>
                    <a:pt x="24" y="47"/>
                  </a:lnTo>
                  <a:lnTo>
                    <a:pt x="10" y="47"/>
                  </a:lnTo>
                  <a:lnTo>
                    <a:pt x="3" y="4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6" name="Freeform 246">
              <a:extLst>
                <a:ext uri="{FF2B5EF4-FFF2-40B4-BE49-F238E27FC236}">
                  <a16:creationId xmlns:a16="http://schemas.microsoft.com/office/drawing/2014/main" xmlns="" id="{4E106EB0-2761-402F-99B3-CC0DD5262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923" y="3213702"/>
              <a:ext cx="42798" cy="29730"/>
            </a:xfrm>
            <a:custGeom>
              <a:avLst/>
              <a:gdLst>
                <a:gd name="T0" fmla="*/ 28 w 32"/>
                <a:gd name="T1" fmla="*/ 0 h 22"/>
                <a:gd name="T2" fmla="*/ 16 w 32"/>
                <a:gd name="T3" fmla="*/ 3 h 22"/>
                <a:gd name="T4" fmla="*/ 0 w 32"/>
                <a:gd name="T5" fmla="*/ 2 h 22"/>
                <a:gd name="T6" fmla="*/ 3 w 32"/>
                <a:gd name="T7" fmla="*/ 6 h 22"/>
                <a:gd name="T8" fmla="*/ 6 w 32"/>
                <a:gd name="T9" fmla="*/ 14 h 22"/>
                <a:gd name="T10" fmla="*/ 14 w 32"/>
                <a:gd name="T11" fmla="*/ 15 h 22"/>
                <a:gd name="T12" fmla="*/ 31 w 32"/>
                <a:gd name="T13" fmla="*/ 21 h 22"/>
                <a:gd name="T14" fmla="*/ 30 w 32"/>
                <a:gd name="T15" fmla="*/ 11 h 22"/>
                <a:gd name="T16" fmla="*/ 28 w 32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2">
                  <a:moveTo>
                    <a:pt x="28" y="0"/>
                  </a:moveTo>
                  <a:lnTo>
                    <a:pt x="16" y="3"/>
                  </a:lnTo>
                  <a:lnTo>
                    <a:pt x="0" y="2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4" y="15"/>
                  </a:lnTo>
                  <a:lnTo>
                    <a:pt x="31" y="21"/>
                  </a:lnTo>
                  <a:lnTo>
                    <a:pt x="30" y="11"/>
                  </a:lnTo>
                  <a:lnTo>
                    <a:pt x="2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7" name="Freeform 247">
              <a:extLst>
                <a:ext uri="{FF2B5EF4-FFF2-40B4-BE49-F238E27FC236}">
                  <a16:creationId xmlns:a16="http://schemas.microsoft.com/office/drawing/2014/main" xmlns="" id="{810B968B-A96B-437A-BF68-71D5389CB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190" y="2773705"/>
              <a:ext cx="78463" cy="99891"/>
            </a:xfrm>
            <a:custGeom>
              <a:avLst/>
              <a:gdLst>
                <a:gd name="T0" fmla="*/ 31 w 60"/>
                <a:gd name="T1" fmla="*/ 0 h 75"/>
                <a:gd name="T2" fmla="*/ 27 w 60"/>
                <a:gd name="T3" fmla="*/ 6 h 75"/>
                <a:gd name="T4" fmla="*/ 27 w 60"/>
                <a:gd name="T5" fmla="*/ 16 h 75"/>
                <a:gd name="T6" fmla="*/ 3 w 60"/>
                <a:gd name="T7" fmla="*/ 19 h 75"/>
                <a:gd name="T8" fmla="*/ 0 w 60"/>
                <a:gd name="T9" fmla="*/ 26 h 75"/>
                <a:gd name="T10" fmla="*/ 0 w 60"/>
                <a:gd name="T11" fmla="*/ 38 h 75"/>
                <a:gd name="T12" fmla="*/ 8 w 60"/>
                <a:gd name="T13" fmla="*/ 40 h 75"/>
                <a:gd name="T14" fmla="*/ 8 w 60"/>
                <a:gd name="T15" fmla="*/ 48 h 75"/>
                <a:gd name="T16" fmla="*/ 0 w 60"/>
                <a:gd name="T17" fmla="*/ 53 h 75"/>
                <a:gd name="T18" fmla="*/ 1 w 60"/>
                <a:gd name="T19" fmla="*/ 66 h 75"/>
                <a:gd name="T20" fmla="*/ 1 w 60"/>
                <a:gd name="T21" fmla="*/ 74 h 75"/>
                <a:gd name="T22" fmla="*/ 17 w 60"/>
                <a:gd name="T23" fmla="*/ 73 h 75"/>
                <a:gd name="T24" fmla="*/ 32 w 60"/>
                <a:gd name="T25" fmla="*/ 63 h 75"/>
                <a:gd name="T26" fmla="*/ 45 w 60"/>
                <a:gd name="T27" fmla="*/ 63 h 75"/>
                <a:gd name="T28" fmla="*/ 56 w 60"/>
                <a:gd name="T29" fmla="*/ 61 h 75"/>
                <a:gd name="T30" fmla="*/ 59 w 60"/>
                <a:gd name="T31" fmla="*/ 40 h 75"/>
                <a:gd name="T32" fmla="*/ 53 w 60"/>
                <a:gd name="T33" fmla="*/ 24 h 75"/>
                <a:gd name="T34" fmla="*/ 38 w 60"/>
                <a:gd name="T35" fmla="*/ 24 h 75"/>
                <a:gd name="T36" fmla="*/ 34 w 60"/>
                <a:gd name="T37" fmla="*/ 15 h 75"/>
                <a:gd name="T38" fmla="*/ 38 w 60"/>
                <a:gd name="T39" fmla="*/ 4 h 75"/>
                <a:gd name="T40" fmla="*/ 31 w 60"/>
                <a:gd name="T4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75">
                  <a:moveTo>
                    <a:pt x="31" y="0"/>
                  </a:moveTo>
                  <a:lnTo>
                    <a:pt x="27" y="6"/>
                  </a:lnTo>
                  <a:lnTo>
                    <a:pt x="27" y="16"/>
                  </a:lnTo>
                  <a:lnTo>
                    <a:pt x="3" y="19"/>
                  </a:lnTo>
                  <a:lnTo>
                    <a:pt x="0" y="26"/>
                  </a:lnTo>
                  <a:lnTo>
                    <a:pt x="0" y="38"/>
                  </a:lnTo>
                  <a:lnTo>
                    <a:pt x="8" y="40"/>
                  </a:lnTo>
                  <a:lnTo>
                    <a:pt x="8" y="48"/>
                  </a:lnTo>
                  <a:lnTo>
                    <a:pt x="0" y="53"/>
                  </a:lnTo>
                  <a:lnTo>
                    <a:pt x="1" y="66"/>
                  </a:lnTo>
                  <a:lnTo>
                    <a:pt x="1" y="74"/>
                  </a:lnTo>
                  <a:lnTo>
                    <a:pt x="17" y="73"/>
                  </a:lnTo>
                  <a:lnTo>
                    <a:pt x="32" y="63"/>
                  </a:lnTo>
                  <a:lnTo>
                    <a:pt x="45" y="63"/>
                  </a:lnTo>
                  <a:lnTo>
                    <a:pt x="56" y="61"/>
                  </a:lnTo>
                  <a:lnTo>
                    <a:pt x="59" y="40"/>
                  </a:lnTo>
                  <a:lnTo>
                    <a:pt x="53" y="24"/>
                  </a:lnTo>
                  <a:lnTo>
                    <a:pt x="38" y="24"/>
                  </a:lnTo>
                  <a:lnTo>
                    <a:pt x="34" y="15"/>
                  </a:lnTo>
                  <a:lnTo>
                    <a:pt x="38" y="4"/>
                  </a:lnTo>
                  <a:lnTo>
                    <a:pt x="3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8" name="Freeform 248">
              <a:extLst>
                <a:ext uri="{FF2B5EF4-FFF2-40B4-BE49-F238E27FC236}">
                  <a16:creationId xmlns:a16="http://schemas.microsoft.com/office/drawing/2014/main" xmlns="" id="{6A5E5401-1211-4409-B9DE-44A49A15C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988" y="2770137"/>
              <a:ext cx="43987" cy="35675"/>
            </a:xfrm>
            <a:custGeom>
              <a:avLst/>
              <a:gdLst>
                <a:gd name="T0" fmla="*/ 19 w 32"/>
                <a:gd name="T1" fmla="*/ 26 h 27"/>
                <a:gd name="T2" fmla="*/ 4 w 32"/>
                <a:gd name="T3" fmla="*/ 26 h 27"/>
                <a:gd name="T4" fmla="*/ 0 w 32"/>
                <a:gd name="T5" fmla="*/ 17 h 27"/>
                <a:gd name="T6" fmla="*/ 4 w 32"/>
                <a:gd name="T7" fmla="*/ 6 h 27"/>
                <a:gd name="T8" fmla="*/ 12 w 32"/>
                <a:gd name="T9" fmla="*/ 0 h 27"/>
                <a:gd name="T10" fmla="*/ 22 w 32"/>
                <a:gd name="T11" fmla="*/ 3 h 27"/>
                <a:gd name="T12" fmla="*/ 28 w 32"/>
                <a:gd name="T13" fmla="*/ 10 h 27"/>
                <a:gd name="T14" fmla="*/ 31 w 32"/>
                <a:gd name="T15" fmla="*/ 19 h 27"/>
                <a:gd name="T16" fmla="*/ 19 w 32"/>
                <a:gd name="T17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7">
                  <a:moveTo>
                    <a:pt x="19" y="26"/>
                  </a:moveTo>
                  <a:lnTo>
                    <a:pt x="4" y="26"/>
                  </a:lnTo>
                  <a:lnTo>
                    <a:pt x="0" y="17"/>
                  </a:lnTo>
                  <a:lnTo>
                    <a:pt x="4" y="6"/>
                  </a:lnTo>
                  <a:lnTo>
                    <a:pt x="12" y="0"/>
                  </a:lnTo>
                  <a:lnTo>
                    <a:pt x="22" y="3"/>
                  </a:lnTo>
                  <a:lnTo>
                    <a:pt x="28" y="10"/>
                  </a:lnTo>
                  <a:lnTo>
                    <a:pt x="31" y="19"/>
                  </a:lnTo>
                  <a:lnTo>
                    <a:pt x="19" y="2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9" name="Freeform 249">
              <a:extLst>
                <a:ext uri="{FF2B5EF4-FFF2-40B4-BE49-F238E27FC236}">
                  <a16:creationId xmlns:a16="http://schemas.microsoft.com/office/drawing/2014/main" xmlns="" id="{B3B0C811-2093-4386-9C3F-D4216A9AE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898" y="2676192"/>
              <a:ext cx="139093" cy="239026"/>
            </a:xfrm>
            <a:custGeom>
              <a:avLst/>
              <a:gdLst>
                <a:gd name="T0" fmla="*/ 16 w 104"/>
                <a:gd name="T1" fmla="*/ 2 h 180"/>
                <a:gd name="T2" fmla="*/ 10 w 104"/>
                <a:gd name="T3" fmla="*/ 14 h 180"/>
                <a:gd name="T4" fmla="*/ 0 w 104"/>
                <a:gd name="T5" fmla="*/ 25 h 180"/>
                <a:gd name="T6" fmla="*/ 8 w 104"/>
                <a:gd name="T7" fmla="*/ 29 h 180"/>
                <a:gd name="T8" fmla="*/ 10 w 104"/>
                <a:gd name="T9" fmla="*/ 36 h 180"/>
                <a:gd name="T10" fmla="*/ 10 w 104"/>
                <a:gd name="T11" fmla="*/ 46 h 180"/>
                <a:gd name="T12" fmla="*/ 2 w 104"/>
                <a:gd name="T13" fmla="*/ 51 h 180"/>
                <a:gd name="T14" fmla="*/ 5 w 104"/>
                <a:gd name="T15" fmla="*/ 59 h 180"/>
                <a:gd name="T16" fmla="*/ 14 w 104"/>
                <a:gd name="T17" fmla="*/ 61 h 180"/>
                <a:gd name="T18" fmla="*/ 16 w 104"/>
                <a:gd name="T19" fmla="*/ 69 h 180"/>
                <a:gd name="T20" fmla="*/ 13 w 104"/>
                <a:gd name="T21" fmla="*/ 76 h 180"/>
                <a:gd name="T22" fmla="*/ 36 w 104"/>
                <a:gd name="T23" fmla="*/ 81 h 180"/>
                <a:gd name="T24" fmla="*/ 41 w 104"/>
                <a:gd name="T25" fmla="*/ 89 h 180"/>
                <a:gd name="T26" fmla="*/ 48 w 104"/>
                <a:gd name="T27" fmla="*/ 92 h 180"/>
                <a:gd name="T28" fmla="*/ 46 w 104"/>
                <a:gd name="T29" fmla="*/ 99 h 180"/>
                <a:gd name="T30" fmla="*/ 34 w 104"/>
                <a:gd name="T31" fmla="*/ 107 h 180"/>
                <a:gd name="T32" fmla="*/ 24 w 104"/>
                <a:gd name="T33" fmla="*/ 107 h 180"/>
                <a:gd name="T34" fmla="*/ 22 w 104"/>
                <a:gd name="T35" fmla="*/ 118 h 180"/>
                <a:gd name="T36" fmla="*/ 26 w 104"/>
                <a:gd name="T37" fmla="*/ 124 h 180"/>
                <a:gd name="T38" fmla="*/ 24 w 104"/>
                <a:gd name="T39" fmla="*/ 135 h 180"/>
                <a:gd name="T40" fmla="*/ 16 w 104"/>
                <a:gd name="T41" fmla="*/ 139 h 180"/>
                <a:gd name="T42" fmla="*/ 39 w 104"/>
                <a:gd name="T43" fmla="*/ 144 h 180"/>
                <a:gd name="T44" fmla="*/ 37 w 104"/>
                <a:gd name="T45" fmla="*/ 148 h 180"/>
                <a:gd name="T46" fmla="*/ 29 w 104"/>
                <a:gd name="T47" fmla="*/ 149 h 180"/>
                <a:gd name="T48" fmla="*/ 19 w 104"/>
                <a:gd name="T49" fmla="*/ 159 h 180"/>
                <a:gd name="T50" fmla="*/ 11 w 104"/>
                <a:gd name="T51" fmla="*/ 170 h 180"/>
                <a:gd name="T52" fmla="*/ 10 w 104"/>
                <a:gd name="T53" fmla="*/ 179 h 180"/>
                <a:gd name="T54" fmla="*/ 31 w 104"/>
                <a:gd name="T55" fmla="*/ 171 h 180"/>
                <a:gd name="T56" fmla="*/ 45 w 104"/>
                <a:gd name="T57" fmla="*/ 164 h 180"/>
                <a:gd name="T58" fmla="*/ 63 w 104"/>
                <a:gd name="T59" fmla="*/ 168 h 180"/>
                <a:gd name="T60" fmla="*/ 79 w 104"/>
                <a:gd name="T61" fmla="*/ 158 h 180"/>
                <a:gd name="T62" fmla="*/ 97 w 104"/>
                <a:gd name="T63" fmla="*/ 154 h 180"/>
                <a:gd name="T64" fmla="*/ 86 w 104"/>
                <a:gd name="T65" fmla="*/ 144 h 180"/>
                <a:gd name="T66" fmla="*/ 92 w 104"/>
                <a:gd name="T67" fmla="*/ 139 h 180"/>
                <a:gd name="T68" fmla="*/ 102 w 104"/>
                <a:gd name="T69" fmla="*/ 141 h 180"/>
                <a:gd name="T70" fmla="*/ 103 w 104"/>
                <a:gd name="T71" fmla="*/ 118 h 180"/>
                <a:gd name="T72" fmla="*/ 84 w 104"/>
                <a:gd name="T73" fmla="*/ 112 h 180"/>
                <a:gd name="T74" fmla="*/ 84 w 104"/>
                <a:gd name="T75" fmla="*/ 97 h 180"/>
                <a:gd name="T76" fmla="*/ 81 w 104"/>
                <a:gd name="T77" fmla="*/ 88 h 180"/>
                <a:gd name="T78" fmla="*/ 71 w 104"/>
                <a:gd name="T79" fmla="*/ 84 h 180"/>
                <a:gd name="T80" fmla="*/ 73 w 104"/>
                <a:gd name="T81" fmla="*/ 72 h 180"/>
                <a:gd name="T82" fmla="*/ 63 w 104"/>
                <a:gd name="T83" fmla="*/ 69 h 180"/>
                <a:gd name="T84" fmla="*/ 66 w 104"/>
                <a:gd name="T85" fmla="*/ 52 h 180"/>
                <a:gd name="T86" fmla="*/ 42 w 104"/>
                <a:gd name="T87" fmla="*/ 35 h 180"/>
                <a:gd name="T88" fmla="*/ 55 w 104"/>
                <a:gd name="T89" fmla="*/ 31 h 180"/>
                <a:gd name="T90" fmla="*/ 56 w 104"/>
                <a:gd name="T91" fmla="*/ 15 h 180"/>
                <a:gd name="T92" fmla="*/ 34 w 104"/>
                <a:gd name="T93" fmla="*/ 15 h 180"/>
                <a:gd name="T94" fmla="*/ 34 w 104"/>
                <a:gd name="T95" fmla="*/ 0 h 180"/>
                <a:gd name="T96" fmla="*/ 16 w 104"/>
                <a:gd name="T97" fmla="*/ 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" h="180">
                  <a:moveTo>
                    <a:pt x="16" y="2"/>
                  </a:moveTo>
                  <a:lnTo>
                    <a:pt x="10" y="14"/>
                  </a:lnTo>
                  <a:lnTo>
                    <a:pt x="0" y="25"/>
                  </a:lnTo>
                  <a:lnTo>
                    <a:pt x="8" y="29"/>
                  </a:lnTo>
                  <a:lnTo>
                    <a:pt x="10" y="36"/>
                  </a:lnTo>
                  <a:lnTo>
                    <a:pt x="10" y="46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4" y="61"/>
                  </a:lnTo>
                  <a:lnTo>
                    <a:pt x="16" y="69"/>
                  </a:lnTo>
                  <a:lnTo>
                    <a:pt x="13" y="76"/>
                  </a:lnTo>
                  <a:lnTo>
                    <a:pt x="36" y="81"/>
                  </a:lnTo>
                  <a:lnTo>
                    <a:pt x="41" y="89"/>
                  </a:lnTo>
                  <a:lnTo>
                    <a:pt x="48" y="92"/>
                  </a:lnTo>
                  <a:lnTo>
                    <a:pt x="46" y="99"/>
                  </a:lnTo>
                  <a:lnTo>
                    <a:pt x="34" y="107"/>
                  </a:lnTo>
                  <a:lnTo>
                    <a:pt x="24" y="107"/>
                  </a:lnTo>
                  <a:lnTo>
                    <a:pt x="22" y="118"/>
                  </a:lnTo>
                  <a:lnTo>
                    <a:pt x="26" y="124"/>
                  </a:lnTo>
                  <a:lnTo>
                    <a:pt x="24" y="135"/>
                  </a:lnTo>
                  <a:lnTo>
                    <a:pt x="16" y="139"/>
                  </a:lnTo>
                  <a:lnTo>
                    <a:pt x="39" y="144"/>
                  </a:lnTo>
                  <a:lnTo>
                    <a:pt x="37" y="148"/>
                  </a:lnTo>
                  <a:lnTo>
                    <a:pt x="29" y="149"/>
                  </a:lnTo>
                  <a:lnTo>
                    <a:pt x="19" y="159"/>
                  </a:lnTo>
                  <a:lnTo>
                    <a:pt x="11" y="170"/>
                  </a:lnTo>
                  <a:lnTo>
                    <a:pt x="10" y="179"/>
                  </a:lnTo>
                  <a:lnTo>
                    <a:pt x="31" y="171"/>
                  </a:lnTo>
                  <a:lnTo>
                    <a:pt x="45" y="164"/>
                  </a:lnTo>
                  <a:lnTo>
                    <a:pt x="63" y="168"/>
                  </a:lnTo>
                  <a:lnTo>
                    <a:pt x="79" y="158"/>
                  </a:lnTo>
                  <a:lnTo>
                    <a:pt x="97" y="154"/>
                  </a:lnTo>
                  <a:lnTo>
                    <a:pt x="86" y="144"/>
                  </a:lnTo>
                  <a:lnTo>
                    <a:pt x="92" y="139"/>
                  </a:lnTo>
                  <a:lnTo>
                    <a:pt x="102" y="141"/>
                  </a:lnTo>
                  <a:lnTo>
                    <a:pt x="103" y="118"/>
                  </a:lnTo>
                  <a:lnTo>
                    <a:pt x="84" y="112"/>
                  </a:lnTo>
                  <a:lnTo>
                    <a:pt x="84" y="97"/>
                  </a:lnTo>
                  <a:lnTo>
                    <a:pt x="81" y="88"/>
                  </a:lnTo>
                  <a:lnTo>
                    <a:pt x="71" y="84"/>
                  </a:lnTo>
                  <a:lnTo>
                    <a:pt x="73" y="72"/>
                  </a:lnTo>
                  <a:lnTo>
                    <a:pt x="63" y="69"/>
                  </a:lnTo>
                  <a:lnTo>
                    <a:pt x="66" y="52"/>
                  </a:lnTo>
                  <a:lnTo>
                    <a:pt x="42" y="35"/>
                  </a:lnTo>
                  <a:lnTo>
                    <a:pt x="55" y="31"/>
                  </a:lnTo>
                  <a:lnTo>
                    <a:pt x="56" y="15"/>
                  </a:lnTo>
                  <a:lnTo>
                    <a:pt x="34" y="15"/>
                  </a:lnTo>
                  <a:lnTo>
                    <a:pt x="34" y="0"/>
                  </a:lnTo>
                  <a:lnTo>
                    <a:pt x="16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0" name="Freeform 250">
              <a:extLst>
                <a:ext uri="{FF2B5EF4-FFF2-40B4-BE49-F238E27FC236}">
                  <a16:creationId xmlns:a16="http://schemas.microsoft.com/office/drawing/2014/main" xmlns="" id="{EF1B368F-94D6-466A-8CAC-FB389F01F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360" y="2614355"/>
              <a:ext cx="20210" cy="23784"/>
            </a:xfrm>
            <a:custGeom>
              <a:avLst/>
              <a:gdLst>
                <a:gd name="T0" fmla="*/ 11 w 15"/>
                <a:gd name="T1" fmla="*/ 0 h 19"/>
                <a:gd name="T2" fmla="*/ 0 w 15"/>
                <a:gd name="T3" fmla="*/ 9 h 19"/>
                <a:gd name="T4" fmla="*/ 4 w 15"/>
                <a:gd name="T5" fmla="*/ 18 h 19"/>
                <a:gd name="T6" fmla="*/ 14 w 15"/>
                <a:gd name="T7" fmla="*/ 18 h 19"/>
                <a:gd name="T8" fmla="*/ 11 w 15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9">
                  <a:moveTo>
                    <a:pt x="11" y="0"/>
                  </a:moveTo>
                  <a:lnTo>
                    <a:pt x="0" y="9"/>
                  </a:lnTo>
                  <a:lnTo>
                    <a:pt x="4" y="18"/>
                  </a:lnTo>
                  <a:lnTo>
                    <a:pt x="14" y="18"/>
                  </a:lnTo>
                  <a:lnTo>
                    <a:pt x="1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1" name="Freeform 251">
              <a:extLst>
                <a:ext uri="{FF2B5EF4-FFF2-40B4-BE49-F238E27FC236}">
                  <a16:creationId xmlns:a16="http://schemas.microsoft.com/office/drawing/2014/main" xmlns="" id="{22388B23-E8A1-42E9-9A0D-545EE5A69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6676" y="2281384"/>
              <a:ext cx="470775" cy="407890"/>
            </a:xfrm>
            <a:custGeom>
              <a:avLst/>
              <a:gdLst>
                <a:gd name="T0" fmla="*/ 303 w 352"/>
                <a:gd name="T1" fmla="*/ 42 h 306"/>
                <a:gd name="T2" fmla="*/ 280 w 352"/>
                <a:gd name="T3" fmla="*/ 30 h 306"/>
                <a:gd name="T4" fmla="*/ 263 w 352"/>
                <a:gd name="T5" fmla="*/ 48 h 306"/>
                <a:gd name="T6" fmla="*/ 237 w 352"/>
                <a:gd name="T7" fmla="*/ 66 h 306"/>
                <a:gd name="T8" fmla="*/ 213 w 352"/>
                <a:gd name="T9" fmla="*/ 61 h 306"/>
                <a:gd name="T10" fmla="*/ 197 w 352"/>
                <a:gd name="T11" fmla="*/ 78 h 306"/>
                <a:gd name="T12" fmla="*/ 173 w 352"/>
                <a:gd name="T13" fmla="*/ 78 h 306"/>
                <a:gd name="T14" fmla="*/ 158 w 352"/>
                <a:gd name="T15" fmla="*/ 90 h 306"/>
                <a:gd name="T16" fmla="*/ 148 w 352"/>
                <a:gd name="T17" fmla="*/ 100 h 306"/>
                <a:gd name="T18" fmla="*/ 138 w 352"/>
                <a:gd name="T19" fmla="*/ 117 h 306"/>
                <a:gd name="T20" fmla="*/ 124 w 352"/>
                <a:gd name="T21" fmla="*/ 129 h 306"/>
                <a:gd name="T22" fmla="*/ 115 w 352"/>
                <a:gd name="T23" fmla="*/ 151 h 306"/>
                <a:gd name="T24" fmla="*/ 117 w 352"/>
                <a:gd name="T25" fmla="*/ 172 h 306"/>
                <a:gd name="T26" fmla="*/ 96 w 352"/>
                <a:gd name="T27" fmla="*/ 174 h 306"/>
                <a:gd name="T28" fmla="*/ 96 w 352"/>
                <a:gd name="T29" fmla="*/ 210 h 306"/>
                <a:gd name="T30" fmla="*/ 107 w 352"/>
                <a:gd name="T31" fmla="*/ 242 h 306"/>
                <a:gd name="T32" fmla="*/ 96 w 352"/>
                <a:gd name="T33" fmla="*/ 267 h 306"/>
                <a:gd name="T34" fmla="*/ 87 w 352"/>
                <a:gd name="T35" fmla="*/ 295 h 306"/>
                <a:gd name="T36" fmla="*/ 55 w 352"/>
                <a:gd name="T37" fmla="*/ 292 h 306"/>
                <a:gd name="T38" fmla="*/ 33 w 352"/>
                <a:gd name="T39" fmla="*/ 303 h 306"/>
                <a:gd name="T40" fmla="*/ 15 w 352"/>
                <a:gd name="T41" fmla="*/ 287 h 306"/>
                <a:gd name="T42" fmla="*/ 11 w 352"/>
                <a:gd name="T43" fmla="*/ 256 h 306"/>
                <a:gd name="T44" fmla="*/ 0 w 352"/>
                <a:gd name="T45" fmla="*/ 218 h 306"/>
                <a:gd name="T46" fmla="*/ 14 w 352"/>
                <a:gd name="T47" fmla="*/ 205 h 306"/>
                <a:gd name="T48" fmla="*/ 40 w 352"/>
                <a:gd name="T49" fmla="*/ 199 h 306"/>
                <a:gd name="T50" fmla="*/ 60 w 352"/>
                <a:gd name="T51" fmla="*/ 189 h 306"/>
                <a:gd name="T52" fmla="*/ 82 w 352"/>
                <a:gd name="T53" fmla="*/ 165 h 306"/>
                <a:gd name="T54" fmla="*/ 94 w 352"/>
                <a:gd name="T55" fmla="*/ 144 h 306"/>
                <a:gd name="T56" fmla="*/ 102 w 352"/>
                <a:gd name="T57" fmla="*/ 117 h 306"/>
                <a:gd name="T58" fmla="*/ 129 w 352"/>
                <a:gd name="T59" fmla="*/ 87 h 306"/>
                <a:gd name="T60" fmla="*/ 163 w 352"/>
                <a:gd name="T61" fmla="*/ 74 h 306"/>
                <a:gd name="T62" fmla="*/ 195 w 352"/>
                <a:gd name="T63" fmla="*/ 64 h 306"/>
                <a:gd name="T64" fmla="*/ 212 w 352"/>
                <a:gd name="T65" fmla="*/ 46 h 306"/>
                <a:gd name="T66" fmla="*/ 198 w 352"/>
                <a:gd name="T67" fmla="*/ 23 h 306"/>
                <a:gd name="T68" fmla="*/ 218 w 352"/>
                <a:gd name="T69" fmla="*/ 8 h 306"/>
                <a:gd name="T70" fmla="*/ 229 w 352"/>
                <a:gd name="T71" fmla="*/ 25 h 306"/>
                <a:gd name="T72" fmla="*/ 236 w 352"/>
                <a:gd name="T73" fmla="*/ 17 h 306"/>
                <a:gd name="T74" fmla="*/ 248 w 352"/>
                <a:gd name="T75" fmla="*/ 26 h 306"/>
                <a:gd name="T76" fmla="*/ 246 w 352"/>
                <a:gd name="T77" fmla="*/ 10 h 306"/>
                <a:gd name="T78" fmla="*/ 271 w 352"/>
                <a:gd name="T79" fmla="*/ 12 h 306"/>
                <a:gd name="T80" fmla="*/ 282 w 352"/>
                <a:gd name="T81" fmla="*/ 14 h 306"/>
                <a:gd name="T82" fmla="*/ 309 w 352"/>
                <a:gd name="T83" fmla="*/ 5 h 306"/>
                <a:gd name="T84" fmla="*/ 322 w 352"/>
                <a:gd name="T85" fmla="*/ 26 h 306"/>
                <a:gd name="T86" fmla="*/ 333 w 352"/>
                <a:gd name="T87" fmla="*/ 48 h 306"/>
                <a:gd name="T88" fmla="*/ 310 w 352"/>
                <a:gd name="T89" fmla="*/ 80 h 306"/>
                <a:gd name="T90" fmla="*/ 303 w 352"/>
                <a:gd name="T91" fmla="*/ 42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2" h="306">
                  <a:moveTo>
                    <a:pt x="295" y="66"/>
                  </a:moveTo>
                  <a:lnTo>
                    <a:pt x="303" y="42"/>
                  </a:lnTo>
                  <a:lnTo>
                    <a:pt x="292" y="32"/>
                  </a:lnTo>
                  <a:lnTo>
                    <a:pt x="280" y="30"/>
                  </a:lnTo>
                  <a:lnTo>
                    <a:pt x="273" y="37"/>
                  </a:lnTo>
                  <a:lnTo>
                    <a:pt x="263" y="48"/>
                  </a:lnTo>
                  <a:lnTo>
                    <a:pt x="258" y="63"/>
                  </a:lnTo>
                  <a:lnTo>
                    <a:pt x="237" y="66"/>
                  </a:lnTo>
                  <a:lnTo>
                    <a:pt x="224" y="63"/>
                  </a:lnTo>
                  <a:lnTo>
                    <a:pt x="213" y="61"/>
                  </a:lnTo>
                  <a:lnTo>
                    <a:pt x="205" y="68"/>
                  </a:lnTo>
                  <a:lnTo>
                    <a:pt x="197" y="78"/>
                  </a:lnTo>
                  <a:lnTo>
                    <a:pt x="184" y="78"/>
                  </a:lnTo>
                  <a:lnTo>
                    <a:pt x="173" y="78"/>
                  </a:lnTo>
                  <a:lnTo>
                    <a:pt x="166" y="85"/>
                  </a:lnTo>
                  <a:lnTo>
                    <a:pt x="158" y="90"/>
                  </a:lnTo>
                  <a:lnTo>
                    <a:pt x="150" y="87"/>
                  </a:lnTo>
                  <a:lnTo>
                    <a:pt x="148" y="100"/>
                  </a:lnTo>
                  <a:lnTo>
                    <a:pt x="140" y="104"/>
                  </a:lnTo>
                  <a:lnTo>
                    <a:pt x="138" y="117"/>
                  </a:lnTo>
                  <a:lnTo>
                    <a:pt x="128" y="117"/>
                  </a:lnTo>
                  <a:lnTo>
                    <a:pt x="124" y="129"/>
                  </a:lnTo>
                  <a:lnTo>
                    <a:pt x="117" y="133"/>
                  </a:lnTo>
                  <a:lnTo>
                    <a:pt x="115" y="151"/>
                  </a:lnTo>
                  <a:lnTo>
                    <a:pt x="108" y="165"/>
                  </a:lnTo>
                  <a:lnTo>
                    <a:pt x="117" y="172"/>
                  </a:lnTo>
                  <a:lnTo>
                    <a:pt x="110" y="177"/>
                  </a:lnTo>
                  <a:lnTo>
                    <a:pt x="96" y="174"/>
                  </a:lnTo>
                  <a:lnTo>
                    <a:pt x="93" y="184"/>
                  </a:lnTo>
                  <a:lnTo>
                    <a:pt x="96" y="210"/>
                  </a:lnTo>
                  <a:lnTo>
                    <a:pt x="99" y="226"/>
                  </a:lnTo>
                  <a:lnTo>
                    <a:pt x="107" y="242"/>
                  </a:lnTo>
                  <a:lnTo>
                    <a:pt x="110" y="259"/>
                  </a:lnTo>
                  <a:lnTo>
                    <a:pt x="96" y="267"/>
                  </a:lnTo>
                  <a:lnTo>
                    <a:pt x="92" y="286"/>
                  </a:lnTo>
                  <a:lnTo>
                    <a:pt x="87" y="295"/>
                  </a:lnTo>
                  <a:lnTo>
                    <a:pt x="76" y="289"/>
                  </a:lnTo>
                  <a:lnTo>
                    <a:pt x="55" y="292"/>
                  </a:lnTo>
                  <a:lnTo>
                    <a:pt x="44" y="300"/>
                  </a:lnTo>
                  <a:lnTo>
                    <a:pt x="33" y="303"/>
                  </a:lnTo>
                  <a:lnTo>
                    <a:pt x="16" y="305"/>
                  </a:lnTo>
                  <a:lnTo>
                    <a:pt x="15" y="287"/>
                  </a:lnTo>
                  <a:lnTo>
                    <a:pt x="8" y="282"/>
                  </a:lnTo>
                  <a:lnTo>
                    <a:pt x="11" y="256"/>
                  </a:lnTo>
                  <a:lnTo>
                    <a:pt x="1" y="255"/>
                  </a:lnTo>
                  <a:lnTo>
                    <a:pt x="0" y="218"/>
                  </a:lnTo>
                  <a:lnTo>
                    <a:pt x="11" y="214"/>
                  </a:lnTo>
                  <a:lnTo>
                    <a:pt x="14" y="205"/>
                  </a:lnTo>
                  <a:lnTo>
                    <a:pt x="27" y="200"/>
                  </a:lnTo>
                  <a:lnTo>
                    <a:pt x="40" y="199"/>
                  </a:lnTo>
                  <a:lnTo>
                    <a:pt x="45" y="191"/>
                  </a:lnTo>
                  <a:lnTo>
                    <a:pt x="60" y="189"/>
                  </a:lnTo>
                  <a:lnTo>
                    <a:pt x="62" y="172"/>
                  </a:lnTo>
                  <a:lnTo>
                    <a:pt x="82" y="165"/>
                  </a:lnTo>
                  <a:lnTo>
                    <a:pt x="84" y="151"/>
                  </a:lnTo>
                  <a:lnTo>
                    <a:pt x="94" y="144"/>
                  </a:lnTo>
                  <a:lnTo>
                    <a:pt x="98" y="131"/>
                  </a:lnTo>
                  <a:lnTo>
                    <a:pt x="102" y="117"/>
                  </a:lnTo>
                  <a:lnTo>
                    <a:pt x="117" y="102"/>
                  </a:lnTo>
                  <a:lnTo>
                    <a:pt x="129" y="87"/>
                  </a:lnTo>
                  <a:lnTo>
                    <a:pt x="144" y="78"/>
                  </a:lnTo>
                  <a:lnTo>
                    <a:pt x="163" y="74"/>
                  </a:lnTo>
                  <a:lnTo>
                    <a:pt x="174" y="68"/>
                  </a:lnTo>
                  <a:lnTo>
                    <a:pt x="195" y="64"/>
                  </a:lnTo>
                  <a:lnTo>
                    <a:pt x="199" y="52"/>
                  </a:lnTo>
                  <a:lnTo>
                    <a:pt x="212" y="46"/>
                  </a:lnTo>
                  <a:lnTo>
                    <a:pt x="208" y="30"/>
                  </a:lnTo>
                  <a:lnTo>
                    <a:pt x="198" y="23"/>
                  </a:lnTo>
                  <a:lnTo>
                    <a:pt x="213" y="19"/>
                  </a:lnTo>
                  <a:lnTo>
                    <a:pt x="218" y="8"/>
                  </a:lnTo>
                  <a:lnTo>
                    <a:pt x="221" y="23"/>
                  </a:lnTo>
                  <a:lnTo>
                    <a:pt x="229" y="25"/>
                  </a:lnTo>
                  <a:lnTo>
                    <a:pt x="229" y="17"/>
                  </a:lnTo>
                  <a:lnTo>
                    <a:pt x="236" y="17"/>
                  </a:lnTo>
                  <a:lnTo>
                    <a:pt x="239" y="23"/>
                  </a:lnTo>
                  <a:lnTo>
                    <a:pt x="248" y="26"/>
                  </a:lnTo>
                  <a:lnTo>
                    <a:pt x="253" y="15"/>
                  </a:lnTo>
                  <a:lnTo>
                    <a:pt x="246" y="10"/>
                  </a:lnTo>
                  <a:lnTo>
                    <a:pt x="258" y="3"/>
                  </a:lnTo>
                  <a:lnTo>
                    <a:pt x="271" y="12"/>
                  </a:lnTo>
                  <a:lnTo>
                    <a:pt x="279" y="0"/>
                  </a:lnTo>
                  <a:lnTo>
                    <a:pt x="282" y="14"/>
                  </a:lnTo>
                  <a:lnTo>
                    <a:pt x="295" y="15"/>
                  </a:lnTo>
                  <a:lnTo>
                    <a:pt x="309" y="5"/>
                  </a:lnTo>
                  <a:lnTo>
                    <a:pt x="325" y="15"/>
                  </a:lnTo>
                  <a:lnTo>
                    <a:pt x="322" y="26"/>
                  </a:lnTo>
                  <a:lnTo>
                    <a:pt x="351" y="36"/>
                  </a:lnTo>
                  <a:lnTo>
                    <a:pt x="333" y="48"/>
                  </a:lnTo>
                  <a:lnTo>
                    <a:pt x="317" y="65"/>
                  </a:lnTo>
                  <a:lnTo>
                    <a:pt x="310" y="80"/>
                  </a:lnTo>
                  <a:lnTo>
                    <a:pt x="295" y="66"/>
                  </a:lnTo>
                  <a:lnTo>
                    <a:pt x="303" y="4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2" name="Freeform 252">
              <a:extLst>
                <a:ext uri="{FF2B5EF4-FFF2-40B4-BE49-F238E27FC236}">
                  <a16:creationId xmlns:a16="http://schemas.microsoft.com/office/drawing/2014/main" xmlns="" id="{7126BEC4-3ABC-42DD-BD0B-4CE9FC059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618" y="2875975"/>
              <a:ext cx="227066" cy="235458"/>
            </a:xfrm>
            <a:custGeom>
              <a:avLst/>
              <a:gdLst>
                <a:gd name="T0" fmla="*/ 89 w 170"/>
                <a:gd name="T1" fmla="*/ 3 h 176"/>
                <a:gd name="T2" fmla="*/ 85 w 170"/>
                <a:gd name="T3" fmla="*/ 15 h 176"/>
                <a:gd name="T4" fmla="*/ 78 w 170"/>
                <a:gd name="T5" fmla="*/ 21 h 176"/>
                <a:gd name="T6" fmla="*/ 74 w 170"/>
                <a:gd name="T7" fmla="*/ 29 h 176"/>
                <a:gd name="T8" fmla="*/ 63 w 170"/>
                <a:gd name="T9" fmla="*/ 27 h 176"/>
                <a:gd name="T10" fmla="*/ 61 w 170"/>
                <a:gd name="T11" fmla="*/ 36 h 176"/>
                <a:gd name="T12" fmla="*/ 50 w 170"/>
                <a:gd name="T13" fmla="*/ 37 h 176"/>
                <a:gd name="T14" fmla="*/ 42 w 170"/>
                <a:gd name="T15" fmla="*/ 29 h 176"/>
                <a:gd name="T16" fmla="*/ 34 w 170"/>
                <a:gd name="T17" fmla="*/ 31 h 176"/>
                <a:gd name="T18" fmla="*/ 38 w 170"/>
                <a:gd name="T19" fmla="*/ 39 h 176"/>
                <a:gd name="T20" fmla="*/ 36 w 170"/>
                <a:gd name="T21" fmla="*/ 47 h 176"/>
                <a:gd name="T22" fmla="*/ 23 w 170"/>
                <a:gd name="T23" fmla="*/ 48 h 176"/>
                <a:gd name="T24" fmla="*/ 17 w 170"/>
                <a:gd name="T25" fmla="*/ 52 h 176"/>
                <a:gd name="T26" fmla="*/ 15 w 170"/>
                <a:gd name="T27" fmla="*/ 54 h 176"/>
                <a:gd name="T28" fmla="*/ 0 w 170"/>
                <a:gd name="T29" fmla="*/ 56 h 176"/>
                <a:gd name="T30" fmla="*/ 0 w 170"/>
                <a:gd name="T31" fmla="*/ 60 h 176"/>
                <a:gd name="T32" fmla="*/ 0 w 170"/>
                <a:gd name="T33" fmla="*/ 66 h 176"/>
                <a:gd name="T34" fmla="*/ 18 w 170"/>
                <a:gd name="T35" fmla="*/ 75 h 176"/>
                <a:gd name="T36" fmla="*/ 26 w 170"/>
                <a:gd name="T37" fmla="*/ 79 h 176"/>
                <a:gd name="T38" fmla="*/ 34 w 170"/>
                <a:gd name="T39" fmla="*/ 88 h 176"/>
                <a:gd name="T40" fmla="*/ 40 w 170"/>
                <a:gd name="T41" fmla="*/ 102 h 176"/>
                <a:gd name="T42" fmla="*/ 48 w 170"/>
                <a:gd name="T43" fmla="*/ 111 h 176"/>
                <a:gd name="T44" fmla="*/ 40 w 170"/>
                <a:gd name="T45" fmla="*/ 115 h 176"/>
                <a:gd name="T46" fmla="*/ 36 w 170"/>
                <a:gd name="T47" fmla="*/ 150 h 176"/>
                <a:gd name="T48" fmla="*/ 31 w 170"/>
                <a:gd name="T49" fmla="*/ 160 h 176"/>
                <a:gd name="T50" fmla="*/ 50 w 170"/>
                <a:gd name="T51" fmla="*/ 166 h 176"/>
                <a:gd name="T52" fmla="*/ 70 w 170"/>
                <a:gd name="T53" fmla="*/ 167 h 176"/>
                <a:gd name="T54" fmla="*/ 80 w 170"/>
                <a:gd name="T55" fmla="*/ 175 h 176"/>
                <a:gd name="T56" fmla="*/ 108 w 170"/>
                <a:gd name="T57" fmla="*/ 175 h 176"/>
                <a:gd name="T58" fmla="*/ 105 w 170"/>
                <a:gd name="T59" fmla="*/ 164 h 176"/>
                <a:gd name="T60" fmla="*/ 110 w 170"/>
                <a:gd name="T61" fmla="*/ 153 h 176"/>
                <a:gd name="T62" fmla="*/ 122 w 170"/>
                <a:gd name="T63" fmla="*/ 152 h 176"/>
                <a:gd name="T64" fmla="*/ 134 w 170"/>
                <a:gd name="T65" fmla="*/ 152 h 176"/>
                <a:gd name="T66" fmla="*/ 143 w 170"/>
                <a:gd name="T67" fmla="*/ 158 h 176"/>
                <a:gd name="T68" fmla="*/ 154 w 170"/>
                <a:gd name="T69" fmla="*/ 161 h 176"/>
                <a:gd name="T70" fmla="*/ 162 w 170"/>
                <a:gd name="T71" fmla="*/ 148 h 176"/>
                <a:gd name="T72" fmla="*/ 162 w 170"/>
                <a:gd name="T73" fmla="*/ 138 h 176"/>
                <a:gd name="T74" fmla="*/ 151 w 170"/>
                <a:gd name="T75" fmla="*/ 133 h 176"/>
                <a:gd name="T76" fmla="*/ 149 w 170"/>
                <a:gd name="T77" fmla="*/ 119 h 176"/>
                <a:gd name="T78" fmla="*/ 155 w 170"/>
                <a:gd name="T79" fmla="*/ 110 h 176"/>
                <a:gd name="T80" fmla="*/ 155 w 170"/>
                <a:gd name="T81" fmla="*/ 99 h 176"/>
                <a:gd name="T82" fmla="*/ 148 w 170"/>
                <a:gd name="T83" fmla="*/ 93 h 176"/>
                <a:gd name="T84" fmla="*/ 151 w 170"/>
                <a:gd name="T85" fmla="*/ 84 h 176"/>
                <a:gd name="T86" fmla="*/ 157 w 170"/>
                <a:gd name="T87" fmla="*/ 74 h 176"/>
                <a:gd name="T88" fmla="*/ 166 w 170"/>
                <a:gd name="T89" fmla="*/ 73 h 176"/>
                <a:gd name="T90" fmla="*/ 163 w 170"/>
                <a:gd name="T91" fmla="*/ 51 h 176"/>
                <a:gd name="T92" fmla="*/ 169 w 170"/>
                <a:gd name="T93" fmla="*/ 43 h 176"/>
                <a:gd name="T94" fmla="*/ 156 w 170"/>
                <a:gd name="T95" fmla="*/ 32 h 176"/>
                <a:gd name="T96" fmla="*/ 137 w 170"/>
                <a:gd name="T97" fmla="*/ 33 h 176"/>
                <a:gd name="T98" fmla="*/ 119 w 170"/>
                <a:gd name="T99" fmla="*/ 27 h 176"/>
                <a:gd name="T100" fmla="*/ 114 w 170"/>
                <a:gd name="T101" fmla="*/ 14 h 176"/>
                <a:gd name="T102" fmla="*/ 102 w 170"/>
                <a:gd name="T103" fmla="*/ 8 h 176"/>
                <a:gd name="T104" fmla="*/ 103 w 170"/>
                <a:gd name="T105" fmla="*/ 0 h 176"/>
                <a:gd name="T106" fmla="*/ 89 w 170"/>
                <a:gd name="T107" fmla="*/ 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0" h="176">
                  <a:moveTo>
                    <a:pt x="89" y="3"/>
                  </a:moveTo>
                  <a:lnTo>
                    <a:pt x="85" y="15"/>
                  </a:lnTo>
                  <a:lnTo>
                    <a:pt x="78" y="21"/>
                  </a:lnTo>
                  <a:lnTo>
                    <a:pt x="74" y="29"/>
                  </a:lnTo>
                  <a:lnTo>
                    <a:pt x="63" y="27"/>
                  </a:lnTo>
                  <a:lnTo>
                    <a:pt x="61" y="36"/>
                  </a:lnTo>
                  <a:lnTo>
                    <a:pt x="50" y="37"/>
                  </a:lnTo>
                  <a:lnTo>
                    <a:pt x="42" y="29"/>
                  </a:lnTo>
                  <a:lnTo>
                    <a:pt x="34" y="31"/>
                  </a:lnTo>
                  <a:lnTo>
                    <a:pt x="38" y="39"/>
                  </a:lnTo>
                  <a:lnTo>
                    <a:pt x="36" y="47"/>
                  </a:lnTo>
                  <a:lnTo>
                    <a:pt x="23" y="48"/>
                  </a:lnTo>
                  <a:lnTo>
                    <a:pt x="17" y="52"/>
                  </a:lnTo>
                  <a:lnTo>
                    <a:pt x="15" y="54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18" y="75"/>
                  </a:lnTo>
                  <a:lnTo>
                    <a:pt x="26" y="79"/>
                  </a:lnTo>
                  <a:lnTo>
                    <a:pt x="34" y="88"/>
                  </a:lnTo>
                  <a:lnTo>
                    <a:pt x="40" y="102"/>
                  </a:lnTo>
                  <a:lnTo>
                    <a:pt x="48" y="111"/>
                  </a:lnTo>
                  <a:lnTo>
                    <a:pt x="40" y="115"/>
                  </a:lnTo>
                  <a:lnTo>
                    <a:pt x="36" y="150"/>
                  </a:lnTo>
                  <a:lnTo>
                    <a:pt x="31" y="160"/>
                  </a:lnTo>
                  <a:lnTo>
                    <a:pt x="50" y="166"/>
                  </a:lnTo>
                  <a:lnTo>
                    <a:pt x="70" y="167"/>
                  </a:lnTo>
                  <a:lnTo>
                    <a:pt x="80" y="175"/>
                  </a:lnTo>
                  <a:lnTo>
                    <a:pt x="108" y="175"/>
                  </a:lnTo>
                  <a:lnTo>
                    <a:pt x="105" y="164"/>
                  </a:lnTo>
                  <a:lnTo>
                    <a:pt x="110" y="153"/>
                  </a:lnTo>
                  <a:lnTo>
                    <a:pt x="122" y="152"/>
                  </a:lnTo>
                  <a:lnTo>
                    <a:pt x="134" y="152"/>
                  </a:lnTo>
                  <a:lnTo>
                    <a:pt x="143" y="158"/>
                  </a:lnTo>
                  <a:lnTo>
                    <a:pt x="154" y="161"/>
                  </a:lnTo>
                  <a:lnTo>
                    <a:pt x="162" y="148"/>
                  </a:lnTo>
                  <a:lnTo>
                    <a:pt x="162" y="138"/>
                  </a:lnTo>
                  <a:lnTo>
                    <a:pt x="151" y="133"/>
                  </a:lnTo>
                  <a:lnTo>
                    <a:pt x="149" y="119"/>
                  </a:lnTo>
                  <a:lnTo>
                    <a:pt x="155" y="110"/>
                  </a:lnTo>
                  <a:lnTo>
                    <a:pt x="155" y="99"/>
                  </a:lnTo>
                  <a:lnTo>
                    <a:pt x="148" y="93"/>
                  </a:lnTo>
                  <a:lnTo>
                    <a:pt x="151" y="84"/>
                  </a:lnTo>
                  <a:lnTo>
                    <a:pt x="157" y="74"/>
                  </a:lnTo>
                  <a:lnTo>
                    <a:pt x="166" y="73"/>
                  </a:lnTo>
                  <a:lnTo>
                    <a:pt x="163" y="51"/>
                  </a:lnTo>
                  <a:lnTo>
                    <a:pt x="169" y="43"/>
                  </a:lnTo>
                  <a:lnTo>
                    <a:pt x="156" y="32"/>
                  </a:lnTo>
                  <a:lnTo>
                    <a:pt x="137" y="33"/>
                  </a:lnTo>
                  <a:lnTo>
                    <a:pt x="119" y="27"/>
                  </a:lnTo>
                  <a:lnTo>
                    <a:pt x="114" y="14"/>
                  </a:lnTo>
                  <a:lnTo>
                    <a:pt x="102" y="8"/>
                  </a:lnTo>
                  <a:lnTo>
                    <a:pt x="103" y="0"/>
                  </a:lnTo>
                  <a:lnTo>
                    <a:pt x="89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3" name="Freeform 253">
              <a:extLst>
                <a:ext uri="{FF2B5EF4-FFF2-40B4-BE49-F238E27FC236}">
                  <a16:creationId xmlns:a16="http://schemas.microsoft.com/office/drawing/2014/main" xmlns="" id="{B1CD6D1E-E133-436A-80EB-984522952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963" y="2987758"/>
              <a:ext cx="228255" cy="225945"/>
            </a:xfrm>
            <a:custGeom>
              <a:avLst/>
              <a:gdLst>
                <a:gd name="T0" fmla="*/ 13 w 172"/>
                <a:gd name="T1" fmla="*/ 65 h 170"/>
                <a:gd name="T2" fmla="*/ 13 w 172"/>
                <a:gd name="T3" fmla="*/ 55 h 170"/>
                <a:gd name="T4" fmla="*/ 2 w 172"/>
                <a:gd name="T5" fmla="*/ 50 h 170"/>
                <a:gd name="T6" fmla="*/ 0 w 172"/>
                <a:gd name="T7" fmla="*/ 36 h 170"/>
                <a:gd name="T8" fmla="*/ 6 w 172"/>
                <a:gd name="T9" fmla="*/ 27 h 170"/>
                <a:gd name="T10" fmla="*/ 6 w 172"/>
                <a:gd name="T11" fmla="*/ 16 h 170"/>
                <a:gd name="T12" fmla="*/ 20 w 172"/>
                <a:gd name="T13" fmla="*/ 16 h 170"/>
                <a:gd name="T14" fmla="*/ 25 w 172"/>
                <a:gd name="T15" fmla="*/ 10 h 170"/>
                <a:gd name="T16" fmla="*/ 30 w 172"/>
                <a:gd name="T17" fmla="*/ 17 h 170"/>
                <a:gd name="T18" fmla="*/ 35 w 172"/>
                <a:gd name="T19" fmla="*/ 12 h 170"/>
                <a:gd name="T20" fmla="*/ 41 w 172"/>
                <a:gd name="T21" fmla="*/ 14 h 170"/>
                <a:gd name="T22" fmla="*/ 46 w 172"/>
                <a:gd name="T23" fmla="*/ 3 h 170"/>
                <a:gd name="T24" fmla="*/ 52 w 172"/>
                <a:gd name="T25" fmla="*/ 6 h 170"/>
                <a:gd name="T26" fmla="*/ 67 w 172"/>
                <a:gd name="T27" fmla="*/ 6 h 170"/>
                <a:gd name="T28" fmla="*/ 80 w 172"/>
                <a:gd name="T29" fmla="*/ 0 h 170"/>
                <a:gd name="T30" fmla="*/ 88 w 172"/>
                <a:gd name="T31" fmla="*/ 9 h 170"/>
                <a:gd name="T32" fmla="*/ 91 w 172"/>
                <a:gd name="T33" fmla="*/ 21 h 170"/>
                <a:gd name="T34" fmla="*/ 84 w 172"/>
                <a:gd name="T35" fmla="*/ 27 h 170"/>
                <a:gd name="T36" fmla="*/ 80 w 172"/>
                <a:gd name="T37" fmla="*/ 41 h 170"/>
                <a:gd name="T38" fmla="*/ 80 w 172"/>
                <a:gd name="T39" fmla="*/ 51 h 170"/>
                <a:gd name="T40" fmla="*/ 86 w 172"/>
                <a:gd name="T41" fmla="*/ 54 h 170"/>
                <a:gd name="T42" fmla="*/ 95 w 172"/>
                <a:gd name="T43" fmla="*/ 69 h 170"/>
                <a:gd name="T44" fmla="*/ 106 w 172"/>
                <a:gd name="T45" fmla="*/ 85 h 170"/>
                <a:gd name="T46" fmla="*/ 124 w 172"/>
                <a:gd name="T47" fmla="*/ 101 h 170"/>
                <a:gd name="T48" fmla="*/ 133 w 172"/>
                <a:gd name="T49" fmla="*/ 101 h 170"/>
                <a:gd name="T50" fmla="*/ 140 w 172"/>
                <a:gd name="T51" fmla="*/ 99 h 170"/>
                <a:gd name="T52" fmla="*/ 141 w 172"/>
                <a:gd name="T53" fmla="*/ 106 h 170"/>
                <a:gd name="T54" fmla="*/ 146 w 172"/>
                <a:gd name="T55" fmla="*/ 111 h 170"/>
                <a:gd name="T56" fmla="*/ 149 w 172"/>
                <a:gd name="T57" fmla="*/ 117 h 170"/>
                <a:gd name="T58" fmla="*/ 157 w 172"/>
                <a:gd name="T59" fmla="*/ 123 h 170"/>
                <a:gd name="T60" fmla="*/ 163 w 172"/>
                <a:gd name="T61" fmla="*/ 129 h 170"/>
                <a:gd name="T62" fmla="*/ 171 w 172"/>
                <a:gd name="T63" fmla="*/ 139 h 170"/>
                <a:gd name="T64" fmla="*/ 166 w 172"/>
                <a:gd name="T65" fmla="*/ 143 h 170"/>
                <a:gd name="T66" fmla="*/ 154 w 172"/>
                <a:gd name="T67" fmla="*/ 134 h 170"/>
                <a:gd name="T68" fmla="*/ 145 w 172"/>
                <a:gd name="T69" fmla="*/ 138 h 170"/>
                <a:gd name="T70" fmla="*/ 142 w 172"/>
                <a:gd name="T71" fmla="*/ 144 h 170"/>
                <a:gd name="T72" fmla="*/ 148 w 172"/>
                <a:gd name="T73" fmla="*/ 155 h 170"/>
                <a:gd name="T74" fmla="*/ 142 w 172"/>
                <a:gd name="T75" fmla="*/ 161 h 170"/>
                <a:gd name="T76" fmla="*/ 138 w 172"/>
                <a:gd name="T77" fmla="*/ 169 h 170"/>
                <a:gd name="T78" fmla="*/ 130 w 172"/>
                <a:gd name="T79" fmla="*/ 169 h 170"/>
                <a:gd name="T80" fmla="*/ 131 w 172"/>
                <a:gd name="T81" fmla="*/ 152 h 170"/>
                <a:gd name="T82" fmla="*/ 131 w 172"/>
                <a:gd name="T83" fmla="*/ 144 h 170"/>
                <a:gd name="T84" fmla="*/ 121 w 172"/>
                <a:gd name="T85" fmla="*/ 137 h 170"/>
                <a:gd name="T86" fmla="*/ 116 w 172"/>
                <a:gd name="T87" fmla="*/ 128 h 170"/>
                <a:gd name="T88" fmla="*/ 108 w 172"/>
                <a:gd name="T89" fmla="*/ 126 h 170"/>
                <a:gd name="T90" fmla="*/ 108 w 172"/>
                <a:gd name="T91" fmla="*/ 117 h 170"/>
                <a:gd name="T92" fmla="*/ 87 w 172"/>
                <a:gd name="T93" fmla="*/ 111 h 170"/>
                <a:gd name="T94" fmla="*/ 74 w 172"/>
                <a:gd name="T95" fmla="*/ 99 h 170"/>
                <a:gd name="T96" fmla="*/ 66 w 172"/>
                <a:gd name="T97" fmla="*/ 93 h 170"/>
                <a:gd name="T98" fmla="*/ 58 w 172"/>
                <a:gd name="T99" fmla="*/ 86 h 170"/>
                <a:gd name="T100" fmla="*/ 53 w 172"/>
                <a:gd name="T101" fmla="*/ 69 h 170"/>
                <a:gd name="T102" fmla="*/ 49 w 172"/>
                <a:gd name="T103" fmla="*/ 59 h 170"/>
                <a:gd name="T104" fmla="*/ 32 w 172"/>
                <a:gd name="T105" fmla="*/ 56 h 170"/>
                <a:gd name="T106" fmla="*/ 29 w 172"/>
                <a:gd name="T107" fmla="*/ 64 h 170"/>
                <a:gd name="T108" fmla="*/ 13 w 172"/>
                <a:gd name="T109" fmla="*/ 6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" h="170">
                  <a:moveTo>
                    <a:pt x="13" y="65"/>
                  </a:moveTo>
                  <a:lnTo>
                    <a:pt x="13" y="55"/>
                  </a:lnTo>
                  <a:lnTo>
                    <a:pt x="2" y="50"/>
                  </a:lnTo>
                  <a:lnTo>
                    <a:pt x="0" y="36"/>
                  </a:lnTo>
                  <a:lnTo>
                    <a:pt x="6" y="27"/>
                  </a:lnTo>
                  <a:lnTo>
                    <a:pt x="6" y="16"/>
                  </a:lnTo>
                  <a:lnTo>
                    <a:pt x="20" y="16"/>
                  </a:lnTo>
                  <a:lnTo>
                    <a:pt x="25" y="10"/>
                  </a:lnTo>
                  <a:lnTo>
                    <a:pt x="30" y="17"/>
                  </a:lnTo>
                  <a:lnTo>
                    <a:pt x="35" y="12"/>
                  </a:lnTo>
                  <a:lnTo>
                    <a:pt x="41" y="14"/>
                  </a:lnTo>
                  <a:lnTo>
                    <a:pt x="46" y="3"/>
                  </a:lnTo>
                  <a:lnTo>
                    <a:pt x="52" y="6"/>
                  </a:lnTo>
                  <a:lnTo>
                    <a:pt x="67" y="6"/>
                  </a:lnTo>
                  <a:lnTo>
                    <a:pt x="80" y="0"/>
                  </a:lnTo>
                  <a:lnTo>
                    <a:pt x="88" y="9"/>
                  </a:lnTo>
                  <a:lnTo>
                    <a:pt x="91" y="21"/>
                  </a:lnTo>
                  <a:lnTo>
                    <a:pt x="84" y="27"/>
                  </a:lnTo>
                  <a:lnTo>
                    <a:pt x="80" y="41"/>
                  </a:lnTo>
                  <a:lnTo>
                    <a:pt x="80" y="51"/>
                  </a:lnTo>
                  <a:lnTo>
                    <a:pt x="86" y="54"/>
                  </a:lnTo>
                  <a:lnTo>
                    <a:pt x="95" y="69"/>
                  </a:lnTo>
                  <a:lnTo>
                    <a:pt x="106" y="85"/>
                  </a:lnTo>
                  <a:lnTo>
                    <a:pt x="124" y="101"/>
                  </a:lnTo>
                  <a:lnTo>
                    <a:pt x="133" y="101"/>
                  </a:lnTo>
                  <a:lnTo>
                    <a:pt x="140" y="99"/>
                  </a:lnTo>
                  <a:lnTo>
                    <a:pt x="141" y="106"/>
                  </a:lnTo>
                  <a:lnTo>
                    <a:pt x="146" y="111"/>
                  </a:lnTo>
                  <a:lnTo>
                    <a:pt x="149" y="117"/>
                  </a:lnTo>
                  <a:lnTo>
                    <a:pt x="157" y="123"/>
                  </a:lnTo>
                  <a:lnTo>
                    <a:pt x="163" y="129"/>
                  </a:lnTo>
                  <a:lnTo>
                    <a:pt x="171" y="139"/>
                  </a:lnTo>
                  <a:lnTo>
                    <a:pt x="166" y="143"/>
                  </a:lnTo>
                  <a:lnTo>
                    <a:pt x="154" y="134"/>
                  </a:lnTo>
                  <a:lnTo>
                    <a:pt x="145" y="138"/>
                  </a:lnTo>
                  <a:lnTo>
                    <a:pt x="142" y="144"/>
                  </a:lnTo>
                  <a:lnTo>
                    <a:pt x="148" y="155"/>
                  </a:lnTo>
                  <a:lnTo>
                    <a:pt x="142" y="161"/>
                  </a:lnTo>
                  <a:lnTo>
                    <a:pt x="138" y="169"/>
                  </a:lnTo>
                  <a:lnTo>
                    <a:pt x="130" y="169"/>
                  </a:lnTo>
                  <a:lnTo>
                    <a:pt x="131" y="152"/>
                  </a:lnTo>
                  <a:lnTo>
                    <a:pt x="131" y="144"/>
                  </a:lnTo>
                  <a:lnTo>
                    <a:pt x="121" y="137"/>
                  </a:lnTo>
                  <a:lnTo>
                    <a:pt x="116" y="128"/>
                  </a:lnTo>
                  <a:lnTo>
                    <a:pt x="108" y="126"/>
                  </a:lnTo>
                  <a:lnTo>
                    <a:pt x="108" y="117"/>
                  </a:lnTo>
                  <a:lnTo>
                    <a:pt x="87" y="111"/>
                  </a:lnTo>
                  <a:lnTo>
                    <a:pt x="74" y="99"/>
                  </a:lnTo>
                  <a:lnTo>
                    <a:pt x="66" y="93"/>
                  </a:lnTo>
                  <a:lnTo>
                    <a:pt x="58" y="86"/>
                  </a:lnTo>
                  <a:lnTo>
                    <a:pt x="53" y="69"/>
                  </a:lnTo>
                  <a:lnTo>
                    <a:pt x="49" y="59"/>
                  </a:lnTo>
                  <a:lnTo>
                    <a:pt x="32" y="56"/>
                  </a:lnTo>
                  <a:lnTo>
                    <a:pt x="29" y="64"/>
                  </a:lnTo>
                  <a:lnTo>
                    <a:pt x="13" y="6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4" name="Freeform 254">
              <a:extLst>
                <a:ext uri="{FF2B5EF4-FFF2-40B4-BE49-F238E27FC236}">
                  <a16:creationId xmlns:a16="http://schemas.microsoft.com/office/drawing/2014/main" xmlns="" id="{5EFCA12C-3DDF-4897-AAA9-1F67F9E46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2267" y="3076946"/>
              <a:ext cx="234199" cy="186702"/>
            </a:xfrm>
            <a:custGeom>
              <a:avLst/>
              <a:gdLst>
                <a:gd name="T0" fmla="*/ 174 w 175"/>
                <a:gd name="T1" fmla="*/ 25 h 140"/>
                <a:gd name="T2" fmla="*/ 147 w 175"/>
                <a:gd name="T3" fmla="*/ 25 h 140"/>
                <a:gd name="T4" fmla="*/ 137 w 175"/>
                <a:gd name="T5" fmla="*/ 18 h 140"/>
                <a:gd name="T6" fmla="*/ 116 w 175"/>
                <a:gd name="T7" fmla="*/ 16 h 140"/>
                <a:gd name="T8" fmla="*/ 98 w 175"/>
                <a:gd name="T9" fmla="*/ 10 h 140"/>
                <a:gd name="T10" fmla="*/ 76 w 175"/>
                <a:gd name="T11" fmla="*/ 3 h 140"/>
                <a:gd name="T12" fmla="*/ 64 w 175"/>
                <a:gd name="T13" fmla="*/ 6 h 140"/>
                <a:gd name="T14" fmla="*/ 53 w 175"/>
                <a:gd name="T15" fmla="*/ 0 h 140"/>
                <a:gd name="T16" fmla="*/ 5 w 175"/>
                <a:gd name="T17" fmla="*/ 1 h 140"/>
                <a:gd name="T18" fmla="*/ 8 w 175"/>
                <a:gd name="T19" fmla="*/ 8 h 140"/>
                <a:gd name="T20" fmla="*/ 0 w 175"/>
                <a:gd name="T21" fmla="*/ 11 h 140"/>
                <a:gd name="T22" fmla="*/ 1 w 175"/>
                <a:gd name="T23" fmla="*/ 22 h 140"/>
                <a:gd name="T24" fmla="*/ 8 w 175"/>
                <a:gd name="T25" fmla="*/ 30 h 140"/>
                <a:gd name="T26" fmla="*/ 12 w 175"/>
                <a:gd name="T27" fmla="*/ 40 h 140"/>
                <a:gd name="T28" fmla="*/ 25 w 175"/>
                <a:gd name="T29" fmla="*/ 39 h 140"/>
                <a:gd name="T30" fmla="*/ 35 w 175"/>
                <a:gd name="T31" fmla="*/ 35 h 140"/>
                <a:gd name="T32" fmla="*/ 39 w 175"/>
                <a:gd name="T33" fmla="*/ 40 h 140"/>
                <a:gd name="T34" fmla="*/ 36 w 175"/>
                <a:gd name="T35" fmla="*/ 45 h 140"/>
                <a:gd name="T36" fmla="*/ 33 w 175"/>
                <a:gd name="T37" fmla="*/ 50 h 140"/>
                <a:gd name="T38" fmla="*/ 27 w 175"/>
                <a:gd name="T39" fmla="*/ 77 h 140"/>
                <a:gd name="T40" fmla="*/ 21 w 175"/>
                <a:gd name="T41" fmla="*/ 84 h 140"/>
                <a:gd name="T42" fmla="*/ 29 w 175"/>
                <a:gd name="T43" fmla="*/ 90 h 140"/>
                <a:gd name="T44" fmla="*/ 30 w 175"/>
                <a:gd name="T45" fmla="*/ 111 h 140"/>
                <a:gd name="T46" fmla="*/ 31 w 175"/>
                <a:gd name="T47" fmla="*/ 120 h 140"/>
                <a:gd name="T48" fmla="*/ 40 w 175"/>
                <a:gd name="T49" fmla="*/ 122 h 140"/>
                <a:gd name="T50" fmla="*/ 40 w 175"/>
                <a:gd name="T51" fmla="*/ 132 h 140"/>
                <a:gd name="T52" fmla="*/ 50 w 175"/>
                <a:gd name="T53" fmla="*/ 139 h 140"/>
                <a:gd name="T54" fmla="*/ 59 w 175"/>
                <a:gd name="T55" fmla="*/ 136 h 140"/>
                <a:gd name="T56" fmla="*/ 67 w 175"/>
                <a:gd name="T57" fmla="*/ 131 h 140"/>
                <a:gd name="T58" fmla="*/ 101 w 175"/>
                <a:gd name="T59" fmla="*/ 132 h 140"/>
                <a:gd name="T60" fmla="*/ 109 w 175"/>
                <a:gd name="T61" fmla="*/ 126 h 140"/>
                <a:gd name="T62" fmla="*/ 109 w 175"/>
                <a:gd name="T63" fmla="*/ 117 h 140"/>
                <a:gd name="T64" fmla="*/ 119 w 175"/>
                <a:gd name="T65" fmla="*/ 111 h 140"/>
                <a:gd name="T66" fmla="*/ 126 w 175"/>
                <a:gd name="T67" fmla="*/ 103 h 140"/>
                <a:gd name="T68" fmla="*/ 129 w 175"/>
                <a:gd name="T69" fmla="*/ 92 h 140"/>
                <a:gd name="T70" fmla="*/ 119 w 175"/>
                <a:gd name="T71" fmla="*/ 80 h 140"/>
                <a:gd name="T72" fmla="*/ 126 w 175"/>
                <a:gd name="T73" fmla="*/ 71 h 140"/>
                <a:gd name="T74" fmla="*/ 133 w 175"/>
                <a:gd name="T75" fmla="*/ 61 h 140"/>
                <a:gd name="T76" fmla="*/ 144 w 175"/>
                <a:gd name="T77" fmla="*/ 58 h 140"/>
                <a:gd name="T78" fmla="*/ 155 w 175"/>
                <a:gd name="T79" fmla="*/ 44 h 140"/>
                <a:gd name="T80" fmla="*/ 163 w 175"/>
                <a:gd name="T81" fmla="*/ 36 h 140"/>
                <a:gd name="T82" fmla="*/ 174 w 175"/>
                <a:gd name="T83" fmla="*/ 2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5" h="140">
                  <a:moveTo>
                    <a:pt x="174" y="25"/>
                  </a:moveTo>
                  <a:lnTo>
                    <a:pt x="147" y="25"/>
                  </a:lnTo>
                  <a:lnTo>
                    <a:pt x="137" y="18"/>
                  </a:lnTo>
                  <a:lnTo>
                    <a:pt x="116" y="16"/>
                  </a:lnTo>
                  <a:lnTo>
                    <a:pt x="98" y="10"/>
                  </a:lnTo>
                  <a:lnTo>
                    <a:pt x="76" y="3"/>
                  </a:lnTo>
                  <a:lnTo>
                    <a:pt x="64" y="6"/>
                  </a:lnTo>
                  <a:lnTo>
                    <a:pt x="53" y="0"/>
                  </a:lnTo>
                  <a:lnTo>
                    <a:pt x="5" y="1"/>
                  </a:lnTo>
                  <a:lnTo>
                    <a:pt x="8" y="8"/>
                  </a:lnTo>
                  <a:lnTo>
                    <a:pt x="0" y="11"/>
                  </a:lnTo>
                  <a:lnTo>
                    <a:pt x="1" y="22"/>
                  </a:lnTo>
                  <a:lnTo>
                    <a:pt x="8" y="30"/>
                  </a:lnTo>
                  <a:lnTo>
                    <a:pt x="12" y="40"/>
                  </a:lnTo>
                  <a:lnTo>
                    <a:pt x="25" y="39"/>
                  </a:lnTo>
                  <a:lnTo>
                    <a:pt x="35" y="35"/>
                  </a:lnTo>
                  <a:lnTo>
                    <a:pt x="39" y="40"/>
                  </a:lnTo>
                  <a:lnTo>
                    <a:pt x="36" y="45"/>
                  </a:lnTo>
                  <a:lnTo>
                    <a:pt x="33" y="50"/>
                  </a:lnTo>
                  <a:lnTo>
                    <a:pt x="27" y="77"/>
                  </a:lnTo>
                  <a:lnTo>
                    <a:pt x="21" y="84"/>
                  </a:lnTo>
                  <a:lnTo>
                    <a:pt x="29" y="90"/>
                  </a:lnTo>
                  <a:lnTo>
                    <a:pt x="30" y="111"/>
                  </a:lnTo>
                  <a:lnTo>
                    <a:pt x="31" y="120"/>
                  </a:lnTo>
                  <a:lnTo>
                    <a:pt x="40" y="122"/>
                  </a:lnTo>
                  <a:lnTo>
                    <a:pt x="40" y="132"/>
                  </a:lnTo>
                  <a:lnTo>
                    <a:pt x="50" y="139"/>
                  </a:lnTo>
                  <a:lnTo>
                    <a:pt x="59" y="136"/>
                  </a:lnTo>
                  <a:lnTo>
                    <a:pt x="67" y="131"/>
                  </a:lnTo>
                  <a:lnTo>
                    <a:pt x="101" y="132"/>
                  </a:lnTo>
                  <a:lnTo>
                    <a:pt x="109" y="126"/>
                  </a:lnTo>
                  <a:lnTo>
                    <a:pt x="109" y="117"/>
                  </a:lnTo>
                  <a:lnTo>
                    <a:pt x="119" y="111"/>
                  </a:lnTo>
                  <a:lnTo>
                    <a:pt x="126" y="103"/>
                  </a:lnTo>
                  <a:lnTo>
                    <a:pt x="129" y="92"/>
                  </a:lnTo>
                  <a:lnTo>
                    <a:pt x="119" y="80"/>
                  </a:lnTo>
                  <a:lnTo>
                    <a:pt x="126" y="71"/>
                  </a:lnTo>
                  <a:lnTo>
                    <a:pt x="133" y="61"/>
                  </a:lnTo>
                  <a:lnTo>
                    <a:pt x="144" y="58"/>
                  </a:lnTo>
                  <a:lnTo>
                    <a:pt x="155" y="44"/>
                  </a:lnTo>
                  <a:lnTo>
                    <a:pt x="163" y="36"/>
                  </a:lnTo>
                  <a:lnTo>
                    <a:pt x="174" y="2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5" name="Freeform 255">
              <a:extLst>
                <a:ext uri="{FF2B5EF4-FFF2-40B4-BE49-F238E27FC236}">
                  <a16:creationId xmlns:a16="http://schemas.microsoft.com/office/drawing/2014/main" xmlns="" id="{72AB57C6-C722-4E6D-84EC-79ABF5A87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190" y="3115000"/>
              <a:ext cx="67763" cy="128432"/>
            </a:xfrm>
            <a:custGeom>
              <a:avLst/>
              <a:gdLst>
                <a:gd name="T0" fmla="*/ 41 w 51"/>
                <a:gd name="T1" fmla="*/ 82 h 96"/>
                <a:gd name="T2" fmla="*/ 40 w 51"/>
                <a:gd name="T3" fmla="*/ 61 h 96"/>
                <a:gd name="T4" fmla="*/ 32 w 51"/>
                <a:gd name="T5" fmla="*/ 55 h 96"/>
                <a:gd name="T6" fmla="*/ 38 w 51"/>
                <a:gd name="T7" fmla="*/ 48 h 96"/>
                <a:gd name="T8" fmla="*/ 44 w 51"/>
                <a:gd name="T9" fmla="*/ 21 h 96"/>
                <a:gd name="T10" fmla="*/ 47 w 51"/>
                <a:gd name="T11" fmla="*/ 15 h 96"/>
                <a:gd name="T12" fmla="*/ 50 w 51"/>
                <a:gd name="T13" fmla="*/ 10 h 96"/>
                <a:gd name="T14" fmla="*/ 46 w 51"/>
                <a:gd name="T15" fmla="*/ 5 h 96"/>
                <a:gd name="T16" fmla="*/ 36 w 51"/>
                <a:gd name="T17" fmla="*/ 9 h 96"/>
                <a:gd name="T18" fmla="*/ 23 w 51"/>
                <a:gd name="T19" fmla="*/ 10 h 96"/>
                <a:gd name="T20" fmla="*/ 19 w 51"/>
                <a:gd name="T21" fmla="*/ 0 h 96"/>
                <a:gd name="T22" fmla="*/ 14 w 51"/>
                <a:gd name="T23" fmla="*/ 13 h 96"/>
                <a:gd name="T24" fmla="*/ 14 w 51"/>
                <a:gd name="T25" fmla="*/ 28 h 96"/>
                <a:gd name="T26" fmla="*/ 16 w 51"/>
                <a:gd name="T27" fmla="*/ 34 h 96"/>
                <a:gd name="T28" fmla="*/ 10 w 51"/>
                <a:gd name="T29" fmla="*/ 44 h 96"/>
                <a:gd name="T30" fmla="*/ 1 w 51"/>
                <a:gd name="T31" fmla="*/ 50 h 96"/>
                <a:gd name="T32" fmla="*/ 0 w 51"/>
                <a:gd name="T33" fmla="*/ 66 h 96"/>
                <a:gd name="T34" fmla="*/ 10 w 51"/>
                <a:gd name="T35" fmla="*/ 70 h 96"/>
                <a:gd name="T36" fmla="*/ 11 w 51"/>
                <a:gd name="T37" fmla="*/ 80 h 96"/>
                <a:gd name="T38" fmla="*/ 12 w 51"/>
                <a:gd name="T39" fmla="*/ 91 h 96"/>
                <a:gd name="T40" fmla="*/ 23 w 51"/>
                <a:gd name="T41" fmla="*/ 95 h 96"/>
                <a:gd name="T42" fmla="*/ 34 w 51"/>
                <a:gd name="T43" fmla="*/ 95 h 96"/>
                <a:gd name="T44" fmla="*/ 41 w 51"/>
                <a:gd name="T45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96">
                  <a:moveTo>
                    <a:pt x="41" y="82"/>
                  </a:moveTo>
                  <a:lnTo>
                    <a:pt x="40" y="61"/>
                  </a:lnTo>
                  <a:lnTo>
                    <a:pt x="32" y="55"/>
                  </a:lnTo>
                  <a:lnTo>
                    <a:pt x="38" y="48"/>
                  </a:lnTo>
                  <a:lnTo>
                    <a:pt x="44" y="21"/>
                  </a:lnTo>
                  <a:lnTo>
                    <a:pt x="47" y="15"/>
                  </a:lnTo>
                  <a:lnTo>
                    <a:pt x="50" y="10"/>
                  </a:lnTo>
                  <a:lnTo>
                    <a:pt x="46" y="5"/>
                  </a:lnTo>
                  <a:lnTo>
                    <a:pt x="36" y="9"/>
                  </a:lnTo>
                  <a:lnTo>
                    <a:pt x="23" y="10"/>
                  </a:lnTo>
                  <a:lnTo>
                    <a:pt x="19" y="0"/>
                  </a:lnTo>
                  <a:lnTo>
                    <a:pt x="14" y="13"/>
                  </a:lnTo>
                  <a:lnTo>
                    <a:pt x="14" y="28"/>
                  </a:lnTo>
                  <a:lnTo>
                    <a:pt x="16" y="34"/>
                  </a:lnTo>
                  <a:lnTo>
                    <a:pt x="10" y="44"/>
                  </a:lnTo>
                  <a:lnTo>
                    <a:pt x="1" y="50"/>
                  </a:lnTo>
                  <a:lnTo>
                    <a:pt x="0" y="66"/>
                  </a:lnTo>
                  <a:lnTo>
                    <a:pt x="10" y="70"/>
                  </a:lnTo>
                  <a:lnTo>
                    <a:pt x="11" y="80"/>
                  </a:lnTo>
                  <a:lnTo>
                    <a:pt x="12" y="91"/>
                  </a:lnTo>
                  <a:lnTo>
                    <a:pt x="23" y="95"/>
                  </a:lnTo>
                  <a:lnTo>
                    <a:pt x="34" y="95"/>
                  </a:lnTo>
                  <a:lnTo>
                    <a:pt x="41" y="8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6" name="Freeform 256">
              <a:extLst>
                <a:ext uri="{FF2B5EF4-FFF2-40B4-BE49-F238E27FC236}">
                  <a16:creationId xmlns:a16="http://schemas.microsoft.com/office/drawing/2014/main" xmlns="" id="{C6101FB0-21A0-49C3-9D50-0F8C7E956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3950" y="3099541"/>
              <a:ext cx="21399" cy="36865"/>
            </a:xfrm>
            <a:custGeom>
              <a:avLst/>
              <a:gdLst>
                <a:gd name="T0" fmla="*/ 14 w 15"/>
                <a:gd name="T1" fmla="*/ 0 h 27"/>
                <a:gd name="T2" fmla="*/ 9 w 15"/>
                <a:gd name="T3" fmla="*/ 4 h 27"/>
                <a:gd name="T4" fmla="*/ 0 w 15"/>
                <a:gd name="T5" fmla="*/ 10 h 27"/>
                <a:gd name="T6" fmla="*/ 3 w 15"/>
                <a:gd name="T7" fmla="*/ 20 h 27"/>
                <a:gd name="T8" fmla="*/ 10 w 15"/>
                <a:gd name="T9" fmla="*/ 26 h 27"/>
                <a:gd name="T10" fmla="*/ 14 w 15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7">
                  <a:moveTo>
                    <a:pt x="14" y="0"/>
                  </a:moveTo>
                  <a:lnTo>
                    <a:pt x="9" y="4"/>
                  </a:lnTo>
                  <a:lnTo>
                    <a:pt x="0" y="10"/>
                  </a:lnTo>
                  <a:lnTo>
                    <a:pt x="3" y="20"/>
                  </a:lnTo>
                  <a:lnTo>
                    <a:pt x="10" y="26"/>
                  </a:lnTo>
                  <a:lnTo>
                    <a:pt x="14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7" name="Freeform 257">
              <a:extLst>
                <a:ext uri="{FF2B5EF4-FFF2-40B4-BE49-F238E27FC236}">
                  <a16:creationId xmlns:a16="http://schemas.microsoft.com/office/drawing/2014/main" xmlns="" id="{FBFBDEA3-5BCA-4EC1-BF77-802878871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006" y="3147108"/>
              <a:ext cx="27343" cy="46378"/>
            </a:xfrm>
            <a:custGeom>
              <a:avLst/>
              <a:gdLst>
                <a:gd name="T0" fmla="*/ 2 w 20"/>
                <a:gd name="T1" fmla="*/ 3 h 35"/>
                <a:gd name="T2" fmla="*/ 5 w 20"/>
                <a:gd name="T3" fmla="*/ 3 h 35"/>
                <a:gd name="T4" fmla="*/ 12 w 20"/>
                <a:gd name="T5" fmla="*/ 1 h 35"/>
                <a:gd name="T6" fmla="*/ 16 w 20"/>
                <a:gd name="T7" fmla="*/ 0 h 35"/>
                <a:gd name="T8" fmla="*/ 18 w 20"/>
                <a:gd name="T9" fmla="*/ 5 h 35"/>
                <a:gd name="T10" fmla="*/ 19 w 20"/>
                <a:gd name="T11" fmla="*/ 13 h 35"/>
                <a:gd name="T12" fmla="*/ 18 w 20"/>
                <a:gd name="T13" fmla="*/ 20 h 35"/>
                <a:gd name="T14" fmla="*/ 16 w 20"/>
                <a:gd name="T15" fmla="*/ 31 h 35"/>
                <a:gd name="T16" fmla="*/ 9 w 20"/>
                <a:gd name="T17" fmla="*/ 34 h 35"/>
                <a:gd name="T18" fmla="*/ 3 w 20"/>
                <a:gd name="T19" fmla="*/ 31 h 35"/>
                <a:gd name="T20" fmla="*/ 3 w 20"/>
                <a:gd name="T21" fmla="*/ 23 h 35"/>
                <a:gd name="T22" fmla="*/ 3 w 20"/>
                <a:gd name="T23" fmla="*/ 14 h 35"/>
                <a:gd name="T24" fmla="*/ 0 w 20"/>
                <a:gd name="T25" fmla="*/ 8 h 35"/>
                <a:gd name="T26" fmla="*/ 2 w 20"/>
                <a:gd name="T2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35">
                  <a:moveTo>
                    <a:pt x="2" y="3"/>
                  </a:moveTo>
                  <a:lnTo>
                    <a:pt x="5" y="3"/>
                  </a:lnTo>
                  <a:lnTo>
                    <a:pt x="12" y="1"/>
                  </a:lnTo>
                  <a:lnTo>
                    <a:pt x="16" y="0"/>
                  </a:lnTo>
                  <a:lnTo>
                    <a:pt x="18" y="5"/>
                  </a:lnTo>
                  <a:lnTo>
                    <a:pt x="19" y="13"/>
                  </a:lnTo>
                  <a:lnTo>
                    <a:pt x="18" y="20"/>
                  </a:lnTo>
                  <a:lnTo>
                    <a:pt x="16" y="31"/>
                  </a:lnTo>
                  <a:lnTo>
                    <a:pt x="9" y="34"/>
                  </a:lnTo>
                  <a:lnTo>
                    <a:pt x="3" y="31"/>
                  </a:lnTo>
                  <a:lnTo>
                    <a:pt x="3" y="23"/>
                  </a:lnTo>
                  <a:lnTo>
                    <a:pt x="3" y="14"/>
                  </a:lnTo>
                  <a:lnTo>
                    <a:pt x="0" y="8"/>
                  </a:lnTo>
                  <a:lnTo>
                    <a:pt x="2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8" name="Freeform 258">
              <a:extLst>
                <a:ext uri="{FF2B5EF4-FFF2-40B4-BE49-F238E27FC236}">
                  <a16:creationId xmlns:a16="http://schemas.microsoft.com/office/drawing/2014/main" xmlns="" id="{ED61D4F5-44CE-4BF6-AA0E-05C61E16A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6051" y="3125703"/>
              <a:ext cx="103428" cy="105837"/>
            </a:xfrm>
            <a:custGeom>
              <a:avLst/>
              <a:gdLst>
                <a:gd name="T0" fmla="*/ 34 w 76"/>
                <a:gd name="T1" fmla="*/ 58 h 80"/>
                <a:gd name="T2" fmla="*/ 16 w 76"/>
                <a:gd name="T3" fmla="*/ 54 h 80"/>
                <a:gd name="T4" fmla="*/ 14 w 76"/>
                <a:gd name="T5" fmla="*/ 45 h 80"/>
                <a:gd name="T6" fmla="*/ 1 w 76"/>
                <a:gd name="T7" fmla="*/ 32 h 80"/>
                <a:gd name="T8" fmla="*/ 0 w 76"/>
                <a:gd name="T9" fmla="*/ 21 h 80"/>
                <a:gd name="T10" fmla="*/ 13 w 76"/>
                <a:gd name="T11" fmla="*/ 10 h 80"/>
                <a:gd name="T12" fmla="*/ 24 w 76"/>
                <a:gd name="T13" fmla="*/ 14 h 80"/>
                <a:gd name="T14" fmla="*/ 38 w 76"/>
                <a:gd name="T15" fmla="*/ 3 h 80"/>
                <a:gd name="T16" fmla="*/ 45 w 76"/>
                <a:gd name="T17" fmla="*/ 3 h 80"/>
                <a:gd name="T18" fmla="*/ 58 w 76"/>
                <a:gd name="T19" fmla="*/ 7 h 80"/>
                <a:gd name="T20" fmla="*/ 67 w 76"/>
                <a:gd name="T21" fmla="*/ 0 h 80"/>
                <a:gd name="T22" fmla="*/ 75 w 76"/>
                <a:gd name="T23" fmla="*/ 0 h 80"/>
                <a:gd name="T24" fmla="*/ 75 w 76"/>
                <a:gd name="T25" fmla="*/ 13 h 80"/>
                <a:gd name="T26" fmla="*/ 66 w 76"/>
                <a:gd name="T27" fmla="*/ 14 h 80"/>
                <a:gd name="T28" fmla="*/ 61 w 76"/>
                <a:gd name="T29" fmla="*/ 19 h 80"/>
                <a:gd name="T30" fmla="*/ 56 w 76"/>
                <a:gd name="T31" fmla="*/ 24 h 80"/>
                <a:gd name="T32" fmla="*/ 60 w 76"/>
                <a:gd name="T33" fmla="*/ 31 h 80"/>
                <a:gd name="T34" fmla="*/ 49 w 76"/>
                <a:gd name="T35" fmla="*/ 33 h 80"/>
                <a:gd name="T36" fmla="*/ 45 w 76"/>
                <a:gd name="T37" fmla="*/ 30 h 80"/>
                <a:gd name="T38" fmla="*/ 40 w 76"/>
                <a:gd name="T39" fmla="*/ 31 h 80"/>
                <a:gd name="T40" fmla="*/ 45 w 76"/>
                <a:gd name="T41" fmla="*/ 37 h 80"/>
                <a:gd name="T42" fmla="*/ 38 w 76"/>
                <a:gd name="T43" fmla="*/ 45 h 80"/>
                <a:gd name="T44" fmla="*/ 48 w 76"/>
                <a:gd name="T45" fmla="*/ 49 h 80"/>
                <a:gd name="T46" fmla="*/ 61 w 76"/>
                <a:gd name="T47" fmla="*/ 58 h 80"/>
                <a:gd name="T48" fmla="*/ 64 w 76"/>
                <a:gd name="T49" fmla="*/ 65 h 80"/>
                <a:gd name="T50" fmla="*/ 59 w 76"/>
                <a:gd name="T51" fmla="*/ 64 h 80"/>
                <a:gd name="T52" fmla="*/ 45 w 76"/>
                <a:gd name="T53" fmla="*/ 69 h 80"/>
                <a:gd name="T54" fmla="*/ 50 w 76"/>
                <a:gd name="T55" fmla="*/ 77 h 80"/>
                <a:gd name="T56" fmla="*/ 26 w 76"/>
                <a:gd name="T57" fmla="*/ 79 h 80"/>
                <a:gd name="T58" fmla="*/ 26 w 76"/>
                <a:gd name="T59" fmla="*/ 69 h 80"/>
                <a:gd name="T60" fmla="*/ 16 w 76"/>
                <a:gd name="T61" fmla="*/ 65 h 80"/>
                <a:gd name="T62" fmla="*/ 26 w 76"/>
                <a:gd name="T63" fmla="*/ 61 h 80"/>
                <a:gd name="T64" fmla="*/ 32 w 76"/>
                <a:gd name="T65" fmla="*/ 60 h 80"/>
                <a:gd name="T66" fmla="*/ 34 w 76"/>
                <a:gd name="T67" fmla="*/ 5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6" h="80">
                  <a:moveTo>
                    <a:pt x="34" y="58"/>
                  </a:moveTo>
                  <a:lnTo>
                    <a:pt x="16" y="54"/>
                  </a:lnTo>
                  <a:lnTo>
                    <a:pt x="14" y="45"/>
                  </a:lnTo>
                  <a:lnTo>
                    <a:pt x="1" y="32"/>
                  </a:lnTo>
                  <a:lnTo>
                    <a:pt x="0" y="21"/>
                  </a:lnTo>
                  <a:lnTo>
                    <a:pt x="13" y="10"/>
                  </a:lnTo>
                  <a:lnTo>
                    <a:pt x="24" y="14"/>
                  </a:lnTo>
                  <a:lnTo>
                    <a:pt x="38" y="3"/>
                  </a:lnTo>
                  <a:lnTo>
                    <a:pt x="45" y="3"/>
                  </a:lnTo>
                  <a:lnTo>
                    <a:pt x="58" y="7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13"/>
                  </a:lnTo>
                  <a:lnTo>
                    <a:pt x="66" y="14"/>
                  </a:lnTo>
                  <a:lnTo>
                    <a:pt x="61" y="19"/>
                  </a:lnTo>
                  <a:lnTo>
                    <a:pt x="56" y="24"/>
                  </a:lnTo>
                  <a:lnTo>
                    <a:pt x="60" y="31"/>
                  </a:lnTo>
                  <a:lnTo>
                    <a:pt x="49" y="33"/>
                  </a:lnTo>
                  <a:lnTo>
                    <a:pt x="45" y="30"/>
                  </a:lnTo>
                  <a:lnTo>
                    <a:pt x="40" y="31"/>
                  </a:lnTo>
                  <a:lnTo>
                    <a:pt x="45" y="37"/>
                  </a:lnTo>
                  <a:lnTo>
                    <a:pt x="38" y="45"/>
                  </a:lnTo>
                  <a:lnTo>
                    <a:pt x="48" y="49"/>
                  </a:lnTo>
                  <a:lnTo>
                    <a:pt x="61" y="58"/>
                  </a:lnTo>
                  <a:lnTo>
                    <a:pt x="64" y="65"/>
                  </a:lnTo>
                  <a:lnTo>
                    <a:pt x="59" y="64"/>
                  </a:lnTo>
                  <a:lnTo>
                    <a:pt x="45" y="69"/>
                  </a:lnTo>
                  <a:lnTo>
                    <a:pt x="50" y="77"/>
                  </a:lnTo>
                  <a:lnTo>
                    <a:pt x="26" y="79"/>
                  </a:lnTo>
                  <a:lnTo>
                    <a:pt x="26" y="69"/>
                  </a:lnTo>
                  <a:lnTo>
                    <a:pt x="16" y="65"/>
                  </a:lnTo>
                  <a:lnTo>
                    <a:pt x="26" y="61"/>
                  </a:lnTo>
                  <a:lnTo>
                    <a:pt x="32" y="60"/>
                  </a:lnTo>
                  <a:lnTo>
                    <a:pt x="34" y="5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9" name="Freeform 259">
              <a:extLst>
                <a:ext uri="{FF2B5EF4-FFF2-40B4-BE49-F238E27FC236}">
                  <a16:creationId xmlns:a16="http://schemas.microsoft.com/office/drawing/2014/main" xmlns="" id="{394B12FB-6005-45D8-B316-7A3EF4DF7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698" y="2778462"/>
              <a:ext cx="159303" cy="204539"/>
            </a:xfrm>
            <a:custGeom>
              <a:avLst/>
              <a:gdLst>
                <a:gd name="T0" fmla="*/ 119 w 120"/>
                <a:gd name="T1" fmla="*/ 73 h 152"/>
                <a:gd name="T2" fmla="*/ 79 w 120"/>
                <a:gd name="T3" fmla="*/ 90 h 152"/>
                <a:gd name="T4" fmla="*/ 119 w 120"/>
                <a:gd name="T5" fmla="*/ 73 h 152"/>
                <a:gd name="T6" fmla="*/ 110 w 120"/>
                <a:gd name="T7" fmla="*/ 47 h 152"/>
                <a:gd name="T8" fmla="*/ 113 w 120"/>
                <a:gd name="T9" fmla="*/ 18 h 152"/>
                <a:gd name="T10" fmla="*/ 108 w 120"/>
                <a:gd name="T11" fmla="*/ 14 h 152"/>
                <a:gd name="T12" fmla="*/ 73 w 120"/>
                <a:gd name="T13" fmla="*/ 20 h 152"/>
                <a:gd name="T14" fmla="*/ 66 w 120"/>
                <a:gd name="T15" fmla="*/ 12 h 152"/>
                <a:gd name="T16" fmla="*/ 60 w 120"/>
                <a:gd name="T17" fmla="*/ 0 h 152"/>
                <a:gd name="T18" fmla="*/ 43 w 120"/>
                <a:gd name="T19" fmla="*/ 4 h 152"/>
                <a:gd name="T20" fmla="*/ 43 w 120"/>
                <a:gd name="T21" fmla="*/ 19 h 152"/>
                <a:gd name="T22" fmla="*/ 43 w 120"/>
                <a:gd name="T23" fmla="*/ 25 h 152"/>
                <a:gd name="T24" fmla="*/ 38 w 120"/>
                <a:gd name="T25" fmla="*/ 25 h 152"/>
                <a:gd name="T26" fmla="*/ 21 w 120"/>
                <a:gd name="T27" fmla="*/ 31 h 152"/>
                <a:gd name="T28" fmla="*/ 21 w 120"/>
                <a:gd name="T29" fmla="*/ 46 h 152"/>
                <a:gd name="T30" fmla="*/ 13 w 120"/>
                <a:gd name="T31" fmla="*/ 60 h 152"/>
                <a:gd name="T32" fmla="*/ 3 w 120"/>
                <a:gd name="T33" fmla="*/ 67 h 152"/>
                <a:gd name="T34" fmla="*/ 0 w 120"/>
                <a:gd name="T35" fmla="*/ 84 h 152"/>
                <a:gd name="T36" fmla="*/ 9 w 120"/>
                <a:gd name="T37" fmla="*/ 88 h 152"/>
                <a:gd name="T38" fmla="*/ 8 w 120"/>
                <a:gd name="T39" fmla="*/ 98 h 152"/>
                <a:gd name="T40" fmla="*/ 18 w 120"/>
                <a:gd name="T41" fmla="*/ 105 h 152"/>
                <a:gd name="T42" fmla="*/ 31 w 120"/>
                <a:gd name="T43" fmla="*/ 116 h 152"/>
                <a:gd name="T44" fmla="*/ 25 w 120"/>
                <a:gd name="T45" fmla="*/ 124 h 152"/>
                <a:gd name="T46" fmla="*/ 28 w 120"/>
                <a:gd name="T47" fmla="*/ 146 h 152"/>
                <a:gd name="T48" fmla="*/ 36 w 120"/>
                <a:gd name="T49" fmla="*/ 147 h 152"/>
                <a:gd name="T50" fmla="*/ 46 w 120"/>
                <a:gd name="T51" fmla="*/ 144 h 152"/>
                <a:gd name="T52" fmla="*/ 54 w 120"/>
                <a:gd name="T53" fmla="*/ 149 h 152"/>
                <a:gd name="T54" fmla="*/ 60 w 120"/>
                <a:gd name="T55" fmla="*/ 150 h 152"/>
                <a:gd name="T56" fmla="*/ 65 w 120"/>
                <a:gd name="T57" fmla="*/ 151 h 152"/>
                <a:gd name="T58" fmla="*/ 83 w 120"/>
                <a:gd name="T59" fmla="*/ 143 h 152"/>
                <a:gd name="T60" fmla="*/ 97 w 120"/>
                <a:gd name="T61" fmla="*/ 136 h 152"/>
                <a:gd name="T62" fmla="*/ 101 w 120"/>
                <a:gd name="T63" fmla="*/ 131 h 152"/>
                <a:gd name="T64" fmla="*/ 102 w 120"/>
                <a:gd name="T65" fmla="*/ 115 h 152"/>
                <a:gd name="T66" fmla="*/ 79 w 120"/>
                <a:gd name="T67" fmla="*/ 90 h 152"/>
                <a:gd name="T68" fmla="*/ 119 w 120"/>
                <a:gd name="T69" fmla="*/ 7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152">
                  <a:moveTo>
                    <a:pt x="119" y="73"/>
                  </a:moveTo>
                  <a:lnTo>
                    <a:pt x="79" y="90"/>
                  </a:lnTo>
                  <a:lnTo>
                    <a:pt x="119" y="73"/>
                  </a:lnTo>
                  <a:lnTo>
                    <a:pt x="110" y="47"/>
                  </a:lnTo>
                  <a:lnTo>
                    <a:pt x="113" y="18"/>
                  </a:lnTo>
                  <a:lnTo>
                    <a:pt x="108" y="14"/>
                  </a:lnTo>
                  <a:lnTo>
                    <a:pt x="73" y="20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3" y="4"/>
                  </a:lnTo>
                  <a:lnTo>
                    <a:pt x="43" y="19"/>
                  </a:lnTo>
                  <a:lnTo>
                    <a:pt x="43" y="25"/>
                  </a:lnTo>
                  <a:lnTo>
                    <a:pt x="38" y="25"/>
                  </a:lnTo>
                  <a:lnTo>
                    <a:pt x="21" y="31"/>
                  </a:lnTo>
                  <a:lnTo>
                    <a:pt x="21" y="46"/>
                  </a:lnTo>
                  <a:lnTo>
                    <a:pt x="13" y="60"/>
                  </a:lnTo>
                  <a:lnTo>
                    <a:pt x="3" y="67"/>
                  </a:lnTo>
                  <a:lnTo>
                    <a:pt x="0" y="84"/>
                  </a:lnTo>
                  <a:lnTo>
                    <a:pt x="9" y="88"/>
                  </a:lnTo>
                  <a:lnTo>
                    <a:pt x="8" y="98"/>
                  </a:lnTo>
                  <a:lnTo>
                    <a:pt x="18" y="105"/>
                  </a:lnTo>
                  <a:lnTo>
                    <a:pt x="31" y="116"/>
                  </a:lnTo>
                  <a:lnTo>
                    <a:pt x="25" y="124"/>
                  </a:lnTo>
                  <a:lnTo>
                    <a:pt x="28" y="146"/>
                  </a:lnTo>
                  <a:lnTo>
                    <a:pt x="36" y="147"/>
                  </a:lnTo>
                  <a:lnTo>
                    <a:pt x="46" y="144"/>
                  </a:lnTo>
                  <a:lnTo>
                    <a:pt x="54" y="149"/>
                  </a:lnTo>
                  <a:lnTo>
                    <a:pt x="60" y="150"/>
                  </a:lnTo>
                  <a:lnTo>
                    <a:pt x="65" y="151"/>
                  </a:lnTo>
                  <a:lnTo>
                    <a:pt x="83" y="143"/>
                  </a:lnTo>
                  <a:lnTo>
                    <a:pt x="97" y="136"/>
                  </a:lnTo>
                  <a:lnTo>
                    <a:pt x="101" y="131"/>
                  </a:lnTo>
                  <a:lnTo>
                    <a:pt x="102" y="115"/>
                  </a:lnTo>
                  <a:lnTo>
                    <a:pt x="79" y="90"/>
                  </a:lnTo>
                  <a:lnTo>
                    <a:pt x="119" y="7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0" name="Freeform 260">
              <a:extLst>
                <a:ext uri="{FF2B5EF4-FFF2-40B4-BE49-F238E27FC236}">
                  <a16:creationId xmlns:a16="http://schemas.microsoft.com/office/drawing/2014/main" xmlns="" id="{4222DCFB-635E-481E-8CCA-F54D90EE3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923" y="2777273"/>
              <a:ext cx="175946" cy="140324"/>
            </a:xfrm>
            <a:custGeom>
              <a:avLst/>
              <a:gdLst>
                <a:gd name="T0" fmla="*/ 9 w 132"/>
                <a:gd name="T1" fmla="*/ 74 h 105"/>
                <a:gd name="T2" fmla="*/ 0 w 132"/>
                <a:gd name="T3" fmla="*/ 48 h 105"/>
                <a:gd name="T4" fmla="*/ 3 w 132"/>
                <a:gd name="T5" fmla="*/ 19 h 105"/>
                <a:gd name="T6" fmla="*/ 43 w 132"/>
                <a:gd name="T7" fmla="*/ 0 h 105"/>
                <a:gd name="T8" fmla="*/ 57 w 132"/>
                <a:gd name="T9" fmla="*/ 7 h 105"/>
                <a:gd name="T10" fmla="*/ 77 w 132"/>
                <a:gd name="T11" fmla="*/ 3 h 105"/>
                <a:gd name="T12" fmla="*/ 101 w 132"/>
                <a:gd name="T13" fmla="*/ 13 h 105"/>
                <a:gd name="T14" fmla="*/ 120 w 132"/>
                <a:gd name="T15" fmla="*/ 30 h 105"/>
                <a:gd name="T16" fmla="*/ 120 w 132"/>
                <a:gd name="T17" fmla="*/ 50 h 105"/>
                <a:gd name="T18" fmla="*/ 129 w 132"/>
                <a:gd name="T19" fmla="*/ 50 h 105"/>
                <a:gd name="T20" fmla="*/ 130 w 132"/>
                <a:gd name="T21" fmla="*/ 66 h 105"/>
                <a:gd name="T22" fmla="*/ 131 w 132"/>
                <a:gd name="T23" fmla="*/ 93 h 105"/>
                <a:gd name="T24" fmla="*/ 120 w 132"/>
                <a:gd name="T25" fmla="*/ 101 h 105"/>
                <a:gd name="T26" fmla="*/ 96 w 132"/>
                <a:gd name="T27" fmla="*/ 103 h 105"/>
                <a:gd name="T28" fmla="*/ 73 w 132"/>
                <a:gd name="T29" fmla="*/ 104 h 105"/>
                <a:gd name="T30" fmla="*/ 57 w 132"/>
                <a:gd name="T31" fmla="*/ 95 h 105"/>
                <a:gd name="T32" fmla="*/ 23 w 132"/>
                <a:gd name="T33" fmla="*/ 84 h 105"/>
                <a:gd name="T34" fmla="*/ 9 w 132"/>
                <a:gd name="T35" fmla="*/ 7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" h="105">
                  <a:moveTo>
                    <a:pt x="9" y="74"/>
                  </a:moveTo>
                  <a:lnTo>
                    <a:pt x="0" y="48"/>
                  </a:lnTo>
                  <a:lnTo>
                    <a:pt x="3" y="19"/>
                  </a:lnTo>
                  <a:lnTo>
                    <a:pt x="43" y="0"/>
                  </a:lnTo>
                  <a:lnTo>
                    <a:pt x="57" y="7"/>
                  </a:lnTo>
                  <a:lnTo>
                    <a:pt x="77" y="3"/>
                  </a:lnTo>
                  <a:lnTo>
                    <a:pt x="101" y="13"/>
                  </a:lnTo>
                  <a:lnTo>
                    <a:pt x="120" y="30"/>
                  </a:lnTo>
                  <a:lnTo>
                    <a:pt x="120" y="50"/>
                  </a:lnTo>
                  <a:lnTo>
                    <a:pt x="129" y="50"/>
                  </a:lnTo>
                  <a:lnTo>
                    <a:pt x="130" y="66"/>
                  </a:lnTo>
                  <a:lnTo>
                    <a:pt x="131" y="93"/>
                  </a:lnTo>
                  <a:lnTo>
                    <a:pt x="120" y="101"/>
                  </a:lnTo>
                  <a:lnTo>
                    <a:pt x="96" y="103"/>
                  </a:lnTo>
                  <a:lnTo>
                    <a:pt x="73" y="104"/>
                  </a:lnTo>
                  <a:lnTo>
                    <a:pt x="57" y="95"/>
                  </a:lnTo>
                  <a:lnTo>
                    <a:pt x="23" y="84"/>
                  </a:lnTo>
                  <a:lnTo>
                    <a:pt x="9" y="7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1" name="Freeform 261">
              <a:extLst>
                <a:ext uri="{FF2B5EF4-FFF2-40B4-BE49-F238E27FC236}">
                  <a16:creationId xmlns:a16="http://schemas.microsoft.com/office/drawing/2014/main" xmlns="" id="{EF331229-91AF-4EB7-AAD2-F3B6190A4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4370" y="2362248"/>
              <a:ext cx="203289" cy="401944"/>
            </a:xfrm>
            <a:custGeom>
              <a:avLst/>
              <a:gdLst>
                <a:gd name="T0" fmla="*/ 0 w 153"/>
                <a:gd name="T1" fmla="*/ 234 h 301"/>
                <a:gd name="T2" fmla="*/ 5 w 153"/>
                <a:gd name="T3" fmla="*/ 225 h 301"/>
                <a:gd name="T4" fmla="*/ 9 w 153"/>
                <a:gd name="T5" fmla="*/ 206 h 301"/>
                <a:gd name="T6" fmla="*/ 24 w 153"/>
                <a:gd name="T7" fmla="*/ 199 h 301"/>
                <a:gd name="T8" fmla="*/ 20 w 153"/>
                <a:gd name="T9" fmla="*/ 182 h 301"/>
                <a:gd name="T10" fmla="*/ 13 w 153"/>
                <a:gd name="T11" fmla="*/ 166 h 301"/>
                <a:gd name="T12" fmla="*/ 9 w 153"/>
                <a:gd name="T13" fmla="*/ 150 h 301"/>
                <a:gd name="T14" fmla="*/ 6 w 153"/>
                <a:gd name="T15" fmla="*/ 123 h 301"/>
                <a:gd name="T16" fmla="*/ 9 w 153"/>
                <a:gd name="T17" fmla="*/ 113 h 301"/>
                <a:gd name="T18" fmla="*/ 24 w 153"/>
                <a:gd name="T19" fmla="*/ 116 h 301"/>
                <a:gd name="T20" fmla="*/ 31 w 153"/>
                <a:gd name="T21" fmla="*/ 111 h 301"/>
                <a:gd name="T22" fmla="*/ 21 w 153"/>
                <a:gd name="T23" fmla="*/ 104 h 301"/>
                <a:gd name="T24" fmla="*/ 28 w 153"/>
                <a:gd name="T25" fmla="*/ 90 h 301"/>
                <a:gd name="T26" fmla="*/ 31 w 153"/>
                <a:gd name="T27" fmla="*/ 72 h 301"/>
                <a:gd name="T28" fmla="*/ 37 w 153"/>
                <a:gd name="T29" fmla="*/ 68 h 301"/>
                <a:gd name="T30" fmla="*/ 42 w 153"/>
                <a:gd name="T31" fmla="*/ 57 h 301"/>
                <a:gd name="T32" fmla="*/ 51 w 153"/>
                <a:gd name="T33" fmla="*/ 57 h 301"/>
                <a:gd name="T34" fmla="*/ 53 w 153"/>
                <a:gd name="T35" fmla="*/ 43 h 301"/>
                <a:gd name="T36" fmla="*/ 61 w 153"/>
                <a:gd name="T37" fmla="*/ 39 h 301"/>
                <a:gd name="T38" fmla="*/ 63 w 153"/>
                <a:gd name="T39" fmla="*/ 26 h 301"/>
                <a:gd name="T40" fmla="*/ 71 w 153"/>
                <a:gd name="T41" fmla="*/ 29 h 301"/>
                <a:gd name="T42" fmla="*/ 79 w 153"/>
                <a:gd name="T43" fmla="*/ 25 h 301"/>
                <a:gd name="T44" fmla="*/ 87 w 153"/>
                <a:gd name="T45" fmla="*/ 17 h 301"/>
                <a:gd name="T46" fmla="*/ 97 w 153"/>
                <a:gd name="T47" fmla="*/ 17 h 301"/>
                <a:gd name="T48" fmla="*/ 110 w 153"/>
                <a:gd name="T49" fmla="*/ 17 h 301"/>
                <a:gd name="T50" fmla="*/ 118 w 153"/>
                <a:gd name="T51" fmla="*/ 8 h 301"/>
                <a:gd name="T52" fmla="*/ 127 w 153"/>
                <a:gd name="T53" fmla="*/ 0 h 301"/>
                <a:gd name="T54" fmla="*/ 138 w 153"/>
                <a:gd name="T55" fmla="*/ 13 h 301"/>
                <a:gd name="T56" fmla="*/ 149 w 153"/>
                <a:gd name="T57" fmla="*/ 23 h 301"/>
                <a:gd name="T58" fmla="*/ 150 w 153"/>
                <a:gd name="T59" fmla="*/ 32 h 301"/>
                <a:gd name="T60" fmla="*/ 152 w 153"/>
                <a:gd name="T61" fmla="*/ 63 h 301"/>
                <a:gd name="T62" fmla="*/ 142 w 153"/>
                <a:gd name="T63" fmla="*/ 70 h 301"/>
                <a:gd name="T64" fmla="*/ 131 w 153"/>
                <a:gd name="T65" fmla="*/ 79 h 301"/>
                <a:gd name="T66" fmla="*/ 127 w 153"/>
                <a:gd name="T67" fmla="*/ 96 h 301"/>
                <a:gd name="T68" fmla="*/ 127 w 153"/>
                <a:gd name="T69" fmla="*/ 107 h 301"/>
                <a:gd name="T70" fmla="*/ 112 w 153"/>
                <a:gd name="T71" fmla="*/ 117 h 301"/>
                <a:gd name="T72" fmla="*/ 104 w 153"/>
                <a:gd name="T73" fmla="*/ 128 h 301"/>
                <a:gd name="T74" fmla="*/ 84 w 153"/>
                <a:gd name="T75" fmla="*/ 132 h 301"/>
                <a:gd name="T76" fmla="*/ 76 w 153"/>
                <a:gd name="T77" fmla="*/ 148 h 301"/>
                <a:gd name="T78" fmla="*/ 76 w 153"/>
                <a:gd name="T79" fmla="*/ 176 h 301"/>
                <a:gd name="T80" fmla="*/ 87 w 153"/>
                <a:gd name="T81" fmla="*/ 189 h 301"/>
                <a:gd name="T82" fmla="*/ 93 w 153"/>
                <a:gd name="T83" fmla="*/ 200 h 301"/>
                <a:gd name="T84" fmla="*/ 69 w 153"/>
                <a:gd name="T85" fmla="*/ 211 h 301"/>
                <a:gd name="T86" fmla="*/ 80 w 153"/>
                <a:gd name="T87" fmla="*/ 211 h 301"/>
                <a:gd name="T88" fmla="*/ 87 w 153"/>
                <a:gd name="T89" fmla="*/ 217 h 301"/>
                <a:gd name="T90" fmla="*/ 90 w 153"/>
                <a:gd name="T91" fmla="*/ 228 h 301"/>
                <a:gd name="T92" fmla="*/ 82 w 153"/>
                <a:gd name="T93" fmla="*/ 234 h 301"/>
                <a:gd name="T94" fmla="*/ 71 w 153"/>
                <a:gd name="T95" fmla="*/ 245 h 301"/>
                <a:gd name="T96" fmla="*/ 71 w 153"/>
                <a:gd name="T97" fmla="*/ 265 h 301"/>
                <a:gd name="T98" fmla="*/ 60 w 153"/>
                <a:gd name="T99" fmla="*/ 272 h 301"/>
                <a:gd name="T100" fmla="*/ 57 w 153"/>
                <a:gd name="T101" fmla="*/ 283 h 301"/>
                <a:gd name="T102" fmla="*/ 45 w 153"/>
                <a:gd name="T103" fmla="*/ 290 h 301"/>
                <a:gd name="T104" fmla="*/ 39 w 153"/>
                <a:gd name="T105" fmla="*/ 300 h 301"/>
                <a:gd name="T106" fmla="*/ 23 w 153"/>
                <a:gd name="T107" fmla="*/ 294 h 301"/>
                <a:gd name="T108" fmla="*/ 24 w 153"/>
                <a:gd name="T109" fmla="*/ 275 h 301"/>
                <a:gd name="T110" fmla="*/ 15 w 153"/>
                <a:gd name="T111" fmla="*/ 272 h 301"/>
                <a:gd name="T112" fmla="*/ 13 w 153"/>
                <a:gd name="T113" fmla="*/ 261 h 301"/>
                <a:gd name="T114" fmla="*/ 6 w 153"/>
                <a:gd name="T115" fmla="*/ 247 h 301"/>
                <a:gd name="T116" fmla="*/ 0 w 153"/>
                <a:gd name="T117" fmla="*/ 234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3" h="301">
                  <a:moveTo>
                    <a:pt x="0" y="234"/>
                  </a:moveTo>
                  <a:lnTo>
                    <a:pt x="5" y="225"/>
                  </a:lnTo>
                  <a:lnTo>
                    <a:pt x="9" y="206"/>
                  </a:lnTo>
                  <a:lnTo>
                    <a:pt x="24" y="199"/>
                  </a:lnTo>
                  <a:lnTo>
                    <a:pt x="20" y="182"/>
                  </a:lnTo>
                  <a:lnTo>
                    <a:pt x="13" y="166"/>
                  </a:lnTo>
                  <a:lnTo>
                    <a:pt x="9" y="150"/>
                  </a:lnTo>
                  <a:lnTo>
                    <a:pt x="6" y="123"/>
                  </a:lnTo>
                  <a:lnTo>
                    <a:pt x="9" y="113"/>
                  </a:lnTo>
                  <a:lnTo>
                    <a:pt x="24" y="116"/>
                  </a:lnTo>
                  <a:lnTo>
                    <a:pt x="31" y="111"/>
                  </a:lnTo>
                  <a:lnTo>
                    <a:pt x="21" y="104"/>
                  </a:lnTo>
                  <a:lnTo>
                    <a:pt x="28" y="90"/>
                  </a:lnTo>
                  <a:lnTo>
                    <a:pt x="31" y="72"/>
                  </a:lnTo>
                  <a:lnTo>
                    <a:pt x="37" y="68"/>
                  </a:lnTo>
                  <a:lnTo>
                    <a:pt x="42" y="57"/>
                  </a:lnTo>
                  <a:lnTo>
                    <a:pt x="51" y="57"/>
                  </a:lnTo>
                  <a:lnTo>
                    <a:pt x="53" y="43"/>
                  </a:lnTo>
                  <a:lnTo>
                    <a:pt x="61" y="39"/>
                  </a:lnTo>
                  <a:lnTo>
                    <a:pt x="63" y="26"/>
                  </a:lnTo>
                  <a:lnTo>
                    <a:pt x="71" y="29"/>
                  </a:lnTo>
                  <a:lnTo>
                    <a:pt x="79" y="25"/>
                  </a:lnTo>
                  <a:lnTo>
                    <a:pt x="87" y="17"/>
                  </a:lnTo>
                  <a:lnTo>
                    <a:pt x="97" y="17"/>
                  </a:lnTo>
                  <a:lnTo>
                    <a:pt x="110" y="17"/>
                  </a:lnTo>
                  <a:lnTo>
                    <a:pt x="118" y="8"/>
                  </a:lnTo>
                  <a:lnTo>
                    <a:pt x="127" y="0"/>
                  </a:lnTo>
                  <a:lnTo>
                    <a:pt x="138" y="13"/>
                  </a:lnTo>
                  <a:lnTo>
                    <a:pt x="149" y="23"/>
                  </a:lnTo>
                  <a:lnTo>
                    <a:pt x="150" y="32"/>
                  </a:lnTo>
                  <a:lnTo>
                    <a:pt x="152" y="63"/>
                  </a:lnTo>
                  <a:lnTo>
                    <a:pt x="142" y="70"/>
                  </a:lnTo>
                  <a:lnTo>
                    <a:pt x="131" y="79"/>
                  </a:lnTo>
                  <a:lnTo>
                    <a:pt x="127" y="96"/>
                  </a:lnTo>
                  <a:lnTo>
                    <a:pt x="127" y="107"/>
                  </a:lnTo>
                  <a:lnTo>
                    <a:pt x="112" y="117"/>
                  </a:lnTo>
                  <a:lnTo>
                    <a:pt x="104" y="128"/>
                  </a:lnTo>
                  <a:lnTo>
                    <a:pt x="84" y="132"/>
                  </a:lnTo>
                  <a:lnTo>
                    <a:pt x="76" y="148"/>
                  </a:lnTo>
                  <a:lnTo>
                    <a:pt x="76" y="176"/>
                  </a:lnTo>
                  <a:lnTo>
                    <a:pt x="87" y="189"/>
                  </a:lnTo>
                  <a:lnTo>
                    <a:pt x="93" y="200"/>
                  </a:lnTo>
                  <a:lnTo>
                    <a:pt x="69" y="211"/>
                  </a:lnTo>
                  <a:lnTo>
                    <a:pt x="80" y="211"/>
                  </a:lnTo>
                  <a:lnTo>
                    <a:pt x="87" y="217"/>
                  </a:lnTo>
                  <a:lnTo>
                    <a:pt x="90" y="228"/>
                  </a:lnTo>
                  <a:lnTo>
                    <a:pt x="82" y="234"/>
                  </a:lnTo>
                  <a:lnTo>
                    <a:pt x="71" y="245"/>
                  </a:lnTo>
                  <a:lnTo>
                    <a:pt x="71" y="265"/>
                  </a:lnTo>
                  <a:lnTo>
                    <a:pt x="60" y="272"/>
                  </a:lnTo>
                  <a:lnTo>
                    <a:pt x="57" y="283"/>
                  </a:lnTo>
                  <a:lnTo>
                    <a:pt x="45" y="290"/>
                  </a:lnTo>
                  <a:lnTo>
                    <a:pt x="39" y="300"/>
                  </a:lnTo>
                  <a:lnTo>
                    <a:pt x="23" y="294"/>
                  </a:lnTo>
                  <a:lnTo>
                    <a:pt x="24" y="275"/>
                  </a:lnTo>
                  <a:lnTo>
                    <a:pt x="15" y="272"/>
                  </a:lnTo>
                  <a:lnTo>
                    <a:pt x="13" y="261"/>
                  </a:lnTo>
                  <a:lnTo>
                    <a:pt x="6" y="247"/>
                  </a:lnTo>
                  <a:lnTo>
                    <a:pt x="0" y="23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2" name="Freeform 262">
              <a:extLst>
                <a:ext uri="{FF2B5EF4-FFF2-40B4-BE49-F238E27FC236}">
                  <a16:creationId xmlns:a16="http://schemas.microsoft.com/office/drawing/2014/main" xmlns="" id="{F6658DDE-46E4-4E82-86DA-F2E8A6283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4862" y="2966353"/>
              <a:ext cx="156925" cy="114161"/>
            </a:xfrm>
            <a:custGeom>
              <a:avLst/>
              <a:gdLst>
                <a:gd name="T0" fmla="*/ 42 w 118"/>
                <a:gd name="T1" fmla="*/ 68 h 85"/>
                <a:gd name="T2" fmla="*/ 33 w 118"/>
                <a:gd name="T3" fmla="*/ 61 h 85"/>
                <a:gd name="T4" fmla="*/ 20 w 118"/>
                <a:gd name="T5" fmla="*/ 53 h 85"/>
                <a:gd name="T6" fmla="*/ 4 w 118"/>
                <a:gd name="T7" fmla="*/ 45 h 85"/>
                <a:gd name="T8" fmla="*/ 0 w 118"/>
                <a:gd name="T9" fmla="*/ 31 h 85"/>
                <a:gd name="T10" fmla="*/ 14 w 118"/>
                <a:gd name="T11" fmla="*/ 27 h 85"/>
                <a:gd name="T12" fmla="*/ 25 w 118"/>
                <a:gd name="T13" fmla="*/ 10 h 85"/>
                <a:gd name="T14" fmla="*/ 31 w 118"/>
                <a:gd name="T15" fmla="*/ 1 h 85"/>
                <a:gd name="T16" fmla="*/ 51 w 118"/>
                <a:gd name="T17" fmla="*/ 0 h 85"/>
                <a:gd name="T18" fmla="*/ 59 w 118"/>
                <a:gd name="T19" fmla="*/ 6 h 85"/>
                <a:gd name="T20" fmla="*/ 80 w 118"/>
                <a:gd name="T21" fmla="*/ 8 h 85"/>
                <a:gd name="T22" fmla="*/ 88 w 118"/>
                <a:gd name="T23" fmla="*/ 4 h 85"/>
                <a:gd name="T24" fmla="*/ 108 w 118"/>
                <a:gd name="T25" fmla="*/ 24 h 85"/>
                <a:gd name="T26" fmla="*/ 109 w 118"/>
                <a:gd name="T27" fmla="*/ 41 h 85"/>
                <a:gd name="T28" fmla="*/ 117 w 118"/>
                <a:gd name="T29" fmla="*/ 59 h 85"/>
                <a:gd name="T30" fmla="*/ 115 w 118"/>
                <a:gd name="T31" fmla="*/ 69 h 85"/>
                <a:gd name="T32" fmla="*/ 104 w 118"/>
                <a:gd name="T33" fmla="*/ 79 h 85"/>
                <a:gd name="T34" fmla="*/ 91 w 118"/>
                <a:gd name="T35" fmla="*/ 81 h 85"/>
                <a:gd name="T36" fmla="*/ 70 w 118"/>
                <a:gd name="T37" fmla="*/ 84 h 85"/>
                <a:gd name="T38" fmla="*/ 66 w 118"/>
                <a:gd name="T39" fmla="*/ 71 h 85"/>
                <a:gd name="T40" fmla="*/ 50 w 118"/>
                <a:gd name="T41" fmla="*/ 65 h 85"/>
                <a:gd name="T42" fmla="*/ 46 w 118"/>
                <a:gd name="T43" fmla="*/ 71 h 85"/>
                <a:gd name="T44" fmla="*/ 42 w 118"/>
                <a:gd name="T45" fmla="*/ 6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8" h="85">
                  <a:moveTo>
                    <a:pt x="42" y="68"/>
                  </a:moveTo>
                  <a:lnTo>
                    <a:pt x="33" y="61"/>
                  </a:lnTo>
                  <a:lnTo>
                    <a:pt x="20" y="53"/>
                  </a:lnTo>
                  <a:lnTo>
                    <a:pt x="4" y="45"/>
                  </a:lnTo>
                  <a:lnTo>
                    <a:pt x="0" y="31"/>
                  </a:lnTo>
                  <a:lnTo>
                    <a:pt x="14" y="27"/>
                  </a:lnTo>
                  <a:lnTo>
                    <a:pt x="25" y="10"/>
                  </a:lnTo>
                  <a:lnTo>
                    <a:pt x="31" y="1"/>
                  </a:lnTo>
                  <a:lnTo>
                    <a:pt x="51" y="0"/>
                  </a:lnTo>
                  <a:lnTo>
                    <a:pt x="59" y="6"/>
                  </a:lnTo>
                  <a:lnTo>
                    <a:pt x="80" y="8"/>
                  </a:lnTo>
                  <a:lnTo>
                    <a:pt x="88" y="4"/>
                  </a:lnTo>
                  <a:lnTo>
                    <a:pt x="108" y="24"/>
                  </a:lnTo>
                  <a:lnTo>
                    <a:pt x="109" y="41"/>
                  </a:lnTo>
                  <a:lnTo>
                    <a:pt x="117" y="59"/>
                  </a:lnTo>
                  <a:lnTo>
                    <a:pt x="115" y="69"/>
                  </a:lnTo>
                  <a:lnTo>
                    <a:pt x="104" y="79"/>
                  </a:lnTo>
                  <a:lnTo>
                    <a:pt x="91" y="81"/>
                  </a:lnTo>
                  <a:lnTo>
                    <a:pt x="70" y="84"/>
                  </a:lnTo>
                  <a:lnTo>
                    <a:pt x="66" y="71"/>
                  </a:lnTo>
                  <a:lnTo>
                    <a:pt x="50" y="65"/>
                  </a:lnTo>
                  <a:lnTo>
                    <a:pt x="46" y="71"/>
                  </a:lnTo>
                  <a:lnTo>
                    <a:pt x="42" y="6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3" name="Freeform 263">
              <a:extLst>
                <a:ext uri="{FF2B5EF4-FFF2-40B4-BE49-F238E27FC236}">
                  <a16:creationId xmlns:a16="http://schemas.microsoft.com/office/drawing/2014/main" xmlns="" id="{B41B8C3A-A466-47E8-8031-1D3B3935F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7311" y="3110244"/>
              <a:ext cx="351893" cy="155783"/>
            </a:xfrm>
            <a:custGeom>
              <a:avLst/>
              <a:gdLst>
                <a:gd name="T0" fmla="*/ 134 w 265"/>
                <a:gd name="T1" fmla="*/ 111 h 118"/>
                <a:gd name="T2" fmla="*/ 146 w 265"/>
                <a:gd name="T3" fmla="*/ 108 h 118"/>
                <a:gd name="T4" fmla="*/ 168 w 265"/>
                <a:gd name="T5" fmla="*/ 106 h 118"/>
                <a:gd name="T6" fmla="*/ 184 w 265"/>
                <a:gd name="T7" fmla="*/ 106 h 118"/>
                <a:gd name="T8" fmla="*/ 204 w 265"/>
                <a:gd name="T9" fmla="*/ 102 h 118"/>
                <a:gd name="T10" fmla="*/ 209 w 265"/>
                <a:gd name="T11" fmla="*/ 117 h 118"/>
                <a:gd name="T12" fmla="*/ 218 w 265"/>
                <a:gd name="T13" fmla="*/ 108 h 118"/>
                <a:gd name="T14" fmla="*/ 227 w 265"/>
                <a:gd name="T15" fmla="*/ 99 h 118"/>
                <a:gd name="T16" fmla="*/ 241 w 265"/>
                <a:gd name="T17" fmla="*/ 96 h 118"/>
                <a:gd name="T18" fmla="*/ 247 w 265"/>
                <a:gd name="T19" fmla="*/ 106 h 118"/>
                <a:gd name="T20" fmla="*/ 264 w 265"/>
                <a:gd name="T21" fmla="*/ 107 h 118"/>
                <a:gd name="T22" fmla="*/ 261 w 265"/>
                <a:gd name="T23" fmla="*/ 88 h 118"/>
                <a:gd name="T24" fmla="*/ 253 w 265"/>
                <a:gd name="T25" fmla="*/ 69 h 118"/>
                <a:gd name="T26" fmla="*/ 247 w 265"/>
                <a:gd name="T27" fmla="*/ 50 h 118"/>
                <a:gd name="T28" fmla="*/ 252 w 265"/>
                <a:gd name="T29" fmla="*/ 44 h 118"/>
                <a:gd name="T30" fmla="*/ 241 w 265"/>
                <a:gd name="T31" fmla="*/ 32 h 118"/>
                <a:gd name="T32" fmla="*/ 228 w 265"/>
                <a:gd name="T33" fmla="*/ 12 h 118"/>
                <a:gd name="T34" fmla="*/ 210 w 265"/>
                <a:gd name="T35" fmla="*/ 14 h 118"/>
                <a:gd name="T36" fmla="*/ 202 w 265"/>
                <a:gd name="T37" fmla="*/ 23 h 118"/>
                <a:gd name="T38" fmla="*/ 173 w 265"/>
                <a:gd name="T39" fmla="*/ 25 h 118"/>
                <a:gd name="T40" fmla="*/ 161 w 265"/>
                <a:gd name="T41" fmla="*/ 26 h 118"/>
                <a:gd name="T42" fmla="*/ 146 w 265"/>
                <a:gd name="T43" fmla="*/ 19 h 118"/>
                <a:gd name="T44" fmla="*/ 135 w 265"/>
                <a:gd name="T45" fmla="*/ 19 h 118"/>
                <a:gd name="T46" fmla="*/ 125 w 265"/>
                <a:gd name="T47" fmla="*/ 7 h 118"/>
                <a:gd name="T48" fmla="*/ 112 w 265"/>
                <a:gd name="T49" fmla="*/ 0 h 118"/>
                <a:gd name="T50" fmla="*/ 98 w 265"/>
                <a:gd name="T51" fmla="*/ 7 h 118"/>
                <a:gd name="T52" fmla="*/ 78 w 265"/>
                <a:gd name="T53" fmla="*/ 9 h 118"/>
                <a:gd name="T54" fmla="*/ 64 w 265"/>
                <a:gd name="T55" fmla="*/ 14 h 118"/>
                <a:gd name="T56" fmla="*/ 45 w 265"/>
                <a:gd name="T57" fmla="*/ 15 h 118"/>
                <a:gd name="T58" fmla="*/ 34 w 265"/>
                <a:gd name="T59" fmla="*/ 15 h 118"/>
                <a:gd name="T60" fmla="*/ 19 w 265"/>
                <a:gd name="T61" fmla="*/ 21 h 118"/>
                <a:gd name="T62" fmla="*/ 29 w 265"/>
                <a:gd name="T63" fmla="*/ 26 h 118"/>
                <a:gd name="T64" fmla="*/ 18 w 265"/>
                <a:gd name="T65" fmla="*/ 32 h 118"/>
                <a:gd name="T66" fmla="*/ 14 w 265"/>
                <a:gd name="T67" fmla="*/ 39 h 118"/>
                <a:gd name="T68" fmla="*/ 5 w 265"/>
                <a:gd name="T69" fmla="*/ 48 h 118"/>
                <a:gd name="T70" fmla="*/ 3 w 265"/>
                <a:gd name="T71" fmla="*/ 56 h 118"/>
                <a:gd name="T72" fmla="*/ 0 w 265"/>
                <a:gd name="T73" fmla="*/ 63 h 118"/>
                <a:gd name="T74" fmla="*/ 7 w 265"/>
                <a:gd name="T75" fmla="*/ 65 h 118"/>
                <a:gd name="T76" fmla="*/ 6 w 265"/>
                <a:gd name="T77" fmla="*/ 74 h 118"/>
                <a:gd name="T78" fmla="*/ 11 w 265"/>
                <a:gd name="T79" fmla="*/ 78 h 118"/>
                <a:gd name="T80" fmla="*/ 11 w 265"/>
                <a:gd name="T81" fmla="*/ 88 h 118"/>
                <a:gd name="T82" fmla="*/ 16 w 265"/>
                <a:gd name="T83" fmla="*/ 95 h 118"/>
                <a:gd name="T84" fmla="*/ 22 w 265"/>
                <a:gd name="T85" fmla="*/ 94 h 118"/>
                <a:gd name="T86" fmla="*/ 24 w 265"/>
                <a:gd name="T87" fmla="*/ 101 h 118"/>
                <a:gd name="T88" fmla="*/ 36 w 265"/>
                <a:gd name="T89" fmla="*/ 105 h 118"/>
                <a:gd name="T90" fmla="*/ 44 w 265"/>
                <a:gd name="T91" fmla="*/ 114 h 118"/>
                <a:gd name="T92" fmla="*/ 54 w 265"/>
                <a:gd name="T93" fmla="*/ 111 h 118"/>
                <a:gd name="T94" fmla="*/ 60 w 265"/>
                <a:gd name="T95" fmla="*/ 107 h 118"/>
                <a:gd name="T96" fmla="*/ 68 w 265"/>
                <a:gd name="T97" fmla="*/ 100 h 118"/>
                <a:gd name="T98" fmla="*/ 84 w 265"/>
                <a:gd name="T99" fmla="*/ 111 h 118"/>
                <a:gd name="T100" fmla="*/ 102 w 265"/>
                <a:gd name="T101" fmla="*/ 113 h 118"/>
                <a:gd name="T102" fmla="*/ 121 w 265"/>
                <a:gd name="T103" fmla="*/ 110 h 118"/>
                <a:gd name="T104" fmla="*/ 129 w 265"/>
                <a:gd name="T105" fmla="*/ 110 h 118"/>
                <a:gd name="T106" fmla="*/ 134 w 265"/>
                <a:gd name="T107" fmla="*/ 11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5" h="118">
                  <a:moveTo>
                    <a:pt x="134" y="111"/>
                  </a:moveTo>
                  <a:lnTo>
                    <a:pt x="146" y="108"/>
                  </a:lnTo>
                  <a:lnTo>
                    <a:pt x="168" y="106"/>
                  </a:lnTo>
                  <a:lnTo>
                    <a:pt x="184" y="106"/>
                  </a:lnTo>
                  <a:lnTo>
                    <a:pt x="204" y="102"/>
                  </a:lnTo>
                  <a:lnTo>
                    <a:pt x="209" y="117"/>
                  </a:lnTo>
                  <a:lnTo>
                    <a:pt x="218" y="108"/>
                  </a:lnTo>
                  <a:lnTo>
                    <a:pt x="227" y="99"/>
                  </a:lnTo>
                  <a:lnTo>
                    <a:pt x="241" y="96"/>
                  </a:lnTo>
                  <a:lnTo>
                    <a:pt x="247" y="106"/>
                  </a:lnTo>
                  <a:lnTo>
                    <a:pt x="264" y="107"/>
                  </a:lnTo>
                  <a:lnTo>
                    <a:pt x="261" y="88"/>
                  </a:lnTo>
                  <a:lnTo>
                    <a:pt x="253" y="69"/>
                  </a:lnTo>
                  <a:lnTo>
                    <a:pt x="247" y="50"/>
                  </a:lnTo>
                  <a:lnTo>
                    <a:pt x="252" y="44"/>
                  </a:lnTo>
                  <a:lnTo>
                    <a:pt x="241" y="32"/>
                  </a:lnTo>
                  <a:lnTo>
                    <a:pt x="228" y="12"/>
                  </a:lnTo>
                  <a:lnTo>
                    <a:pt x="210" y="14"/>
                  </a:lnTo>
                  <a:lnTo>
                    <a:pt x="202" y="23"/>
                  </a:lnTo>
                  <a:lnTo>
                    <a:pt x="173" y="25"/>
                  </a:lnTo>
                  <a:lnTo>
                    <a:pt x="161" y="26"/>
                  </a:lnTo>
                  <a:lnTo>
                    <a:pt x="146" y="19"/>
                  </a:lnTo>
                  <a:lnTo>
                    <a:pt x="135" y="19"/>
                  </a:lnTo>
                  <a:lnTo>
                    <a:pt x="125" y="7"/>
                  </a:lnTo>
                  <a:lnTo>
                    <a:pt x="112" y="0"/>
                  </a:lnTo>
                  <a:lnTo>
                    <a:pt x="98" y="7"/>
                  </a:lnTo>
                  <a:lnTo>
                    <a:pt x="78" y="9"/>
                  </a:lnTo>
                  <a:lnTo>
                    <a:pt x="64" y="14"/>
                  </a:lnTo>
                  <a:lnTo>
                    <a:pt x="45" y="15"/>
                  </a:lnTo>
                  <a:lnTo>
                    <a:pt x="34" y="15"/>
                  </a:lnTo>
                  <a:lnTo>
                    <a:pt x="19" y="21"/>
                  </a:lnTo>
                  <a:lnTo>
                    <a:pt x="29" y="26"/>
                  </a:lnTo>
                  <a:lnTo>
                    <a:pt x="18" y="32"/>
                  </a:lnTo>
                  <a:lnTo>
                    <a:pt x="14" y="39"/>
                  </a:lnTo>
                  <a:lnTo>
                    <a:pt x="5" y="48"/>
                  </a:lnTo>
                  <a:lnTo>
                    <a:pt x="3" y="56"/>
                  </a:lnTo>
                  <a:lnTo>
                    <a:pt x="0" y="63"/>
                  </a:lnTo>
                  <a:lnTo>
                    <a:pt x="7" y="65"/>
                  </a:lnTo>
                  <a:lnTo>
                    <a:pt x="6" y="74"/>
                  </a:lnTo>
                  <a:lnTo>
                    <a:pt x="11" y="78"/>
                  </a:lnTo>
                  <a:lnTo>
                    <a:pt x="11" y="88"/>
                  </a:lnTo>
                  <a:lnTo>
                    <a:pt x="16" y="95"/>
                  </a:lnTo>
                  <a:lnTo>
                    <a:pt x="22" y="94"/>
                  </a:lnTo>
                  <a:lnTo>
                    <a:pt x="24" y="101"/>
                  </a:lnTo>
                  <a:lnTo>
                    <a:pt x="36" y="105"/>
                  </a:lnTo>
                  <a:lnTo>
                    <a:pt x="44" y="114"/>
                  </a:lnTo>
                  <a:lnTo>
                    <a:pt x="54" y="111"/>
                  </a:lnTo>
                  <a:lnTo>
                    <a:pt x="60" y="107"/>
                  </a:lnTo>
                  <a:lnTo>
                    <a:pt x="68" y="100"/>
                  </a:lnTo>
                  <a:lnTo>
                    <a:pt x="84" y="111"/>
                  </a:lnTo>
                  <a:lnTo>
                    <a:pt x="102" y="113"/>
                  </a:lnTo>
                  <a:lnTo>
                    <a:pt x="121" y="110"/>
                  </a:lnTo>
                  <a:lnTo>
                    <a:pt x="129" y="110"/>
                  </a:lnTo>
                  <a:lnTo>
                    <a:pt x="134" y="11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4" name="Freeform 264">
              <a:extLst>
                <a:ext uri="{FF2B5EF4-FFF2-40B4-BE49-F238E27FC236}">
                  <a16:creationId xmlns:a16="http://schemas.microsoft.com/office/drawing/2014/main" xmlns="" id="{FE949EB2-793C-4EDB-A8B0-2D49A6BEB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846" y="3000839"/>
              <a:ext cx="183079" cy="145080"/>
            </a:xfrm>
            <a:custGeom>
              <a:avLst/>
              <a:gdLst>
                <a:gd name="T0" fmla="*/ 12 w 137"/>
                <a:gd name="T1" fmla="*/ 18 h 109"/>
                <a:gd name="T2" fmla="*/ 3 w 137"/>
                <a:gd name="T3" fmla="*/ 12 h 109"/>
                <a:gd name="T4" fmla="*/ 0 w 137"/>
                <a:gd name="T5" fmla="*/ 0 h 109"/>
                <a:gd name="T6" fmla="*/ 24 w 137"/>
                <a:gd name="T7" fmla="*/ 6 h 109"/>
                <a:gd name="T8" fmla="*/ 37 w 137"/>
                <a:gd name="T9" fmla="*/ 0 h 109"/>
                <a:gd name="T10" fmla="*/ 43 w 137"/>
                <a:gd name="T11" fmla="*/ 2 h 109"/>
                <a:gd name="T12" fmla="*/ 58 w 137"/>
                <a:gd name="T13" fmla="*/ 10 h 109"/>
                <a:gd name="T14" fmla="*/ 75 w 137"/>
                <a:gd name="T15" fmla="*/ 14 h 109"/>
                <a:gd name="T16" fmla="*/ 84 w 137"/>
                <a:gd name="T17" fmla="*/ 6 h 109"/>
                <a:gd name="T18" fmla="*/ 95 w 137"/>
                <a:gd name="T19" fmla="*/ 7 h 109"/>
                <a:gd name="T20" fmla="*/ 99 w 137"/>
                <a:gd name="T21" fmla="*/ 20 h 109"/>
                <a:gd name="T22" fmla="*/ 114 w 137"/>
                <a:gd name="T23" fmla="*/ 29 h 109"/>
                <a:gd name="T24" fmla="*/ 128 w 137"/>
                <a:gd name="T25" fmla="*/ 36 h 109"/>
                <a:gd name="T26" fmla="*/ 136 w 137"/>
                <a:gd name="T27" fmla="*/ 43 h 109"/>
                <a:gd name="T28" fmla="*/ 123 w 137"/>
                <a:gd name="T29" fmla="*/ 53 h 109"/>
                <a:gd name="T30" fmla="*/ 124 w 137"/>
                <a:gd name="T31" fmla="*/ 62 h 109"/>
                <a:gd name="T32" fmla="*/ 132 w 137"/>
                <a:gd name="T33" fmla="*/ 76 h 109"/>
                <a:gd name="T34" fmla="*/ 134 w 137"/>
                <a:gd name="T35" fmla="*/ 97 h 109"/>
                <a:gd name="T36" fmla="*/ 120 w 137"/>
                <a:gd name="T37" fmla="*/ 108 h 109"/>
                <a:gd name="T38" fmla="*/ 109 w 137"/>
                <a:gd name="T39" fmla="*/ 105 h 109"/>
                <a:gd name="T40" fmla="*/ 106 w 137"/>
                <a:gd name="T41" fmla="*/ 90 h 109"/>
                <a:gd name="T42" fmla="*/ 98 w 137"/>
                <a:gd name="T43" fmla="*/ 77 h 109"/>
                <a:gd name="T44" fmla="*/ 90 w 137"/>
                <a:gd name="T45" fmla="*/ 80 h 109"/>
                <a:gd name="T46" fmla="*/ 92 w 137"/>
                <a:gd name="T47" fmla="*/ 91 h 109"/>
                <a:gd name="T48" fmla="*/ 79 w 137"/>
                <a:gd name="T49" fmla="*/ 88 h 109"/>
                <a:gd name="T50" fmla="*/ 68 w 137"/>
                <a:gd name="T51" fmla="*/ 80 h 109"/>
                <a:gd name="T52" fmla="*/ 58 w 137"/>
                <a:gd name="T53" fmla="*/ 68 h 109"/>
                <a:gd name="T54" fmla="*/ 49 w 137"/>
                <a:gd name="T55" fmla="*/ 62 h 109"/>
                <a:gd name="T56" fmla="*/ 34 w 137"/>
                <a:gd name="T57" fmla="*/ 56 h 109"/>
                <a:gd name="T58" fmla="*/ 34 w 137"/>
                <a:gd name="T59" fmla="*/ 46 h 109"/>
                <a:gd name="T60" fmla="*/ 21 w 137"/>
                <a:gd name="T61" fmla="*/ 38 h 109"/>
                <a:gd name="T62" fmla="*/ 17 w 137"/>
                <a:gd name="T63" fmla="*/ 21 h 109"/>
                <a:gd name="T64" fmla="*/ 12 w 137"/>
                <a:gd name="T65" fmla="*/ 1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109">
                  <a:moveTo>
                    <a:pt x="12" y="18"/>
                  </a:moveTo>
                  <a:lnTo>
                    <a:pt x="3" y="12"/>
                  </a:lnTo>
                  <a:lnTo>
                    <a:pt x="0" y="0"/>
                  </a:lnTo>
                  <a:lnTo>
                    <a:pt x="24" y="6"/>
                  </a:lnTo>
                  <a:lnTo>
                    <a:pt x="37" y="0"/>
                  </a:lnTo>
                  <a:lnTo>
                    <a:pt x="43" y="2"/>
                  </a:lnTo>
                  <a:lnTo>
                    <a:pt x="58" y="10"/>
                  </a:lnTo>
                  <a:lnTo>
                    <a:pt x="75" y="14"/>
                  </a:lnTo>
                  <a:lnTo>
                    <a:pt x="84" y="6"/>
                  </a:lnTo>
                  <a:lnTo>
                    <a:pt x="95" y="7"/>
                  </a:lnTo>
                  <a:lnTo>
                    <a:pt x="99" y="20"/>
                  </a:lnTo>
                  <a:lnTo>
                    <a:pt x="114" y="29"/>
                  </a:lnTo>
                  <a:lnTo>
                    <a:pt x="128" y="36"/>
                  </a:lnTo>
                  <a:lnTo>
                    <a:pt x="136" y="43"/>
                  </a:lnTo>
                  <a:lnTo>
                    <a:pt x="123" y="53"/>
                  </a:lnTo>
                  <a:lnTo>
                    <a:pt x="124" y="62"/>
                  </a:lnTo>
                  <a:lnTo>
                    <a:pt x="132" y="76"/>
                  </a:lnTo>
                  <a:lnTo>
                    <a:pt x="134" y="97"/>
                  </a:lnTo>
                  <a:lnTo>
                    <a:pt x="120" y="108"/>
                  </a:lnTo>
                  <a:lnTo>
                    <a:pt x="109" y="105"/>
                  </a:lnTo>
                  <a:lnTo>
                    <a:pt x="106" y="90"/>
                  </a:lnTo>
                  <a:lnTo>
                    <a:pt x="98" y="77"/>
                  </a:lnTo>
                  <a:lnTo>
                    <a:pt x="90" y="80"/>
                  </a:lnTo>
                  <a:lnTo>
                    <a:pt x="92" y="91"/>
                  </a:lnTo>
                  <a:lnTo>
                    <a:pt x="79" y="88"/>
                  </a:lnTo>
                  <a:lnTo>
                    <a:pt x="68" y="80"/>
                  </a:lnTo>
                  <a:lnTo>
                    <a:pt x="58" y="68"/>
                  </a:lnTo>
                  <a:lnTo>
                    <a:pt x="49" y="62"/>
                  </a:lnTo>
                  <a:lnTo>
                    <a:pt x="34" y="56"/>
                  </a:lnTo>
                  <a:lnTo>
                    <a:pt x="34" y="46"/>
                  </a:lnTo>
                  <a:lnTo>
                    <a:pt x="21" y="38"/>
                  </a:lnTo>
                  <a:lnTo>
                    <a:pt x="17" y="21"/>
                  </a:lnTo>
                  <a:lnTo>
                    <a:pt x="12" y="1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5" name="Freeform 265">
              <a:extLst>
                <a:ext uri="{FF2B5EF4-FFF2-40B4-BE49-F238E27FC236}">
                  <a16:creationId xmlns:a16="http://schemas.microsoft.com/office/drawing/2014/main" xmlns="" id="{8BC22675-AC55-4A0C-85C5-5CA4D508E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282" y="2827218"/>
              <a:ext cx="307906" cy="222377"/>
            </a:xfrm>
            <a:custGeom>
              <a:avLst/>
              <a:gdLst>
                <a:gd name="T0" fmla="*/ 65 w 259"/>
                <a:gd name="T1" fmla="*/ 123 h 187"/>
                <a:gd name="T2" fmla="*/ 86 w 259"/>
                <a:gd name="T3" fmla="*/ 121 h 187"/>
                <a:gd name="T4" fmla="*/ 99 w 259"/>
                <a:gd name="T5" fmla="*/ 130 h 187"/>
                <a:gd name="T6" fmla="*/ 119 w 259"/>
                <a:gd name="T7" fmla="*/ 160 h 187"/>
                <a:gd name="T8" fmla="*/ 116 w 259"/>
                <a:gd name="T9" fmla="*/ 172 h 187"/>
                <a:gd name="T10" fmla="*/ 110 w 259"/>
                <a:gd name="T11" fmla="*/ 187 h 187"/>
                <a:gd name="T12" fmla="*/ 123 w 259"/>
                <a:gd name="T13" fmla="*/ 173 h 187"/>
                <a:gd name="T14" fmla="*/ 132 w 259"/>
                <a:gd name="T15" fmla="*/ 138 h 187"/>
                <a:gd name="T16" fmla="*/ 149 w 259"/>
                <a:gd name="T17" fmla="*/ 134 h 187"/>
                <a:gd name="T18" fmla="*/ 154 w 259"/>
                <a:gd name="T19" fmla="*/ 157 h 187"/>
                <a:gd name="T20" fmla="*/ 175 w 259"/>
                <a:gd name="T21" fmla="*/ 154 h 187"/>
                <a:gd name="T22" fmla="*/ 169 w 259"/>
                <a:gd name="T23" fmla="*/ 174 h 187"/>
                <a:gd name="T24" fmla="*/ 184 w 259"/>
                <a:gd name="T25" fmla="*/ 183 h 187"/>
                <a:gd name="T26" fmla="*/ 211 w 259"/>
                <a:gd name="T27" fmla="*/ 178 h 187"/>
                <a:gd name="T28" fmla="*/ 187 w 259"/>
                <a:gd name="T29" fmla="*/ 156 h 187"/>
                <a:gd name="T30" fmla="*/ 197 w 259"/>
                <a:gd name="T31" fmla="*/ 152 h 187"/>
                <a:gd name="T32" fmla="*/ 205 w 259"/>
                <a:gd name="T33" fmla="*/ 140 h 187"/>
                <a:gd name="T34" fmla="*/ 218 w 259"/>
                <a:gd name="T35" fmla="*/ 142 h 187"/>
                <a:gd name="T36" fmla="*/ 250 w 259"/>
                <a:gd name="T37" fmla="*/ 128 h 187"/>
                <a:gd name="T38" fmla="*/ 259 w 259"/>
                <a:gd name="T39" fmla="*/ 78 h 187"/>
                <a:gd name="T40" fmla="*/ 195 w 259"/>
                <a:gd name="T41" fmla="*/ 25 h 187"/>
                <a:gd name="T42" fmla="*/ 186 w 259"/>
                <a:gd name="T43" fmla="*/ 0 h 187"/>
                <a:gd name="T44" fmla="*/ 143 w 259"/>
                <a:gd name="T45" fmla="*/ 3 h 187"/>
                <a:gd name="T46" fmla="*/ 132 w 259"/>
                <a:gd name="T47" fmla="*/ 21 h 187"/>
                <a:gd name="T48" fmla="*/ 17 w 259"/>
                <a:gd name="T49" fmla="*/ 34 h 187"/>
                <a:gd name="T50" fmla="*/ 18 w 259"/>
                <a:gd name="T51" fmla="*/ 63 h 187"/>
                <a:gd name="T52" fmla="*/ 6 w 259"/>
                <a:gd name="T53" fmla="*/ 73 h 187"/>
                <a:gd name="T54" fmla="*/ 0 w 259"/>
                <a:gd name="T55" fmla="*/ 120 h 187"/>
                <a:gd name="T56" fmla="*/ 23 w 259"/>
                <a:gd name="T57" fmla="*/ 119 h 187"/>
                <a:gd name="T58" fmla="*/ 32 w 259"/>
                <a:gd name="T59" fmla="*/ 125 h 187"/>
                <a:gd name="T60" fmla="*/ 55 w 259"/>
                <a:gd name="T61" fmla="*/ 126 h 187"/>
                <a:gd name="T62" fmla="*/ 65 w 259"/>
                <a:gd name="T63" fmla="*/ 12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9" h="187">
                  <a:moveTo>
                    <a:pt x="65" y="123"/>
                  </a:moveTo>
                  <a:lnTo>
                    <a:pt x="86" y="121"/>
                  </a:lnTo>
                  <a:lnTo>
                    <a:pt x="99" y="130"/>
                  </a:lnTo>
                  <a:lnTo>
                    <a:pt x="119" y="160"/>
                  </a:lnTo>
                  <a:lnTo>
                    <a:pt x="116" y="172"/>
                  </a:lnTo>
                  <a:lnTo>
                    <a:pt x="110" y="187"/>
                  </a:lnTo>
                  <a:lnTo>
                    <a:pt x="123" y="173"/>
                  </a:lnTo>
                  <a:lnTo>
                    <a:pt x="132" y="138"/>
                  </a:lnTo>
                  <a:lnTo>
                    <a:pt x="149" y="134"/>
                  </a:lnTo>
                  <a:lnTo>
                    <a:pt x="154" y="157"/>
                  </a:lnTo>
                  <a:lnTo>
                    <a:pt x="175" y="154"/>
                  </a:lnTo>
                  <a:lnTo>
                    <a:pt x="169" y="174"/>
                  </a:lnTo>
                  <a:lnTo>
                    <a:pt x="184" y="183"/>
                  </a:lnTo>
                  <a:lnTo>
                    <a:pt x="211" y="178"/>
                  </a:lnTo>
                  <a:lnTo>
                    <a:pt x="187" y="156"/>
                  </a:lnTo>
                  <a:lnTo>
                    <a:pt x="197" y="152"/>
                  </a:lnTo>
                  <a:lnTo>
                    <a:pt x="205" y="140"/>
                  </a:lnTo>
                  <a:lnTo>
                    <a:pt x="218" y="142"/>
                  </a:lnTo>
                  <a:lnTo>
                    <a:pt x="250" y="128"/>
                  </a:lnTo>
                  <a:lnTo>
                    <a:pt x="259" y="78"/>
                  </a:lnTo>
                  <a:lnTo>
                    <a:pt x="195" y="25"/>
                  </a:lnTo>
                  <a:lnTo>
                    <a:pt x="186" y="0"/>
                  </a:lnTo>
                  <a:lnTo>
                    <a:pt x="143" y="3"/>
                  </a:lnTo>
                  <a:lnTo>
                    <a:pt x="132" y="21"/>
                  </a:lnTo>
                  <a:lnTo>
                    <a:pt x="17" y="34"/>
                  </a:lnTo>
                  <a:lnTo>
                    <a:pt x="18" y="63"/>
                  </a:lnTo>
                  <a:lnTo>
                    <a:pt x="6" y="73"/>
                  </a:lnTo>
                  <a:lnTo>
                    <a:pt x="0" y="120"/>
                  </a:lnTo>
                  <a:lnTo>
                    <a:pt x="23" y="119"/>
                  </a:lnTo>
                  <a:lnTo>
                    <a:pt x="32" y="125"/>
                  </a:lnTo>
                  <a:lnTo>
                    <a:pt x="55" y="126"/>
                  </a:lnTo>
                  <a:lnTo>
                    <a:pt x="65" y="12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6" name="Freeform 266">
              <a:extLst>
                <a:ext uri="{FF2B5EF4-FFF2-40B4-BE49-F238E27FC236}">
                  <a16:creationId xmlns:a16="http://schemas.microsoft.com/office/drawing/2014/main" xmlns="" id="{9B470844-0FCF-404B-9278-F4325507D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415" y="2704732"/>
              <a:ext cx="179513" cy="164107"/>
            </a:xfrm>
            <a:custGeom>
              <a:avLst/>
              <a:gdLst>
                <a:gd name="T0" fmla="*/ 11 w 136"/>
                <a:gd name="T1" fmla="*/ 121 h 122"/>
                <a:gd name="T2" fmla="*/ 112 w 136"/>
                <a:gd name="T3" fmla="*/ 110 h 122"/>
                <a:gd name="T4" fmla="*/ 122 w 136"/>
                <a:gd name="T5" fmla="*/ 94 h 122"/>
                <a:gd name="T6" fmla="*/ 129 w 136"/>
                <a:gd name="T7" fmla="*/ 74 h 122"/>
                <a:gd name="T8" fmla="*/ 135 w 136"/>
                <a:gd name="T9" fmla="*/ 67 h 122"/>
                <a:gd name="T10" fmla="*/ 132 w 136"/>
                <a:gd name="T11" fmla="*/ 15 h 122"/>
                <a:gd name="T12" fmla="*/ 93 w 136"/>
                <a:gd name="T13" fmla="*/ 0 h 122"/>
                <a:gd name="T14" fmla="*/ 82 w 136"/>
                <a:gd name="T15" fmla="*/ 8 h 122"/>
                <a:gd name="T16" fmla="*/ 68 w 136"/>
                <a:gd name="T17" fmla="*/ 3 h 122"/>
                <a:gd name="T18" fmla="*/ 62 w 136"/>
                <a:gd name="T19" fmla="*/ 22 h 122"/>
                <a:gd name="T20" fmla="*/ 58 w 136"/>
                <a:gd name="T21" fmla="*/ 19 h 122"/>
                <a:gd name="T22" fmla="*/ 49 w 136"/>
                <a:gd name="T23" fmla="*/ 38 h 122"/>
                <a:gd name="T24" fmla="*/ 56 w 136"/>
                <a:gd name="T25" fmla="*/ 49 h 122"/>
                <a:gd name="T26" fmla="*/ 36 w 136"/>
                <a:gd name="T27" fmla="*/ 56 h 122"/>
                <a:gd name="T28" fmla="*/ 33 w 136"/>
                <a:gd name="T29" fmla="*/ 68 h 122"/>
                <a:gd name="T30" fmla="*/ 15 w 136"/>
                <a:gd name="T31" fmla="*/ 66 h 122"/>
                <a:gd name="T32" fmla="*/ 0 w 136"/>
                <a:gd name="T33" fmla="*/ 72 h 122"/>
                <a:gd name="T34" fmla="*/ 1 w 136"/>
                <a:gd name="T35" fmla="*/ 85 h 122"/>
                <a:gd name="T36" fmla="*/ 1 w 136"/>
                <a:gd name="T37" fmla="*/ 105 h 122"/>
                <a:gd name="T38" fmla="*/ 10 w 136"/>
                <a:gd name="T39" fmla="*/ 105 h 122"/>
                <a:gd name="T40" fmla="*/ 11 w 136"/>
                <a:gd name="T41" fmla="*/ 12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6" h="122">
                  <a:moveTo>
                    <a:pt x="11" y="121"/>
                  </a:moveTo>
                  <a:lnTo>
                    <a:pt x="112" y="110"/>
                  </a:lnTo>
                  <a:lnTo>
                    <a:pt x="122" y="94"/>
                  </a:lnTo>
                  <a:lnTo>
                    <a:pt x="129" y="74"/>
                  </a:lnTo>
                  <a:lnTo>
                    <a:pt x="135" y="67"/>
                  </a:lnTo>
                  <a:lnTo>
                    <a:pt x="132" y="15"/>
                  </a:lnTo>
                  <a:lnTo>
                    <a:pt x="93" y="0"/>
                  </a:lnTo>
                  <a:lnTo>
                    <a:pt x="82" y="8"/>
                  </a:lnTo>
                  <a:lnTo>
                    <a:pt x="68" y="3"/>
                  </a:lnTo>
                  <a:lnTo>
                    <a:pt x="62" y="22"/>
                  </a:lnTo>
                  <a:lnTo>
                    <a:pt x="58" y="19"/>
                  </a:lnTo>
                  <a:lnTo>
                    <a:pt x="49" y="38"/>
                  </a:lnTo>
                  <a:lnTo>
                    <a:pt x="56" y="49"/>
                  </a:lnTo>
                  <a:lnTo>
                    <a:pt x="36" y="56"/>
                  </a:lnTo>
                  <a:lnTo>
                    <a:pt x="33" y="68"/>
                  </a:lnTo>
                  <a:lnTo>
                    <a:pt x="15" y="66"/>
                  </a:lnTo>
                  <a:lnTo>
                    <a:pt x="0" y="72"/>
                  </a:lnTo>
                  <a:lnTo>
                    <a:pt x="1" y="85"/>
                  </a:lnTo>
                  <a:lnTo>
                    <a:pt x="1" y="105"/>
                  </a:lnTo>
                  <a:lnTo>
                    <a:pt x="10" y="105"/>
                  </a:lnTo>
                  <a:lnTo>
                    <a:pt x="11" y="12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7" name="Freeform 267">
              <a:extLst>
                <a:ext uri="{FF2B5EF4-FFF2-40B4-BE49-F238E27FC236}">
                  <a16:creationId xmlns:a16="http://schemas.microsoft.com/office/drawing/2014/main" xmlns="" id="{A0B68A0B-8FD7-4A9B-AAFE-FEC4DB435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8569" y="3237486"/>
              <a:ext cx="46364" cy="17838"/>
            </a:xfrm>
            <a:custGeom>
              <a:avLst/>
              <a:gdLst>
                <a:gd name="T0" fmla="*/ 17 w 36"/>
                <a:gd name="T1" fmla="*/ 13 h 14"/>
                <a:gd name="T2" fmla="*/ 15 w 36"/>
                <a:gd name="T3" fmla="*/ 13 h 14"/>
                <a:gd name="T4" fmla="*/ 13 w 36"/>
                <a:gd name="T5" fmla="*/ 13 h 14"/>
                <a:gd name="T6" fmla="*/ 12 w 36"/>
                <a:gd name="T7" fmla="*/ 13 h 14"/>
                <a:gd name="T8" fmla="*/ 10 w 36"/>
                <a:gd name="T9" fmla="*/ 11 h 14"/>
                <a:gd name="T10" fmla="*/ 8 w 36"/>
                <a:gd name="T11" fmla="*/ 11 h 14"/>
                <a:gd name="T12" fmla="*/ 6 w 36"/>
                <a:gd name="T13" fmla="*/ 10 h 14"/>
                <a:gd name="T14" fmla="*/ 4 w 36"/>
                <a:gd name="T15" fmla="*/ 9 h 14"/>
                <a:gd name="T16" fmla="*/ 3 w 36"/>
                <a:gd name="T17" fmla="*/ 9 h 14"/>
                <a:gd name="T18" fmla="*/ 2 w 36"/>
                <a:gd name="T19" fmla="*/ 9 h 14"/>
                <a:gd name="T20" fmla="*/ 2 w 36"/>
                <a:gd name="T21" fmla="*/ 7 h 14"/>
                <a:gd name="T22" fmla="*/ 1 w 36"/>
                <a:gd name="T23" fmla="*/ 7 h 14"/>
                <a:gd name="T24" fmla="*/ 0 w 36"/>
                <a:gd name="T25" fmla="*/ 7 h 14"/>
                <a:gd name="T26" fmla="*/ 1 w 36"/>
                <a:gd name="T27" fmla="*/ 7 h 14"/>
                <a:gd name="T28" fmla="*/ 2 w 36"/>
                <a:gd name="T29" fmla="*/ 7 h 14"/>
                <a:gd name="T30" fmla="*/ 2 w 36"/>
                <a:gd name="T31" fmla="*/ 6 h 14"/>
                <a:gd name="T32" fmla="*/ 3 w 36"/>
                <a:gd name="T33" fmla="*/ 6 h 14"/>
                <a:gd name="T34" fmla="*/ 3 w 36"/>
                <a:gd name="T35" fmla="*/ 5 h 14"/>
                <a:gd name="T36" fmla="*/ 4 w 36"/>
                <a:gd name="T37" fmla="*/ 5 h 14"/>
                <a:gd name="T38" fmla="*/ 6 w 36"/>
                <a:gd name="T39" fmla="*/ 5 h 14"/>
                <a:gd name="T40" fmla="*/ 8 w 36"/>
                <a:gd name="T41" fmla="*/ 5 h 14"/>
                <a:gd name="T42" fmla="*/ 11 w 36"/>
                <a:gd name="T43" fmla="*/ 5 h 14"/>
                <a:gd name="T44" fmla="*/ 13 w 36"/>
                <a:gd name="T45" fmla="*/ 5 h 14"/>
                <a:gd name="T46" fmla="*/ 15 w 36"/>
                <a:gd name="T47" fmla="*/ 5 h 14"/>
                <a:gd name="T48" fmla="*/ 17 w 36"/>
                <a:gd name="T49" fmla="*/ 5 h 14"/>
                <a:gd name="T50" fmla="*/ 18 w 36"/>
                <a:gd name="T51" fmla="*/ 5 h 14"/>
                <a:gd name="T52" fmla="*/ 19 w 36"/>
                <a:gd name="T53" fmla="*/ 3 h 14"/>
                <a:gd name="T54" fmla="*/ 21 w 36"/>
                <a:gd name="T55" fmla="*/ 3 h 14"/>
                <a:gd name="T56" fmla="*/ 23 w 36"/>
                <a:gd name="T57" fmla="*/ 2 h 14"/>
                <a:gd name="T58" fmla="*/ 24 w 36"/>
                <a:gd name="T59" fmla="*/ 2 h 14"/>
                <a:gd name="T60" fmla="*/ 26 w 36"/>
                <a:gd name="T61" fmla="*/ 2 h 14"/>
                <a:gd name="T62" fmla="*/ 27 w 36"/>
                <a:gd name="T63" fmla="*/ 1 h 14"/>
                <a:gd name="T64" fmla="*/ 28 w 36"/>
                <a:gd name="T65" fmla="*/ 1 h 14"/>
                <a:gd name="T66" fmla="*/ 29 w 36"/>
                <a:gd name="T67" fmla="*/ 1 h 14"/>
                <a:gd name="T68" fmla="*/ 30 w 36"/>
                <a:gd name="T69" fmla="*/ 0 h 14"/>
                <a:gd name="T70" fmla="*/ 30 w 36"/>
                <a:gd name="T71" fmla="*/ 1 h 14"/>
                <a:gd name="T72" fmla="*/ 31 w 36"/>
                <a:gd name="T73" fmla="*/ 1 h 14"/>
                <a:gd name="T74" fmla="*/ 32 w 36"/>
                <a:gd name="T75" fmla="*/ 2 h 14"/>
                <a:gd name="T76" fmla="*/ 33 w 36"/>
                <a:gd name="T77" fmla="*/ 2 h 14"/>
                <a:gd name="T78" fmla="*/ 33 w 36"/>
                <a:gd name="T79" fmla="*/ 3 h 14"/>
                <a:gd name="T80" fmla="*/ 33 w 36"/>
                <a:gd name="T81" fmla="*/ 5 h 14"/>
                <a:gd name="T82" fmla="*/ 34 w 36"/>
                <a:gd name="T83" fmla="*/ 6 h 14"/>
                <a:gd name="T84" fmla="*/ 34 w 36"/>
                <a:gd name="T85" fmla="*/ 7 h 14"/>
                <a:gd name="T86" fmla="*/ 34 w 36"/>
                <a:gd name="T87" fmla="*/ 9 h 14"/>
                <a:gd name="T88" fmla="*/ 35 w 36"/>
                <a:gd name="T89" fmla="*/ 9 h 14"/>
                <a:gd name="T90" fmla="*/ 34 w 36"/>
                <a:gd name="T91" fmla="*/ 9 h 14"/>
                <a:gd name="T92" fmla="*/ 33 w 36"/>
                <a:gd name="T93" fmla="*/ 10 h 14"/>
                <a:gd name="T94" fmla="*/ 33 w 36"/>
                <a:gd name="T95" fmla="*/ 11 h 14"/>
                <a:gd name="T96" fmla="*/ 32 w 36"/>
                <a:gd name="T97" fmla="*/ 11 h 14"/>
                <a:gd name="T98" fmla="*/ 30 w 36"/>
                <a:gd name="T99" fmla="*/ 11 h 14"/>
                <a:gd name="T100" fmla="*/ 28 w 36"/>
                <a:gd name="T101" fmla="*/ 13 h 14"/>
                <a:gd name="T102" fmla="*/ 27 w 36"/>
                <a:gd name="T103" fmla="*/ 13 h 14"/>
                <a:gd name="T104" fmla="*/ 25 w 36"/>
                <a:gd name="T105" fmla="*/ 13 h 14"/>
                <a:gd name="T106" fmla="*/ 23 w 36"/>
                <a:gd name="T107" fmla="*/ 13 h 14"/>
                <a:gd name="T108" fmla="*/ 21 w 36"/>
                <a:gd name="T109" fmla="*/ 13 h 14"/>
                <a:gd name="T110" fmla="*/ 19 w 36"/>
                <a:gd name="T111" fmla="*/ 13 h 14"/>
                <a:gd name="T112" fmla="*/ 17 w 36"/>
                <a:gd name="T11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" h="14">
                  <a:moveTo>
                    <a:pt x="17" y="13"/>
                  </a:moveTo>
                  <a:lnTo>
                    <a:pt x="15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6" y="10"/>
                  </a:lnTo>
                  <a:lnTo>
                    <a:pt x="4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6" y="5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5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30" y="0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5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2" y="11"/>
                  </a:lnTo>
                  <a:lnTo>
                    <a:pt x="30" y="11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1" y="13"/>
                  </a:lnTo>
                  <a:lnTo>
                    <a:pt x="19" y="13"/>
                  </a:lnTo>
                  <a:lnTo>
                    <a:pt x="17" y="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8" name="Freeform 268">
              <a:extLst>
                <a:ext uri="{FF2B5EF4-FFF2-40B4-BE49-F238E27FC236}">
                  <a16:creationId xmlns:a16="http://schemas.microsoft.com/office/drawing/2014/main" xmlns="" id="{F568E0C5-37F4-4986-BF11-346287EA7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351" y="2703543"/>
              <a:ext cx="136715" cy="115351"/>
            </a:xfrm>
            <a:custGeom>
              <a:avLst/>
              <a:gdLst>
                <a:gd name="T0" fmla="*/ 22 w 115"/>
                <a:gd name="T1" fmla="*/ 23 h 97"/>
                <a:gd name="T2" fmla="*/ 15 w 115"/>
                <a:gd name="T3" fmla="*/ 42 h 97"/>
                <a:gd name="T4" fmla="*/ 0 w 115"/>
                <a:gd name="T5" fmla="*/ 67 h 97"/>
                <a:gd name="T6" fmla="*/ 27 w 115"/>
                <a:gd name="T7" fmla="*/ 78 h 97"/>
                <a:gd name="T8" fmla="*/ 48 w 115"/>
                <a:gd name="T9" fmla="*/ 97 h 97"/>
                <a:gd name="T10" fmla="*/ 47 w 115"/>
                <a:gd name="T11" fmla="*/ 81 h 97"/>
                <a:gd name="T12" fmla="*/ 68 w 115"/>
                <a:gd name="T13" fmla="*/ 75 h 97"/>
                <a:gd name="T14" fmla="*/ 88 w 115"/>
                <a:gd name="T15" fmla="*/ 75 h 97"/>
                <a:gd name="T16" fmla="*/ 89 w 115"/>
                <a:gd name="T17" fmla="*/ 60 h 97"/>
                <a:gd name="T18" fmla="*/ 113 w 115"/>
                <a:gd name="T19" fmla="*/ 57 h 97"/>
                <a:gd name="T20" fmla="*/ 104 w 115"/>
                <a:gd name="T21" fmla="*/ 44 h 97"/>
                <a:gd name="T22" fmla="*/ 113 w 115"/>
                <a:gd name="T23" fmla="*/ 21 h 97"/>
                <a:gd name="T24" fmla="*/ 115 w 115"/>
                <a:gd name="T25" fmla="*/ 12 h 97"/>
                <a:gd name="T26" fmla="*/ 83 w 115"/>
                <a:gd name="T27" fmla="*/ 0 h 97"/>
                <a:gd name="T28" fmla="*/ 50 w 115"/>
                <a:gd name="T29" fmla="*/ 20 h 97"/>
                <a:gd name="T30" fmla="*/ 31 w 115"/>
                <a:gd name="T31" fmla="*/ 2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7">
                  <a:moveTo>
                    <a:pt x="22" y="23"/>
                  </a:moveTo>
                  <a:lnTo>
                    <a:pt x="15" y="42"/>
                  </a:lnTo>
                  <a:lnTo>
                    <a:pt x="0" y="67"/>
                  </a:lnTo>
                  <a:lnTo>
                    <a:pt x="27" y="78"/>
                  </a:lnTo>
                  <a:lnTo>
                    <a:pt x="48" y="97"/>
                  </a:lnTo>
                  <a:lnTo>
                    <a:pt x="47" y="81"/>
                  </a:lnTo>
                  <a:lnTo>
                    <a:pt x="68" y="75"/>
                  </a:lnTo>
                  <a:lnTo>
                    <a:pt x="88" y="75"/>
                  </a:lnTo>
                  <a:lnTo>
                    <a:pt x="89" y="60"/>
                  </a:lnTo>
                  <a:lnTo>
                    <a:pt x="113" y="57"/>
                  </a:lnTo>
                  <a:lnTo>
                    <a:pt x="104" y="44"/>
                  </a:lnTo>
                  <a:lnTo>
                    <a:pt x="113" y="21"/>
                  </a:lnTo>
                  <a:lnTo>
                    <a:pt x="115" y="12"/>
                  </a:lnTo>
                  <a:lnTo>
                    <a:pt x="83" y="0"/>
                  </a:lnTo>
                  <a:lnTo>
                    <a:pt x="50" y="20"/>
                  </a:lnTo>
                  <a:lnTo>
                    <a:pt x="31" y="2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9" name="Freeform 269">
              <a:extLst>
                <a:ext uri="{FF2B5EF4-FFF2-40B4-BE49-F238E27FC236}">
                  <a16:creationId xmlns:a16="http://schemas.microsoft.com/office/drawing/2014/main" xmlns="" id="{012E418E-A068-4408-B6CD-1615D0F7C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744" y="2053061"/>
              <a:ext cx="2780666" cy="1044102"/>
            </a:xfrm>
            <a:custGeom>
              <a:avLst/>
              <a:gdLst>
                <a:gd name="T0" fmla="*/ 354 w 2085"/>
                <a:gd name="T1" fmla="*/ 571 h 783"/>
                <a:gd name="T2" fmla="*/ 487 w 2085"/>
                <a:gd name="T3" fmla="*/ 613 h 783"/>
                <a:gd name="T4" fmla="*/ 575 w 2085"/>
                <a:gd name="T5" fmla="*/ 567 h 783"/>
                <a:gd name="T6" fmla="*/ 718 w 2085"/>
                <a:gd name="T7" fmla="*/ 589 h 783"/>
                <a:gd name="T8" fmla="*/ 848 w 2085"/>
                <a:gd name="T9" fmla="*/ 670 h 783"/>
                <a:gd name="T10" fmla="*/ 953 w 2085"/>
                <a:gd name="T11" fmla="*/ 648 h 783"/>
                <a:gd name="T12" fmla="*/ 1049 w 2085"/>
                <a:gd name="T13" fmla="*/ 634 h 783"/>
                <a:gd name="T14" fmla="*/ 1189 w 2085"/>
                <a:gd name="T15" fmla="*/ 638 h 783"/>
                <a:gd name="T16" fmla="*/ 1259 w 2085"/>
                <a:gd name="T17" fmla="*/ 578 h 783"/>
                <a:gd name="T18" fmla="*/ 1409 w 2085"/>
                <a:gd name="T19" fmla="*/ 667 h 783"/>
                <a:gd name="T20" fmla="*/ 1463 w 2085"/>
                <a:gd name="T21" fmla="*/ 744 h 783"/>
                <a:gd name="T22" fmla="*/ 1531 w 2085"/>
                <a:gd name="T23" fmla="*/ 701 h 783"/>
                <a:gd name="T24" fmla="*/ 1482 w 2085"/>
                <a:gd name="T25" fmla="*/ 573 h 783"/>
                <a:gd name="T26" fmla="*/ 1537 w 2085"/>
                <a:gd name="T27" fmla="*/ 452 h 783"/>
                <a:gd name="T28" fmla="*/ 1683 w 2085"/>
                <a:gd name="T29" fmla="*/ 408 h 783"/>
                <a:gd name="T30" fmla="*/ 1773 w 2085"/>
                <a:gd name="T31" fmla="*/ 421 h 783"/>
                <a:gd name="T32" fmla="*/ 1751 w 2085"/>
                <a:gd name="T33" fmla="*/ 604 h 783"/>
                <a:gd name="T34" fmla="*/ 1814 w 2085"/>
                <a:gd name="T35" fmla="*/ 509 h 783"/>
                <a:gd name="T36" fmla="*/ 1785 w 2085"/>
                <a:gd name="T37" fmla="*/ 478 h 783"/>
                <a:gd name="T38" fmla="*/ 1785 w 2085"/>
                <a:gd name="T39" fmla="*/ 462 h 783"/>
                <a:gd name="T40" fmla="*/ 1797 w 2085"/>
                <a:gd name="T41" fmla="*/ 439 h 783"/>
                <a:gd name="T42" fmla="*/ 1895 w 2085"/>
                <a:gd name="T43" fmla="*/ 405 h 783"/>
                <a:gd name="T44" fmla="*/ 1929 w 2085"/>
                <a:gd name="T45" fmla="*/ 332 h 783"/>
                <a:gd name="T46" fmla="*/ 2005 w 2085"/>
                <a:gd name="T47" fmla="*/ 313 h 783"/>
                <a:gd name="T48" fmla="*/ 2070 w 2085"/>
                <a:gd name="T49" fmla="*/ 305 h 783"/>
                <a:gd name="T50" fmla="*/ 1997 w 2085"/>
                <a:gd name="T51" fmla="*/ 260 h 783"/>
                <a:gd name="T52" fmla="*/ 1865 w 2085"/>
                <a:gd name="T53" fmla="*/ 201 h 783"/>
                <a:gd name="T54" fmla="*/ 1722 w 2085"/>
                <a:gd name="T55" fmla="*/ 199 h 783"/>
                <a:gd name="T56" fmla="*/ 1571 w 2085"/>
                <a:gd name="T57" fmla="*/ 180 h 783"/>
                <a:gd name="T58" fmla="*/ 1409 w 2085"/>
                <a:gd name="T59" fmla="*/ 136 h 783"/>
                <a:gd name="T60" fmla="*/ 1312 w 2085"/>
                <a:gd name="T61" fmla="*/ 165 h 783"/>
                <a:gd name="T62" fmla="*/ 1233 w 2085"/>
                <a:gd name="T63" fmla="*/ 136 h 783"/>
                <a:gd name="T64" fmla="*/ 1020 w 2085"/>
                <a:gd name="T65" fmla="*/ 107 h 783"/>
                <a:gd name="T66" fmla="*/ 1024 w 2085"/>
                <a:gd name="T67" fmla="*/ 51 h 783"/>
                <a:gd name="T68" fmla="*/ 892 w 2085"/>
                <a:gd name="T69" fmla="*/ 0 h 783"/>
                <a:gd name="T70" fmla="*/ 806 w 2085"/>
                <a:gd name="T71" fmla="*/ 53 h 783"/>
                <a:gd name="T72" fmla="*/ 689 w 2085"/>
                <a:gd name="T73" fmla="*/ 75 h 783"/>
                <a:gd name="T74" fmla="*/ 642 w 2085"/>
                <a:gd name="T75" fmla="*/ 142 h 783"/>
                <a:gd name="T76" fmla="*/ 607 w 2085"/>
                <a:gd name="T77" fmla="*/ 144 h 783"/>
                <a:gd name="T78" fmla="*/ 554 w 2085"/>
                <a:gd name="T79" fmla="*/ 137 h 783"/>
                <a:gd name="T80" fmla="*/ 591 w 2085"/>
                <a:gd name="T81" fmla="*/ 210 h 783"/>
                <a:gd name="T82" fmla="*/ 627 w 2085"/>
                <a:gd name="T83" fmla="*/ 256 h 783"/>
                <a:gd name="T84" fmla="*/ 548 w 2085"/>
                <a:gd name="T85" fmla="*/ 291 h 783"/>
                <a:gd name="T86" fmla="*/ 559 w 2085"/>
                <a:gd name="T87" fmla="*/ 256 h 783"/>
                <a:gd name="T88" fmla="*/ 561 w 2085"/>
                <a:gd name="T89" fmla="*/ 243 h 783"/>
                <a:gd name="T90" fmla="*/ 554 w 2085"/>
                <a:gd name="T91" fmla="*/ 225 h 783"/>
                <a:gd name="T92" fmla="*/ 517 w 2085"/>
                <a:gd name="T93" fmla="*/ 109 h 783"/>
                <a:gd name="T94" fmla="*/ 499 w 2085"/>
                <a:gd name="T95" fmla="*/ 228 h 783"/>
                <a:gd name="T96" fmla="*/ 401 w 2085"/>
                <a:gd name="T97" fmla="*/ 218 h 783"/>
                <a:gd name="T98" fmla="*/ 314 w 2085"/>
                <a:gd name="T99" fmla="*/ 233 h 783"/>
                <a:gd name="T100" fmla="*/ 208 w 2085"/>
                <a:gd name="T101" fmla="*/ 237 h 783"/>
                <a:gd name="T102" fmla="*/ 166 w 2085"/>
                <a:gd name="T103" fmla="*/ 298 h 783"/>
                <a:gd name="T104" fmla="*/ 109 w 2085"/>
                <a:gd name="T105" fmla="*/ 322 h 783"/>
                <a:gd name="T106" fmla="*/ 80 w 2085"/>
                <a:gd name="T107" fmla="*/ 289 h 783"/>
                <a:gd name="T108" fmla="*/ 100 w 2085"/>
                <a:gd name="T109" fmla="*/ 233 h 783"/>
                <a:gd name="T110" fmla="*/ 20 w 2085"/>
                <a:gd name="T111" fmla="*/ 311 h 783"/>
                <a:gd name="T112" fmla="*/ 8 w 2085"/>
                <a:gd name="T113" fmla="*/ 427 h 783"/>
                <a:gd name="T114" fmla="*/ 69 w 2085"/>
                <a:gd name="T115" fmla="*/ 584 h 783"/>
                <a:gd name="T116" fmla="*/ 138 w 2085"/>
                <a:gd name="T117" fmla="*/ 740 h 783"/>
                <a:gd name="T118" fmla="*/ 285 w 2085"/>
                <a:gd name="T119" fmla="*/ 77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85" h="783">
                  <a:moveTo>
                    <a:pt x="304" y="721"/>
                  </a:moveTo>
                  <a:lnTo>
                    <a:pt x="316" y="709"/>
                  </a:lnTo>
                  <a:lnTo>
                    <a:pt x="322" y="683"/>
                  </a:lnTo>
                  <a:lnTo>
                    <a:pt x="336" y="668"/>
                  </a:lnTo>
                  <a:lnTo>
                    <a:pt x="334" y="649"/>
                  </a:lnTo>
                  <a:lnTo>
                    <a:pt x="317" y="639"/>
                  </a:lnTo>
                  <a:lnTo>
                    <a:pt x="310" y="622"/>
                  </a:lnTo>
                  <a:lnTo>
                    <a:pt x="354" y="571"/>
                  </a:lnTo>
                  <a:lnTo>
                    <a:pt x="370" y="589"/>
                  </a:lnTo>
                  <a:lnTo>
                    <a:pt x="376" y="576"/>
                  </a:lnTo>
                  <a:lnTo>
                    <a:pt x="395" y="571"/>
                  </a:lnTo>
                  <a:lnTo>
                    <a:pt x="411" y="575"/>
                  </a:lnTo>
                  <a:lnTo>
                    <a:pt x="440" y="576"/>
                  </a:lnTo>
                  <a:lnTo>
                    <a:pt x="475" y="599"/>
                  </a:lnTo>
                  <a:lnTo>
                    <a:pt x="474" y="608"/>
                  </a:lnTo>
                  <a:lnTo>
                    <a:pt x="487" y="613"/>
                  </a:lnTo>
                  <a:lnTo>
                    <a:pt x="506" y="612"/>
                  </a:lnTo>
                  <a:lnTo>
                    <a:pt x="532" y="626"/>
                  </a:lnTo>
                  <a:lnTo>
                    <a:pt x="546" y="631"/>
                  </a:lnTo>
                  <a:lnTo>
                    <a:pt x="553" y="623"/>
                  </a:lnTo>
                  <a:lnTo>
                    <a:pt x="546" y="605"/>
                  </a:lnTo>
                  <a:lnTo>
                    <a:pt x="562" y="596"/>
                  </a:lnTo>
                  <a:lnTo>
                    <a:pt x="579" y="589"/>
                  </a:lnTo>
                  <a:lnTo>
                    <a:pt x="575" y="567"/>
                  </a:lnTo>
                  <a:lnTo>
                    <a:pt x="585" y="566"/>
                  </a:lnTo>
                  <a:lnTo>
                    <a:pt x="604" y="571"/>
                  </a:lnTo>
                  <a:lnTo>
                    <a:pt x="640" y="574"/>
                  </a:lnTo>
                  <a:lnTo>
                    <a:pt x="661" y="569"/>
                  </a:lnTo>
                  <a:lnTo>
                    <a:pt x="689" y="564"/>
                  </a:lnTo>
                  <a:lnTo>
                    <a:pt x="701" y="575"/>
                  </a:lnTo>
                  <a:lnTo>
                    <a:pt x="703" y="587"/>
                  </a:lnTo>
                  <a:lnTo>
                    <a:pt x="718" y="589"/>
                  </a:lnTo>
                  <a:lnTo>
                    <a:pt x="741" y="580"/>
                  </a:lnTo>
                  <a:lnTo>
                    <a:pt x="759" y="580"/>
                  </a:lnTo>
                  <a:lnTo>
                    <a:pt x="781" y="621"/>
                  </a:lnTo>
                  <a:lnTo>
                    <a:pt x="796" y="622"/>
                  </a:lnTo>
                  <a:lnTo>
                    <a:pt x="803" y="633"/>
                  </a:lnTo>
                  <a:lnTo>
                    <a:pt x="826" y="642"/>
                  </a:lnTo>
                  <a:lnTo>
                    <a:pt x="840" y="677"/>
                  </a:lnTo>
                  <a:lnTo>
                    <a:pt x="848" y="670"/>
                  </a:lnTo>
                  <a:lnTo>
                    <a:pt x="867" y="665"/>
                  </a:lnTo>
                  <a:lnTo>
                    <a:pt x="910" y="661"/>
                  </a:lnTo>
                  <a:lnTo>
                    <a:pt x="914" y="667"/>
                  </a:lnTo>
                  <a:lnTo>
                    <a:pt x="930" y="670"/>
                  </a:lnTo>
                  <a:lnTo>
                    <a:pt x="936" y="676"/>
                  </a:lnTo>
                  <a:lnTo>
                    <a:pt x="965" y="673"/>
                  </a:lnTo>
                  <a:lnTo>
                    <a:pt x="958" y="656"/>
                  </a:lnTo>
                  <a:lnTo>
                    <a:pt x="953" y="648"/>
                  </a:lnTo>
                  <a:lnTo>
                    <a:pt x="965" y="647"/>
                  </a:lnTo>
                  <a:lnTo>
                    <a:pt x="965" y="623"/>
                  </a:lnTo>
                  <a:lnTo>
                    <a:pt x="965" y="596"/>
                  </a:lnTo>
                  <a:lnTo>
                    <a:pt x="992" y="607"/>
                  </a:lnTo>
                  <a:lnTo>
                    <a:pt x="1009" y="607"/>
                  </a:lnTo>
                  <a:lnTo>
                    <a:pt x="1022" y="621"/>
                  </a:lnTo>
                  <a:lnTo>
                    <a:pt x="1028" y="634"/>
                  </a:lnTo>
                  <a:lnTo>
                    <a:pt x="1049" y="634"/>
                  </a:lnTo>
                  <a:lnTo>
                    <a:pt x="1081" y="635"/>
                  </a:lnTo>
                  <a:lnTo>
                    <a:pt x="1098" y="645"/>
                  </a:lnTo>
                  <a:lnTo>
                    <a:pt x="1112" y="649"/>
                  </a:lnTo>
                  <a:lnTo>
                    <a:pt x="1115" y="661"/>
                  </a:lnTo>
                  <a:lnTo>
                    <a:pt x="1153" y="655"/>
                  </a:lnTo>
                  <a:lnTo>
                    <a:pt x="1159" y="645"/>
                  </a:lnTo>
                  <a:lnTo>
                    <a:pt x="1172" y="653"/>
                  </a:lnTo>
                  <a:lnTo>
                    <a:pt x="1189" y="638"/>
                  </a:lnTo>
                  <a:lnTo>
                    <a:pt x="1203" y="637"/>
                  </a:lnTo>
                  <a:lnTo>
                    <a:pt x="1215" y="644"/>
                  </a:lnTo>
                  <a:lnTo>
                    <a:pt x="1226" y="655"/>
                  </a:lnTo>
                  <a:lnTo>
                    <a:pt x="1246" y="655"/>
                  </a:lnTo>
                  <a:lnTo>
                    <a:pt x="1249" y="628"/>
                  </a:lnTo>
                  <a:lnTo>
                    <a:pt x="1260" y="618"/>
                  </a:lnTo>
                  <a:lnTo>
                    <a:pt x="1251" y="593"/>
                  </a:lnTo>
                  <a:lnTo>
                    <a:pt x="1259" y="578"/>
                  </a:lnTo>
                  <a:lnTo>
                    <a:pt x="1320" y="579"/>
                  </a:lnTo>
                  <a:lnTo>
                    <a:pt x="1334" y="595"/>
                  </a:lnTo>
                  <a:lnTo>
                    <a:pt x="1348" y="607"/>
                  </a:lnTo>
                  <a:lnTo>
                    <a:pt x="1359" y="621"/>
                  </a:lnTo>
                  <a:lnTo>
                    <a:pt x="1362" y="638"/>
                  </a:lnTo>
                  <a:lnTo>
                    <a:pt x="1373" y="651"/>
                  </a:lnTo>
                  <a:lnTo>
                    <a:pt x="1398" y="656"/>
                  </a:lnTo>
                  <a:lnTo>
                    <a:pt x="1409" y="667"/>
                  </a:lnTo>
                  <a:lnTo>
                    <a:pt x="1421" y="675"/>
                  </a:lnTo>
                  <a:lnTo>
                    <a:pt x="1427" y="684"/>
                  </a:lnTo>
                  <a:lnTo>
                    <a:pt x="1442" y="685"/>
                  </a:lnTo>
                  <a:lnTo>
                    <a:pt x="1467" y="681"/>
                  </a:lnTo>
                  <a:lnTo>
                    <a:pt x="1472" y="688"/>
                  </a:lnTo>
                  <a:lnTo>
                    <a:pt x="1475" y="701"/>
                  </a:lnTo>
                  <a:lnTo>
                    <a:pt x="1464" y="708"/>
                  </a:lnTo>
                  <a:lnTo>
                    <a:pt x="1463" y="744"/>
                  </a:lnTo>
                  <a:lnTo>
                    <a:pt x="1449" y="742"/>
                  </a:lnTo>
                  <a:lnTo>
                    <a:pt x="1442" y="757"/>
                  </a:lnTo>
                  <a:lnTo>
                    <a:pt x="1442" y="773"/>
                  </a:lnTo>
                  <a:lnTo>
                    <a:pt x="1457" y="776"/>
                  </a:lnTo>
                  <a:lnTo>
                    <a:pt x="1475" y="782"/>
                  </a:lnTo>
                  <a:lnTo>
                    <a:pt x="1498" y="764"/>
                  </a:lnTo>
                  <a:lnTo>
                    <a:pt x="1516" y="735"/>
                  </a:lnTo>
                  <a:lnTo>
                    <a:pt x="1531" y="701"/>
                  </a:lnTo>
                  <a:lnTo>
                    <a:pt x="1544" y="667"/>
                  </a:lnTo>
                  <a:lnTo>
                    <a:pt x="1537" y="634"/>
                  </a:lnTo>
                  <a:lnTo>
                    <a:pt x="1542" y="624"/>
                  </a:lnTo>
                  <a:lnTo>
                    <a:pt x="1538" y="588"/>
                  </a:lnTo>
                  <a:lnTo>
                    <a:pt x="1523" y="566"/>
                  </a:lnTo>
                  <a:lnTo>
                    <a:pt x="1499" y="558"/>
                  </a:lnTo>
                  <a:lnTo>
                    <a:pt x="1492" y="572"/>
                  </a:lnTo>
                  <a:lnTo>
                    <a:pt x="1482" y="573"/>
                  </a:lnTo>
                  <a:lnTo>
                    <a:pt x="1480" y="560"/>
                  </a:lnTo>
                  <a:lnTo>
                    <a:pt x="1457" y="548"/>
                  </a:lnTo>
                  <a:lnTo>
                    <a:pt x="1453" y="537"/>
                  </a:lnTo>
                  <a:lnTo>
                    <a:pt x="1467" y="523"/>
                  </a:lnTo>
                  <a:lnTo>
                    <a:pt x="1483" y="497"/>
                  </a:lnTo>
                  <a:lnTo>
                    <a:pt x="1492" y="478"/>
                  </a:lnTo>
                  <a:lnTo>
                    <a:pt x="1503" y="461"/>
                  </a:lnTo>
                  <a:lnTo>
                    <a:pt x="1537" y="452"/>
                  </a:lnTo>
                  <a:lnTo>
                    <a:pt x="1564" y="450"/>
                  </a:lnTo>
                  <a:lnTo>
                    <a:pt x="1602" y="454"/>
                  </a:lnTo>
                  <a:lnTo>
                    <a:pt x="1610" y="439"/>
                  </a:lnTo>
                  <a:lnTo>
                    <a:pt x="1637" y="446"/>
                  </a:lnTo>
                  <a:lnTo>
                    <a:pt x="1637" y="455"/>
                  </a:lnTo>
                  <a:lnTo>
                    <a:pt x="1675" y="450"/>
                  </a:lnTo>
                  <a:lnTo>
                    <a:pt x="1677" y="432"/>
                  </a:lnTo>
                  <a:lnTo>
                    <a:pt x="1683" y="408"/>
                  </a:lnTo>
                  <a:lnTo>
                    <a:pt x="1691" y="394"/>
                  </a:lnTo>
                  <a:lnTo>
                    <a:pt x="1728" y="394"/>
                  </a:lnTo>
                  <a:lnTo>
                    <a:pt x="1741" y="410"/>
                  </a:lnTo>
                  <a:lnTo>
                    <a:pt x="1749" y="413"/>
                  </a:lnTo>
                  <a:lnTo>
                    <a:pt x="1762" y="391"/>
                  </a:lnTo>
                  <a:lnTo>
                    <a:pt x="1771" y="387"/>
                  </a:lnTo>
                  <a:lnTo>
                    <a:pt x="1781" y="405"/>
                  </a:lnTo>
                  <a:lnTo>
                    <a:pt x="1773" y="421"/>
                  </a:lnTo>
                  <a:lnTo>
                    <a:pt x="1753" y="437"/>
                  </a:lnTo>
                  <a:lnTo>
                    <a:pt x="1736" y="463"/>
                  </a:lnTo>
                  <a:lnTo>
                    <a:pt x="1720" y="483"/>
                  </a:lnTo>
                  <a:lnTo>
                    <a:pt x="1718" y="512"/>
                  </a:lnTo>
                  <a:lnTo>
                    <a:pt x="1722" y="543"/>
                  </a:lnTo>
                  <a:lnTo>
                    <a:pt x="1734" y="564"/>
                  </a:lnTo>
                  <a:lnTo>
                    <a:pt x="1741" y="589"/>
                  </a:lnTo>
                  <a:lnTo>
                    <a:pt x="1751" y="604"/>
                  </a:lnTo>
                  <a:lnTo>
                    <a:pt x="1763" y="612"/>
                  </a:lnTo>
                  <a:lnTo>
                    <a:pt x="1777" y="589"/>
                  </a:lnTo>
                  <a:lnTo>
                    <a:pt x="1791" y="561"/>
                  </a:lnTo>
                  <a:lnTo>
                    <a:pt x="1791" y="545"/>
                  </a:lnTo>
                  <a:lnTo>
                    <a:pt x="1805" y="545"/>
                  </a:lnTo>
                  <a:lnTo>
                    <a:pt x="1803" y="526"/>
                  </a:lnTo>
                  <a:lnTo>
                    <a:pt x="1805" y="511"/>
                  </a:lnTo>
                  <a:lnTo>
                    <a:pt x="1814" y="509"/>
                  </a:lnTo>
                  <a:lnTo>
                    <a:pt x="1808" y="498"/>
                  </a:lnTo>
                  <a:lnTo>
                    <a:pt x="1792" y="480"/>
                  </a:lnTo>
                  <a:lnTo>
                    <a:pt x="1790" y="480"/>
                  </a:lnTo>
                  <a:lnTo>
                    <a:pt x="1789" y="480"/>
                  </a:lnTo>
                  <a:lnTo>
                    <a:pt x="1788" y="480"/>
                  </a:lnTo>
                  <a:lnTo>
                    <a:pt x="1787" y="479"/>
                  </a:lnTo>
                  <a:lnTo>
                    <a:pt x="1786" y="478"/>
                  </a:lnTo>
                  <a:lnTo>
                    <a:pt x="1785" y="478"/>
                  </a:lnTo>
                  <a:lnTo>
                    <a:pt x="1785" y="477"/>
                  </a:lnTo>
                  <a:lnTo>
                    <a:pt x="1783" y="476"/>
                  </a:lnTo>
                  <a:lnTo>
                    <a:pt x="1783" y="475"/>
                  </a:lnTo>
                  <a:lnTo>
                    <a:pt x="1783" y="472"/>
                  </a:lnTo>
                  <a:lnTo>
                    <a:pt x="1783" y="469"/>
                  </a:lnTo>
                  <a:lnTo>
                    <a:pt x="1784" y="467"/>
                  </a:lnTo>
                  <a:lnTo>
                    <a:pt x="1784" y="465"/>
                  </a:lnTo>
                  <a:lnTo>
                    <a:pt x="1785" y="462"/>
                  </a:lnTo>
                  <a:lnTo>
                    <a:pt x="1785" y="460"/>
                  </a:lnTo>
                  <a:lnTo>
                    <a:pt x="1786" y="458"/>
                  </a:lnTo>
                  <a:lnTo>
                    <a:pt x="1787" y="455"/>
                  </a:lnTo>
                  <a:lnTo>
                    <a:pt x="1787" y="454"/>
                  </a:lnTo>
                  <a:lnTo>
                    <a:pt x="1787" y="452"/>
                  </a:lnTo>
                  <a:lnTo>
                    <a:pt x="1787" y="451"/>
                  </a:lnTo>
                  <a:lnTo>
                    <a:pt x="1788" y="450"/>
                  </a:lnTo>
                  <a:lnTo>
                    <a:pt x="1797" y="439"/>
                  </a:lnTo>
                  <a:lnTo>
                    <a:pt x="1820" y="428"/>
                  </a:lnTo>
                  <a:lnTo>
                    <a:pt x="1832" y="419"/>
                  </a:lnTo>
                  <a:lnTo>
                    <a:pt x="1851" y="416"/>
                  </a:lnTo>
                  <a:lnTo>
                    <a:pt x="1862" y="419"/>
                  </a:lnTo>
                  <a:lnTo>
                    <a:pt x="1872" y="432"/>
                  </a:lnTo>
                  <a:lnTo>
                    <a:pt x="1880" y="438"/>
                  </a:lnTo>
                  <a:lnTo>
                    <a:pt x="1887" y="412"/>
                  </a:lnTo>
                  <a:lnTo>
                    <a:pt x="1895" y="405"/>
                  </a:lnTo>
                  <a:lnTo>
                    <a:pt x="1898" y="391"/>
                  </a:lnTo>
                  <a:lnTo>
                    <a:pt x="1918" y="392"/>
                  </a:lnTo>
                  <a:lnTo>
                    <a:pt x="1937" y="378"/>
                  </a:lnTo>
                  <a:lnTo>
                    <a:pt x="1948" y="376"/>
                  </a:lnTo>
                  <a:lnTo>
                    <a:pt x="1969" y="384"/>
                  </a:lnTo>
                  <a:lnTo>
                    <a:pt x="1974" y="373"/>
                  </a:lnTo>
                  <a:lnTo>
                    <a:pt x="1955" y="349"/>
                  </a:lnTo>
                  <a:lnTo>
                    <a:pt x="1929" y="332"/>
                  </a:lnTo>
                  <a:lnTo>
                    <a:pt x="1939" y="323"/>
                  </a:lnTo>
                  <a:lnTo>
                    <a:pt x="1957" y="311"/>
                  </a:lnTo>
                  <a:lnTo>
                    <a:pt x="1950" y="302"/>
                  </a:lnTo>
                  <a:lnTo>
                    <a:pt x="1950" y="286"/>
                  </a:lnTo>
                  <a:lnTo>
                    <a:pt x="1967" y="281"/>
                  </a:lnTo>
                  <a:lnTo>
                    <a:pt x="1973" y="298"/>
                  </a:lnTo>
                  <a:lnTo>
                    <a:pt x="1978" y="311"/>
                  </a:lnTo>
                  <a:lnTo>
                    <a:pt x="2005" y="313"/>
                  </a:lnTo>
                  <a:lnTo>
                    <a:pt x="2016" y="325"/>
                  </a:lnTo>
                  <a:lnTo>
                    <a:pt x="2035" y="326"/>
                  </a:lnTo>
                  <a:lnTo>
                    <a:pt x="2046" y="341"/>
                  </a:lnTo>
                  <a:lnTo>
                    <a:pt x="2055" y="344"/>
                  </a:lnTo>
                  <a:lnTo>
                    <a:pt x="2068" y="332"/>
                  </a:lnTo>
                  <a:lnTo>
                    <a:pt x="2055" y="317"/>
                  </a:lnTo>
                  <a:lnTo>
                    <a:pt x="2059" y="305"/>
                  </a:lnTo>
                  <a:lnTo>
                    <a:pt x="2070" y="305"/>
                  </a:lnTo>
                  <a:lnTo>
                    <a:pt x="2081" y="300"/>
                  </a:lnTo>
                  <a:lnTo>
                    <a:pt x="2084" y="282"/>
                  </a:lnTo>
                  <a:lnTo>
                    <a:pt x="2057" y="282"/>
                  </a:lnTo>
                  <a:lnTo>
                    <a:pt x="2041" y="271"/>
                  </a:lnTo>
                  <a:lnTo>
                    <a:pt x="2018" y="275"/>
                  </a:lnTo>
                  <a:lnTo>
                    <a:pt x="2012" y="284"/>
                  </a:lnTo>
                  <a:lnTo>
                    <a:pt x="2003" y="268"/>
                  </a:lnTo>
                  <a:lnTo>
                    <a:pt x="1997" y="260"/>
                  </a:lnTo>
                  <a:lnTo>
                    <a:pt x="1976" y="254"/>
                  </a:lnTo>
                  <a:lnTo>
                    <a:pt x="1973" y="242"/>
                  </a:lnTo>
                  <a:lnTo>
                    <a:pt x="1944" y="242"/>
                  </a:lnTo>
                  <a:lnTo>
                    <a:pt x="1931" y="227"/>
                  </a:lnTo>
                  <a:lnTo>
                    <a:pt x="1912" y="216"/>
                  </a:lnTo>
                  <a:lnTo>
                    <a:pt x="1894" y="215"/>
                  </a:lnTo>
                  <a:lnTo>
                    <a:pt x="1874" y="207"/>
                  </a:lnTo>
                  <a:lnTo>
                    <a:pt x="1865" y="201"/>
                  </a:lnTo>
                  <a:lnTo>
                    <a:pt x="1846" y="194"/>
                  </a:lnTo>
                  <a:lnTo>
                    <a:pt x="1819" y="194"/>
                  </a:lnTo>
                  <a:lnTo>
                    <a:pt x="1787" y="191"/>
                  </a:lnTo>
                  <a:lnTo>
                    <a:pt x="1783" y="210"/>
                  </a:lnTo>
                  <a:lnTo>
                    <a:pt x="1768" y="213"/>
                  </a:lnTo>
                  <a:lnTo>
                    <a:pt x="1759" y="204"/>
                  </a:lnTo>
                  <a:lnTo>
                    <a:pt x="1743" y="207"/>
                  </a:lnTo>
                  <a:lnTo>
                    <a:pt x="1722" y="199"/>
                  </a:lnTo>
                  <a:lnTo>
                    <a:pt x="1687" y="204"/>
                  </a:lnTo>
                  <a:lnTo>
                    <a:pt x="1679" y="216"/>
                  </a:lnTo>
                  <a:lnTo>
                    <a:pt x="1667" y="212"/>
                  </a:lnTo>
                  <a:lnTo>
                    <a:pt x="1650" y="198"/>
                  </a:lnTo>
                  <a:lnTo>
                    <a:pt x="1634" y="181"/>
                  </a:lnTo>
                  <a:lnTo>
                    <a:pt x="1594" y="172"/>
                  </a:lnTo>
                  <a:lnTo>
                    <a:pt x="1581" y="176"/>
                  </a:lnTo>
                  <a:lnTo>
                    <a:pt x="1571" y="180"/>
                  </a:lnTo>
                  <a:lnTo>
                    <a:pt x="1549" y="176"/>
                  </a:lnTo>
                  <a:lnTo>
                    <a:pt x="1522" y="162"/>
                  </a:lnTo>
                  <a:lnTo>
                    <a:pt x="1504" y="154"/>
                  </a:lnTo>
                  <a:lnTo>
                    <a:pt x="1501" y="146"/>
                  </a:lnTo>
                  <a:lnTo>
                    <a:pt x="1458" y="146"/>
                  </a:lnTo>
                  <a:lnTo>
                    <a:pt x="1446" y="151"/>
                  </a:lnTo>
                  <a:lnTo>
                    <a:pt x="1433" y="136"/>
                  </a:lnTo>
                  <a:lnTo>
                    <a:pt x="1409" y="136"/>
                  </a:lnTo>
                  <a:lnTo>
                    <a:pt x="1399" y="123"/>
                  </a:lnTo>
                  <a:lnTo>
                    <a:pt x="1386" y="131"/>
                  </a:lnTo>
                  <a:lnTo>
                    <a:pt x="1373" y="140"/>
                  </a:lnTo>
                  <a:lnTo>
                    <a:pt x="1381" y="159"/>
                  </a:lnTo>
                  <a:lnTo>
                    <a:pt x="1363" y="163"/>
                  </a:lnTo>
                  <a:lnTo>
                    <a:pt x="1341" y="159"/>
                  </a:lnTo>
                  <a:lnTo>
                    <a:pt x="1323" y="158"/>
                  </a:lnTo>
                  <a:lnTo>
                    <a:pt x="1312" y="165"/>
                  </a:lnTo>
                  <a:lnTo>
                    <a:pt x="1296" y="157"/>
                  </a:lnTo>
                  <a:lnTo>
                    <a:pt x="1287" y="147"/>
                  </a:lnTo>
                  <a:lnTo>
                    <a:pt x="1285" y="163"/>
                  </a:lnTo>
                  <a:lnTo>
                    <a:pt x="1262" y="165"/>
                  </a:lnTo>
                  <a:lnTo>
                    <a:pt x="1233" y="156"/>
                  </a:lnTo>
                  <a:lnTo>
                    <a:pt x="1215" y="149"/>
                  </a:lnTo>
                  <a:lnTo>
                    <a:pt x="1220" y="140"/>
                  </a:lnTo>
                  <a:lnTo>
                    <a:pt x="1233" y="136"/>
                  </a:lnTo>
                  <a:lnTo>
                    <a:pt x="1223" y="116"/>
                  </a:lnTo>
                  <a:lnTo>
                    <a:pt x="1199" y="107"/>
                  </a:lnTo>
                  <a:lnTo>
                    <a:pt x="1168" y="109"/>
                  </a:lnTo>
                  <a:lnTo>
                    <a:pt x="1159" y="133"/>
                  </a:lnTo>
                  <a:lnTo>
                    <a:pt x="1134" y="125"/>
                  </a:lnTo>
                  <a:lnTo>
                    <a:pt x="1113" y="115"/>
                  </a:lnTo>
                  <a:lnTo>
                    <a:pt x="1081" y="107"/>
                  </a:lnTo>
                  <a:lnTo>
                    <a:pt x="1020" y="107"/>
                  </a:lnTo>
                  <a:lnTo>
                    <a:pt x="999" y="107"/>
                  </a:lnTo>
                  <a:lnTo>
                    <a:pt x="978" y="116"/>
                  </a:lnTo>
                  <a:lnTo>
                    <a:pt x="948" y="126"/>
                  </a:lnTo>
                  <a:lnTo>
                    <a:pt x="964" y="109"/>
                  </a:lnTo>
                  <a:lnTo>
                    <a:pt x="993" y="93"/>
                  </a:lnTo>
                  <a:lnTo>
                    <a:pt x="1005" y="87"/>
                  </a:lnTo>
                  <a:lnTo>
                    <a:pt x="1020" y="72"/>
                  </a:lnTo>
                  <a:lnTo>
                    <a:pt x="1024" y="51"/>
                  </a:lnTo>
                  <a:lnTo>
                    <a:pt x="1003" y="42"/>
                  </a:lnTo>
                  <a:lnTo>
                    <a:pt x="994" y="29"/>
                  </a:lnTo>
                  <a:lnTo>
                    <a:pt x="947" y="25"/>
                  </a:lnTo>
                  <a:lnTo>
                    <a:pt x="938" y="35"/>
                  </a:lnTo>
                  <a:lnTo>
                    <a:pt x="922" y="27"/>
                  </a:lnTo>
                  <a:lnTo>
                    <a:pt x="916" y="15"/>
                  </a:lnTo>
                  <a:lnTo>
                    <a:pt x="903" y="6"/>
                  </a:lnTo>
                  <a:lnTo>
                    <a:pt x="892" y="0"/>
                  </a:lnTo>
                  <a:lnTo>
                    <a:pt x="869" y="9"/>
                  </a:lnTo>
                  <a:lnTo>
                    <a:pt x="863" y="29"/>
                  </a:lnTo>
                  <a:lnTo>
                    <a:pt x="859" y="36"/>
                  </a:lnTo>
                  <a:lnTo>
                    <a:pt x="870" y="40"/>
                  </a:lnTo>
                  <a:lnTo>
                    <a:pt x="853" y="48"/>
                  </a:lnTo>
                  <a:lnTo>
                    <a:pt x="829" y="43"/>
                  </a:lnTo>
                  <a:lnTo>
                    <a:pt x="814" y="46"/>
                  </a:lnTo>
                  <a:lnTo>
                    <a:pt x="806" y="53"/>
                  </a:lnTo>
                  <a:lnTo>
                    <a:pt x="796" y="41"/>
                  </a:lnTo>
                  <a:lnTo>
                    <a:pt x="781" y="47"/>
                  </a:lnTo>
                  <a:lnTo>
                    <a:pt x="770" y="43"/>
                  </a:lnTo>
                  <a:lnTo>
                    <a:pt x="769" y="55"/>
                  </a:lnTo>
                  <a:lnTo>
                    <a:pt x="743" y="57"/>
                  </a:lnTo>
                  <a:lnTo>
                    <a:pt x="721" y="59"/>
                  </a:lnTo>
                  <a:lnTo>
                    <a:pt x="706" y="69"/>
                  </a:lnTo>
                  <a:lnTo>
                    <a:pt x="689" y="75"/>
                  </a:lnTo>
                  <a:lnTo>
                    <a:pt x="689" y="87"/>
                  </a:lnTo>
                  <a:lnTo>
                    <a:pt x="702" y="91"/>
                  </a:lnTo>
                  <a:lnTo>
                    <a:pt x="706" y="107"/>
                  </a:lnTo>
                  <a:lnTo>
                    <a:pt x="683" y="104"/>
                  </a:lnTo>
                  <a:lnTo>
                    <a:pt x="654" y="106"/>
                  </a:lnTo>
                  <a:lnTo>
                    <a:pt x="638" y="112"/>
                  </a:lnTo>
                  <a:lnTo>
                    <a:pt x="634" y="129"/>
                  </a:lnTo>
                  <a:lnTo>
                    <a:pt x="642" y="142"/>
                  </a:lnTo>
                  <a:lnTo>
                    <a:pt x="654" y="143"/>
                  </a:lnTo>
                  <a:lnTo>
                    <a:pt x="664" y="156"/>
                  </a:lnTo>
                  <a:lnTo>
                    <a:pt x="674" y="172"/>
                  </a:lnTo>
                  <a:lnTo>
                    <a:pt x="672" y="184"/>
                  </a:lnTo>
                  <a:lnTo>
                    <a:pt x="651" y="163"/>
                  </a:lnTo>
                  <a:lnTo>
                    <a:pt x="630" y="157"/>
                  </a:lnTo>
                  <a:lnTo>
                    <a:pt x="620" y="143"/>
                  </a:lnTo>
                  <a:lnTo>
                    <a:pt x="607" y="144"/>
                  </a:lnTo>
                  <a:lnTo>
                    <a:pt x="601" y="161"/>
                  </a:lnTo>
                  <a:lnTo>
                    <a:pt x="607" y="170"/>
                  </a:lnTo>
                  <a:lnTo>
                    <a:pt x="609" y="178"/>
                  </a:lnTo>
                  <a:lnTo>
                    <a:pt x="591" y="172"/>
                  </a:lnTo>
                  <a:lnTo>
                    <a:pt x="573" y="157"/>
                  </a:lnTo>
                  <a:lnTo>
                    <a:pt x="571" y="138"/>
                  </a:lnTo>
                  <a:lnTo>
                    <a:pt x="564" y="127"/>
                  </a:lnTo>
                  <a:lnTo>
                    <a:pt x="554" y="137"/>
                  </a:lnTo>
                  <a:lnTo>
                    <a:pt x="557" y="152"/>
                  </a:lnTo>
                  <a:lnTo>
                    <a:pt x="554" y="162"/>
                  </a:lnTo>
                  <a:lnTo>
                    <a:pt x="557" y="172"/>
                  </a:lnTo>
                  <a:lnTo>
                    <a:pt x="564" y="175"/>
                  </a:lnTo>
                  <a:lnTo>
                    <a:pt x="567" y="202"/>
                  </a:lnTo>
                  <a:lnTo>
                    <a:pt x="570" y="216"/>
                  </a:lnTo>
                  <a:lnTo>
                    <a:pt x="588" y="218"/>
                  </a:lnTo>
                  <a:lnTo>
                    <a:pt x="591" y="210"/>
                  </a:lnTo>
                  <a:lnTo>
                    <a:pt x="605" y="216"/>
                  </a:lnTo>
                  <a:lnTo>
                    <a:pt x="614" y="220"/>
                  </a:lnTo>
                  <a:lnTo>
                    <a:pt x="620" y="228"/>
                  </a:lnTo>
                  <a:lnTo>
                    <a:pt x="623" y="242"/>
                  </a:lnTo>
                  <a:lnTo>
                    <a:pt x="631" y="249"/>
                  </a:lnTo>
                  <a:lnTo>
                    <a:pt x="640" y="253"/>
                  </a:lnTo>
                  <a:lnTo>
                    <a:pt x="640" y="264"/>
                  </a:lnTo>
                  <a:lnTo>
                    <a:pt x="627" y="256"/>
                  </a:lnTo>
                  <a:lnTo>
                    <a:pt x="617" y="244"/>
                  </a:lnTo>
                  <a:lnTo>
                    <a:pt x="602" y="233"/>
                  </a:lnTo>
                  <a:lnTo>
                    <a:pt x="586" y="233"/>
                  </a:lnTo>
                  <a:lnTo>
                    <a:pt x="585" y="238"/>
                  </a:lnTo>
                  <a:lnTo>
                    <a:pt x="582" y="249"/>
                  </a:lnTo>
                  <a:lnTo>
                    <a:pt x="575" y="265"/>
                  </a:lnTo>
                  <a:lnTo>
                    <a:pt x="564" y="284"/>
                  </a:lnTo>
                  <a:lnTo>
                    <a:pt x="548" y="291"/>
                  </a:lnTo>
                  <a:lnTo>
                    <a:pt x="525" y="283"/>
                  </a:lnTo>
                  <a:lnTo>
                    <a:pt x="528" y="275"/>
                  </a:lnTo>
                  <a:lnTo>
                    <a:pt x="543" y="270"/>
                  </a:lnTo>
                  <a:lnTo>
                    <a:pt x="557" y="262"/>
                  </a:lnTo>
                  <a:lnTo>
                    <a:pt x="557" y="261"/>
                  </a:lnTo>
                  <a:lnTo>
                    <a:pt x="558" y="260"/>
                  </a:lnTo>
                  <a:lnTo>
                    <a:pt x="559" y="258"/>
                  </a:lnTo>
                  <a:lnTo>
                    <a:pt x="559" y="256"/>
                  </a:lnTo>
                  <a:lnTo>
                    <a:pt x="560" y="254"/>
                  </a:lnTo>
                  <a:lnTo>
                    <a:pt x="561" y="253"/>
                  </a:lnTo>
                  <a:lnTo>
                    <a:pt x="561" y="250"/>
                  </a:lnTo>
                  <a:lnTo>
                    <a:pt x="561" y="249"/>
                  </a:lnTo>
                  <a:lnTo>
                    <a:pt x="561" y="247"/>
                  </a:lnTo>
                  <a:lnTo>
                    <a:pt x="562" y="246"/>
                  </a:lnTo>
                  <a:lnTo>
                    <a:pt x="561" y="244"/>
                  </a:lnTo>
                  <a:lnTo>
                    <a:pt x="561" y="243"/>
                  </a:lnTo>
                  <a:lnTo>
                    <a:pt x="561" y="241"/>
                  </a:lnTo>
                  <a:lnTo>
                    <a:pt x="560" y="238"/>
                  </a:lnTo>
                  <a:lnTo>
                    <a:pt x="559" y="235"/>
                  </a:lnTo>
                  <a:lnTo>
                    <a:pt x="558" y="233"/>
                  </a:lnTo>
                  <a:lnTo>
                    <a:pt x="557" y="231"/>
                  </a:lnTo>
                  <a:lnTo>
                    <a:pt x="556" y="228"/>
                  </a:lnTo>
                  <a:lnTo>
                    <a:pt x="555" y="227"/>
                  </a:lnTo>
                  <a:lnTo>
                    <a:pt x="554" y="225"/>
                  </a:lnTo>
                  <a:lnTo>
                    <a:pt x="554" y="224"/>
                  </a:lnTo>
                  <a:lnTo>
                    <a:pt x="550" y="209"/>
                  </a:lnTo>
                  <a:lnTo>
                    <a:pt x="550" y="198"/>
                  </a:lnTo>
                  <a:lnTo>
                    <a:pt x="545" y="184"/>
                  </a:lnTo>
                  <a:lnTo>
                    <a:pt x="541" y="167"/>
                  </a:lnTo>
                  <a:lnTo>
                    <a:pt x="535" y="142"/>
                  </a:lnTo>
                  <a:lnTo>
                    <a:pt x="530" y="123"/>
                  </a:lnTo>
                  <a:lnTo>
                    <a:pt x="517" y="109"/>
                  </a:lnTo>
                  <a:lnTo>
                    <a:pt x="498" y="110"/>
                  </a:lnTo>
                  <a:lnTo>
                    <a:pt x="488" y="135"/>
                  </a:lnTo>
                  <a:lnTo>
                    <a:pt x="485" y="159"/>
                  </a:lnTo>
                  <a:lnTo>
                    <a:pt x="469" y="170"/>
                  </a:lnTo>
                  <a:lnTo>
                    <a:pt x="470" y="186"/>
                  </a:lnTo>
                  <a:lnTo>
                    <a:pt x="480" y="201"/>
                  </a:lnTo>
                  <a:lnTo>
                    <a:pt x="491" y="216"/>
                  </a:lnTo>
                  <a:lnTo>
                    <a:pt x="499" y="228"/>
                  </a:lnTo>
                  <a:lnTo>
                    <a:pt x="503" y="239"/>
                  </a:lnTo>
                  <a:lnTo>
                    <a:pt x="490" y="244"/>
                  </a:lnTo>
                  <a:lnTo>
                    <a:pt x="476" y="226"/>
                  </a:lnTo>
                  <a:lnTo>
                    <a:pt x="452" y="212"/>
                  </a:lnTo>
                  <a:lnTo>
                    <a:pt x="424" y="204"/>
                  </a:lnTo>
                  <a:lnTo>
                    <a:pt x="399" y="204"/>
                  </a:lnTo>
                  <a:lnTo>
                    <a:pt x="393" y="213"/>
                  </a:lnTo>
                  <a:lnTo>
                    <a:pt x="401" y="218"/>
                  </a:lnTo>
                  <a:lnTo>
                    <a:pt x="399" y="237"/>
                  </a:lnTo>
                  <a:lnTo>
                    <a:pt x="387" y="241"/>
                  </a:lnTo>
                  <a:lnTo>
                    <a:pt x="384" y="224"/>
                  </a:lnTo>
                  <a:lnTo>
                    <a:pt x="373" y="224"/>
                  </a:lnTo>
                  <a:lnTo>
                    <a:pt x="364" y="236"/>
                  </a:lnTo>
                  <a:lnTo>
                    <a:pt x="333" y="236"/>
                  </a:lnTo>
                  <a:lnTo>
                    <a:pt x="322" y="249"/>
                  </a:lnTo>
                  <a:lnTo>
                    <a:pt x="314" y="233"/>
                  </a:lnTo>
                  <a:lnTo>
                    <a:pt x="303" y="236"/>
                  </a:lnTo>
                  <a:lnTo>
                    <a:pt x="287" y="243"/>
                  </a:lnTo>
                  <a:lnTo>
                    <a:pt x="270" y="249"/>
                  </a:lnTo>
                  <a:lnTo>
                    <a:pt x="251" y="267"/>
                  </a:lnTo>
                  <a:lnTo>
                    <a:pt x="230" y="277"/>
                  </a:lnTo>
                  <a:lnTo>
                    <a:pt x="223" y="264"/>
                  </a:lnTo>
                  <a:lnTo>
                    <a:pt x="223" y="252"/>
                  </a:lnTo>
                  <a:lnTo>
                    <a:pt x="208" y="237"/>
                  </a:lnTo>
                  <a:lnTo>
                    <a:pt x="187" y="239"/>
                  </a:lnTo>
                  <a:lnTo>
                    <a:pt x="192" y="252"/>
                  </a:lnTo>
                  <a:lnTo>
                    <a:pt x="197" y="267"/>
                  </a:lnTo>
                  <a:lnTo>
                    <a:pt x="203" y="281"/>
                  </a:lnTo>
                  <a:lnTo>
                    <a:pt x="204" y="298"/>
                  </a:lnTo>
                  <a:lnTo>
                    <a:pt x="190" y="291"/>
                  </a:lnTo>
                  <a:lnTo>
                    <a:pt x="175" y="288"/>
                  </a:lnTo>
                  <a:lnTo>
                    <a:pt x="166" y="298"/>
                  </a:lnTo>
                  <a:lnTo>
                    <a:pt x="147" y="304"/>
                  </a:lnTo>
                  <a:lnTo>
                    <a:pt x="146" y="316"/>
                  </a:lnTo>
                  <a:lnTo>
                    <a:pt x="157" y="322"/>
                  </a:lnTo>
                  <a:lnTo>
                    <a:pt x="153" y="338"/>
                  </a:lnTo>
                  <a:lnTo>
                    <a:pt x="138" y="338"/>
                  </a:lnTo>
                  <a:lnTo>
                    <a:pt x="138" y="322"/>
                  </a:lnTo>
                  <a:lnTo>
                    <a:pt x="124" y="316"/>
                  </a:lnTo>
                  <a:lnTo>
                    <a:pt x="109" y="322"/>
                  </a:lnTo>
                  <a:lnTo>
                    <a:pt x="111" y="334"/>
                  </a:lnTo>
                  <a:lnTo>
                    <a:pt x="121" y="338"/>
                  </a:lnTo>
                  <a:lnTo>
                    <a:pt x="125" y="344"/>
                  </a:lnTo>
                  <a:lnTo>
                    <a:pt x="117" y="352"/>
                  </a:lnTo>
                  <a:lnTo>
                    <a:pt x="102" y="341"/>
                  </a:lnTo>
                  <a:lnTo>
                    <a:pt x="91" y="326"/>
                  </a:lnTo>
                  <a:lnTo>
                    <a:pt x="83" y="311"/>
                  </a:lnTo>
                  <a:lnTo>
                    <a:pt x="80" y="289"/>
                  </a:lnTo>
                  <a:lnTo>
                    <a:pt x="74" y="281"/>
                  </a:lnTo>
                  <a:lnTo>
                    <a:pt x="90" y="286"/>
                  </a:lnTo>
                  <a:lnTo>
                    <a:pt x="115" y="293"/>
                  </a:lnTo>
                  <a:lnTo>
                    <a:pt x="138" y="287"/>
                  </a:lnTo>
                  <a:lnTo>
                    <a:pt x="149" y="277"/>
                  </a:lnTo>
                  <a:lnTo>
                    <a:pt x="155" y="265"/>
                  </a:lnTo>
                  <a:lnTo>
                    <a:pt x="130" y="247"/>
                  </a:lnTo>
                  <a:lnTo>
                    <a:pt x="100" y="233"/>
                  </a:lnTo>
                  <a:lnTo>
                    <a:pt x="69" y="216"/>
                  </a:lnTo>
                  <a:lnTo>
                    <a:pt x="53" y="209"/>
                  </a:lnTo>
                  <a:lnTo>
                    <a:pt x="36" y="220"/>
                  </a:lnTo>
                  <a:lnTo>
                    <a:pt x="20" y="237"/>
                  </a:lnTo>
                  <a:lnTo>
                    <a:pt x="14" y="252"/>
                  </a:lnTo>
                  <a:lnTo>
                    <a:pt x="14" y="267"/>
                  </a:lnTo>
                  <a:lnTo>
                    <a:pt x="19" y="288"/>
                  </a:lnTo>
                  <a:lnTo>
                    <a:pt x="20" y="311"/>
                  </a:lnTo>
                  <a:lnTo>
                    <a:pt x="26" y="332"/>
                  </a:lnTo>
                  <a:lnTo>
                    <a:pt x="34" y="354"/>
                  </a:lnTo>
                  <a:lnTo>
                    <a:pt x="42" y="363"/>
                  </a:lnTo>
                  <a:lnTo>
                    <a:pt x="52" y="371"/>
                  </a:lnTo>
                  <a:lnTo>
                    <a:pt x="41" y="381"/>
                  </a:lnTo>
                  <a:lnTo>
                    <a:pt x="25" y="397"/>
                  </a:lnTo>
                  <a:lnTo>
                    <a:pt x="12" y="414"/>
                  </a:lnTo>
                  <a:lnTo>
                    <a:pt x="8" y="427"/>
                  </a:lnTo>
                  <a:lnTo>
                    <a:pt x="9" y="444"/>
                  </a:lnTo>
                  <a:lnTo>
                    <a:pt x="0" y="447"/>
                  </a:lnTo>
                  <a:lnTo>
                    <a:pt x="16" y="470"/>
                  </a:lnTo>
                  <a:lnTo>
                    <a:pt x="39" y="490"/>
                  </a:lnTo>
                  <a:lnTo>
                    <a:pt x="78" y="506"/>
                  </a:lnTo>
                  <a:lnTo>
                    <a:pt x="81" y="557"/>
                  </a:lnTo>
                  <a:lnTo>
                    <a:pt x="75" y="564"/>
                  </a:lnTo>
                  <a:lnTo>
                    <a:pt x="69" y="584"/>
                  </a:lnTo>
                  <a:lnTo>
                    <a:pt x="106" y="582"/>
                  </a:lnTo>
                  <a:lnTo>
                    <a:pt x="114" y="604"/>
                  </a:lnTo>
                  <a:lnTo>
                    <a:pt x="171" y="651"/>
                  </a:lnTo>
                  <a:lnTo>
                    <a:pt x="163" y="695"/>
                  </a:lnTo>
                  <a:lnTo>
                    <a:pt x="169" y="702"/>
                  </a:lnTo>
                  <a:lnTo>
                    <a:pt x="155" y="717"/>
                  </a:lnTo>
                  <a:lnTo>
                    <a:pt x="142" y="729"/>
                  </a:lnTo>
                  <a:lnTo>
                    <a:pt x="138" y="740"/>
                  </a:lnTo>
                  <a:lnTo>
                    <a:pt x="157" y="749"/>
                  </a:lnTo>
                  <a:lnTo>
                    <a:pt x="168" y="761"/>
                  </a:lnTo>
                  <a:lnTo>
                    <a:pt x="199" y="743"/>
                  </a:lnTo>
                  <a:lnTo>
                    <a:pt x="217" y="752"/>
                  </a:lnTo>
                  <a:lnTo>
                    <a:pt x="229" y="752"/>
                  </a:lnTo>
                  <a:lnTo>
                    <a:pt x="242" y="764"/>
                  </a:lnTo>
                  <a:lnTo>
                    <a:pt x="256" y="780"/>
                  </a:lnTo>
                  <a:lnTo>
                    <a:pt x="285" y="773"/>
                  </a:lnTo>
                  <a:lnTo>
                    <a:pt x="277" y="753"/>
                  </a:lnTo>
                  <a:lnTo>
                    <a:pt x="285" y="740"/>
                  </a:lnTo>
                  <a:lnTo>
                    <a:pt x="304" y="72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0" name="Freeform 270">
              <a:extLst>
                <a:ext uri="{FF2B5EF4-FFF2-40B4-BE49-F238E27FC236}">
                  <a16:creationId xmlns:a16="http://schemas.microsoft.com/office/drawing/2014/main" xmlns="" id="{28E17B93-244C-4762-AAE9-AC76D7738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1503" y="2878353"/>
              <a:ext cx="136715" cy="78486"/>
            </a:xfrm>
            <a:custGeom>
              <a:avLst/>
              <a:gdLst>
                <a:gd name="T0" fmla="*/ 0 w 104"/>
                <a:gd name="T1" fmla="*/ 16 h 59"/>
                <a:gd name="T2" fmla="*/ 40 w 104"/>
                <a:gd name="T3" fmla="*/ 0 h 59"/>
                <a:gd name="T4" fmla="*/ 53 w 104"/>
                <a:gd name="T5" fmla="*/ 9 h 59"/>
                <a:gd name="T6" fmla="*/ 88 w 104"/>
                <a:gd name="T7" fmla="*/ 21 h 59"/>
                <a:gd name="T8" fmla="*/ 103 w 104"/>
                <a:gd name="T9" fmla="*/ 30 h 59"/>
                <a:gd name="T10" fmla="*/ 76 w 104"/>
                <a:gd name="T11" fmla="*/ 48 h 59"/>
                <a:gd name="T12" fmla="*/ 67 w 104"/>
                <a:gd name="T13" fmla="*/ 58 h 59"/>
                <a:gd name="T14" fmla="*/ 58 w 104"/>
                <a:gd name="T15" fmla="*/ 54 h 59"/>
                <a:gd name="T16" fmla="*/ 59 w 104"/>
                <a:gd name="T17" fmla="*/ 44 h 59"/>
                <a:gd name="T18" fmla="*/ 46 w 104"/>
                <a:gd name="T19" fmla="*/ 43 h 59"/>
                <a:gd name="T20" fmla="*/ 44 w 104"/>
                <a:gd name="T21" fmla="*/ 51 h 59"/>
                <a:gd name="T22" fmla="*/ 34 w 104"/>
                <a:gd name="T23" fmla="*/ 52 h 59"/>
                <a:gd name="T24" fmla="*/ 23 w 104"/>
                <a:gd name="T25" fmla="*/ 42 h 59"/>
                <a:gd name="T26" fmla="*/ 0 w 104"/>
                <a:gd name="T27" fmla="*/ 1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59">
                  <a:moveTo>
                    <a:pt x="0" y="16"/>
                  </a:moveTo>
                  <a:lnTo>
                    <a:pt x="40" y="0"/>
                  </a:lnTo>
                  <a:lnTo>
                    <a:pt x="53" y="9"/>
                  </a:lnTo>
                  <a:lnTo>
                    <a:pt x="88" y="21"/>
                  </a:lnTo>
                  <a:lnTo>
                    <a:pt x="103" y="30"/>
                  </a:lnTo>
                  <a:lnTo>
                    <a:pt x="76" y="48"/>
                  </a:lnTo>
                  <a:lnTo>
                    <a:pt x="67" y="58"/>
                  </a:lnTo>
                  <a:lnTo>
                    <a:pt x="58" y="54"/>
                  </a:lnTo>
                  <a:lnTo>
                    <a:pt x="59" y="44"/>
                  </a:lnTo>
                  <a:lnTo>
                    <a:pt x="46" y="43"/>
                  </a:lnTo>
                  <a:lnTo>
                    <a:pt x="44" y="51"/>
                  </a:lnTo>
                  <a:lnTo>
                    <a:pt x="34" y="52"/>
                  </a:lnTo>
                  <a:lnTo>
                    <a:pt x="23" y="42"/>
                  </a:lnTo>
                  <a:lnTo>
                    <a:pt x="0" y="1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1" name="Freeform 271">
              <a:extLst>
                <a:ext uri="{FF2B5EF4-FFF2-40B4-BE49-F238E27FC236}">
                  <a16:creationId xmlns:a16="http://schemas.microsoft.com/office/drawing/2014/main" xmlns="" id="{5019FC1D-B6B2-4E4B-B5E6-E413BCDA8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9476" y="2914029"/>
              <a:ext cx="114127" cy="55892"/>
            </a:xfrm>
            <a:custGeom>
              <a:avLst/>
              <a:gdLst>
                <a:gd name="T0" fmla="*/ 36 w 85"/>
                <a:gd name="T1" fmla="*/ 2 h 41"/>
                <a:gd name="T2" fmla="*/ 84 w 85"/>
                <a:gd name="T3" fmla="*/ 0 h 41"/>
                <a:gd name="T4" fmla="*/ 79 w 85"/>
                <a:gd name="T5" fmla="*/ 40 h 41"/>
                <a:gd name="T6" fmla="*/ 67 w 85"/>
                <a:gd name="T7" fmla="*/ 30 h 41"/>
                <a:gd name="T8" fmla="*/ 60 w 85"/>
                <a:gd name="T9" fmla="*/ 28 h 41"/>
                <a:gd name="T10" fmla="*/ 36 w 85"/>
                <a:gd name="T11" fmla="*/ 33 h 41"/>
                <a:gd name="T12" fmla="*/ 20 w 85"/>
                <a:gd name="T13" fmla="*/ 33 h 41"/>
                <a:gd name="T14" fmla="*/ 0 w 85"/>
                <a:gd name="T15" fmla="*/ 29 h 41"/>
                <a:gd name="T16" fmla="*/ 9 w 85"/>
                <a:gd name="T17" fmla="*/ 20 h 41"/>
                <a:gd name="T18" fmla="*/ 36 w 85"/>
                <a:gd name="T19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41">
                  <a:moveTo>
                    <a:pt x="36" y="2"/>
                  </a:moveTo>
                  <a:lnTo>
                    <a:pt x="84" y="0"/>
                  </a:lnTo>
                  <a:lnTo>
                    <a:pt x="79" y="40"/>
                  </a:lnTo>
                  <a:lnTo>
                    <a:pt x="67" y="30"/>
                  </a:lnTo>
                  <a:lnTo>
                    <a:pt x="60" y="28"/>
                  </a:lnTo>
                  <a:lnTo>
                    <a:pt x="36" y="33"/>
                  </a:lnTo>
                  <a:lnTo>
                    <a:pt x="20" y="33"/>
                  </a:lnTo>
                  <a:lnTo>
                    <a:pt x="0" y="29"/>
                  </a:lnTo>
                  <a:lnTo>
                    <a:pt x="9" y="20"/>
                  </a:lnTo>
                  <a:lnTo>
                    <a:pt x="36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2" name="Freeform 272">
              <a:extLst>
                <a:ext uri="{FF2B5EF4-FFF2-40B4-BE49-F238E27FC236}">
                  <a16:creationId xmlns:a16="http://schemas.microsoft.com/office/drawing/2014/main" xmlns="" id="{4CB7730C-70AC-4E8C-9860-CB4123E56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180" y="3354026"/>
              <a:ext cx="404201" cy="386484"/>
            </a:xfrm>
            <a:custGeom>
              <a:avLst/>
              <a:gdLst>
                <a:gd name="T0" fmla="*/ 159 w 304"/>
                <a:gd name="T1" fmla="*/ 72 h 290"/>
                <a:gd name="T2" fmla="*/ 169 w 304"/>
                <a:gd name="T3" fmla="*/ 64 h 290"/>
                <a:gd name="T4" fmla="*/ 189 w 304"/>
                <a:gd name="T5" fmla="*/ 65 h 290"/>
                <a:gd name="T6" fmla="*/ 205 w 304"/>
                <a:gd name="T7" fmla="*/ 83 h 290"/>
                <a:gd name="T8" fmla="*/ 226 w 304"/>
                <a:gd name="T9" fmla="*/ 103 h 290"/>
                <a:gd name="T10" fmla="*/ 227 w 304"/>
                <a:gd name="T11" fmla="*/ 121 h 290"/>
                <a:gd name="T12" fmla="*/ 235 w 304"/>
                <a:gd name="T13" fmla="*/ 128 h 290"/>
                <a:gd name="T14" fmla="*/ 247 w 304"/>
                <a:gd name="T15" fmla="*/ 161 h 290"/>
                <a:gd name="T16" fmla="*/ 290 w 304"/>
                <a:gd name="T17" fmla="*/ 164 h 290"/>
                <a:gd name="T18" fmla="*/ 303 w 304"/>
                <a:gd name="T19" fmla="*/ 182 h 290"/>
                <a:gd name="T20" fmla="*/ 294 w 304"/>
                <a:gd name="T21" fmla="*/ 222 h 290"/>
                <a:gd name="T22" fmla="*/ 252 w 304"/>
                <a:gd name="T23" fmla="*/ 230 h 290"/>
                <a:gd name="T24" fmla="*/ 209 w 304"/>
                <a:gd name="T25" fmla="*/ 237 h 290"/>
                <a:gd name="T26" fmla="*/ 197 w 304"/>
                <a:gd name="T27" fmla="*/ 253 h 290"/>
                <a:gd name="T28" fmla="*/ 192 w 304"/>
                <a:gd name="T29" fmla="*/ 274 h 290"/>
                <a:gd name="T30" fmla="*/ 172 w 304"/>
                <a:gd name="T31" fmla="*/ 289 h 290"/>
                <a:gd name="T32" fmla="*/ 172 w 304"/>
                <a:gd name="T33" fmla="*/ 276 h 290"/>
                <a:gd name="T34" fmla="*/ 172 w 304"/>
                <a:gd name="T35" fmla="*/ 266 h 290"/>
                <a:gd name="T36" fmla="*/ 166 w 304"/>
                <a:gd name="T37" fmla="*/ 264 h 290"/>
                <a:gd name="T38" fmla="*/ 149 w 304"/>
                <a:gd name="T39" fmla="*/ 263 h 290"/>
                <a:gd name="T40" fmla="*/ 132 w 304"/>
                <a:gd name="T41" fmla="*/ 264 h 290"/>
                <a:gd name="T42" fmla="*/ 121 w 304"/>
                <a:gd name="T43" fmla="*/ 270 h 290"/>
                <a:gd name="T44" fmla="*/ 105 w 304"/>
                <a:gd name="T45" fmla="*/ 252 h 290"/>
                <a:gd name="T46" fmla="*/ 100 w 304"/>
                <a:gd name="T47" fmla="*/ 234 h 290"/>
                <a:gd name="T48" fmla="*/ 91 w 304"/>
                <a:gd name="T49" fmla="*/ 219 h 290"/>
                <a:gd name="T50" fmla="*/ 72 w 304"/>
                <a:gd name="T51" fmla="*/ 197 h 290"/>
                <a:gd name="T52" fmla="*/ 65 w 304"/>
                <a:gd name="T53" fmla="*/ 181 h 290"/>
                <a:gd name="T54" fmla="*/ 54 w 304"/>
                <a:gd name="T55" fmla="*/ 149 h 290"/>
                <a:gd name="T56" fmla="*/ 38 w 304"/>
                <a:gd name="T57" fmla="*/ 123 h 290"/>
                <a:gd name="T58" fmla="*/ 18 w 304"/>
                <a:gd name="T59" fmla="*/ 104 h 290"/>
                <a:gd name="T60" fmla="*/ 15 w 304"/>
                <a:gd name="T61" fmla="*/ 81 h 290"/>
                <a:gd name="T62" fmla="*/ 3 w 304"/>
                <a:gd name="T63" fmla="*/ 74 h 290"/>
                <a:gd name="T64" fmla="*/ 0 w 304"/>
                <a:gd name="T65" fmla="*/ 58 h 290"/>
                <a:gd name="T66" fmla="*/ 18 w 304"/>
                <a:gd name="T67" fmla="*/ 58 h 290"/>
                <a:gd name="T68" fmla="*/ 31 w 304"/>
                <a:gd name="T69" fmla="*/ 46 h 290"/>
                <a:gd name="T70" fmla="*/ 43 w 304"/>
                <a:gd name="T71" fmla="*/ 36 h 290"/>
                <a:gd name="T72" fmla="*/ 43 w 304"/>
                <a:gd name="T73" fmla="*/ 15 h 290"/>
                <a:gd name="T74" fmla="*/ 59 w 304"/>
                <a:gd name="T75" fmla="*/ 2 h 290"/>
                <a:gd name="T76" fmla="*/ 65 w 304"/>
                <a:gd name="T77" fmla="*/ 0 h 290"/>
                <a:gd name="T78" fmla="*/ 74 w 304"/>
                <a:gd name="T79" fmla="*/ 8 h 290"/>
                <a:gd name="T80" fmla="*/ 84 w 304"/>
                <a:gd name="T81" fmla="*/ 15 h 290"/>
                <a:gd name="T82" fmla="*/ 100 w 304"/>
                <a:gd name="T83" fmla="*/ 14 h 290"/>
                <a:gd name="T84" fmla="*/ 110 w 304"/>
                <a:gd name="T85" fmla="*/ 31 h 290"/>
                <a:gd name="T86" fmla="*/ 121 w 304"/>
                <a:gd name="T87" fmla="*/ 34 h 290"/>
                <a:gd name="T88" fmla="*/ 134 w 304"/>
                <a:gd name="T89" fmla="*/ 57 h 290"/>
                <a:gd name="T90" fmla="*/ 159 w 304"/>
                <a:gd name="T91" fmla="*/ 7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" h="290">
                  <a:moveTo>
                    <a:pt x="159" y="72"/>
                  </a:moveTo>
                  <a:lnTo>
                    <a:pt x="169" y="64"/>
                  </a:lnTo>
                  <a:lnTo>
                    <a:pt x="189" y="65"/>
                  </a:lnTo>
                  <a:lnTo>
                    <a:pt x="205" y="83"/>
                  </a:lnTo>
                  <a:lnTo>
                    <a:pt x="226" y="103"/>
                  </a:lnTo>
                  <a:lnTo>
                    <a:pt x="227" y="121"/>
                  </a:lnTo>
                  <a:lnTo>
                    <a:pt x="235" y="128"/>
                  </a:lnTo>
                  <a:lnTo>
                    <a:pt x="247" y="161"/>
                  </a:lnTo>
                  <a:lnTo>
                    <a:pt x="290" y="164"/>
                  </a:lnTo>
                  <a:lnTo>
                    <a:pt x="303" y="182"/>
                  </a:lnTo>
                  <a:lnTo>
                    <a:pt x="294" y="222"/>
                  </a:lnTo>
                  <a:lnTo>
                    <a:pt x="252" y="230"/>
                  </a:lnTo>
                  <a:lnTo>
                    <a:pt x="209" y="237"/>
                  </a:lnTo>
                  <a:lnTo>
                    <a:pt x="197" y="253"/>
                  </a:lnTo>
                  <a:lnTo>
                    <a:pt x="192" y="274"/>
                  </a:lnTo>
                  <a:lnTo>
                    <a:pt x="172" y="289"/>
                  </a:lnTo>
                  <a:lnTo>
                    <a:pt x="172" y="276"/>
                  </a:lnTo>
                  <a:lnTo>
                    <a:pt x="172" y="266"/>
                  </a:lnTo>
                  <a:lnTo>
                    <a:pt x="166" y="264"/>
                  </a:lnTo>
                  <a:lnTo>
                    <a:pt x="149" y="263"/>
                  </a:lnTo>
                  <a:lnTo>
                    <a:pt x="132" y="264"/>
                  </a:lnTo>
                  <a:lnTo>
                    <a:pt x="121" y="270"/>
                  </a:lnTo>
                  <a:lnTo>
                    <a:pt x="105" y="252"/>
                  </a:lnTo>
                  <a:lnTo>
                    <a:pt x="100" y="234"/>
                  </a:lnTo>
                  <a:lnTo>
                    <a:pt x="91" y="219"/>
                  </a:lnTo>
                  <a:lnTo>
                    <a:pt x="72" y="197"/>
                  </a:lnTo>
                  <a:lnTo>
                    <a:pt x="65" y="181"/>
                  </a:lnTo>
                  <a:lnTo>
                    <a:pt x="54" y="149"/>
                  </a:lnTo>
                  <a:lnTo>
                    <a:pt x="38" y="123"/>
                  </a:lnTo>
                  <a:lnTo>
                    <a:pt x="18" y="104"/>
                  </a:lnTo>
                  <a:lnTo>
                    <a:pt x="15" y="81"/>
                  </a:lnTo>
                  <a:lnTo>
                    <a:pt x="3" y="74"/>
                  </a:lnTo>
                  <a:lnTo>
                    <a:pt x="0" y="58"/>
                  </a:lnTo>
                  <a:lnTo>
                    <a:pt x="18" y="58"/>
                  </a:lnTo>
                  <a:lnTo>
                    <a:pt x="31" y="46"/>
                  </a:lnTo>
                  <a:lnTo>
                    <a:pt x="43" y="36"/>
                  </a:lnTo>
                  <a:lnTo>
                    <a:pt x="43" y="15"/>
                  </a:lnTo>
                  <a:lnTo>
                    <a:pt x="59" y="2"/>
                  </a:lnTo>
                  <a:lnTo>
                    <a:pt x="65" y="0"/>
                  </a:lnTo>
                  <a:lnTo>
                    <a:pt x="74" y="8"/>
                  </a:lnTo>
                  <a:lnTo>
                    <a:pt x="84" y="15"/>
                  </a:lnTo>
                  <a:lnTo>
                    <a:pt x="100" y="14"/>
                  </a:lnTo>
                  <a:lnTo>
                    <a:pt x="110" y="31"/>
                  </a:lnTo>
                  <a:lnTo>
                    <a:pt x="121" y="34"/>
                  </a:lnTo>
                  <a:lnTo>
                    <a:pt x="134" y="57"/>
                  </a:lnTo>
                  <a:lnTo>
                    <a:pt x="159" y="7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3" name="Freeform 273">
              <a:extLst>
                <a:ext uri="{FF2B5EF4-FFF2-40B4-BE49-F238E27FC236}">
                  <a16:creationId xmlns:a16="http://schemas.microsoft.com/office/drawing/2014/main" xmlns="" id="{96BA210B-E2B1-4576-B34D-6548FC081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004" y="3022244"/>
              <a:ext cx="246087" cy="221188"/>
            </a:xfrm>
            <a:custGeom>
              <a:avLst/>
              <a:gdLst>
                <a:gd name="T0" fmla="*/ 148 w 184"/>
                <a:gd name="T1" fmla="*/ 166 h 167"/>
                <a:gd name="T2" fmla="*/ 137 w 184"/>
                <a:gd name="T3" fmla="*/ 161 h 167"/>
                <a:gd name="T4" fmla="*/ 118 w 184"/>
                <a:gd name="T5" fmla="*/ 160 h 167"/>
                <a:gd name="T6" fmla="*/ 120 w 184"/>
                <a:gd name="T7" fmla="*/ 149 h 167"/>
                <a:gd name="T8" fmla="*/ 112 w 184"/>
                <a:gd name="T9" fmla="*/ 146 h 167"/>
                <a:gd name="T10" fmla="*/ 104 w 184"/>
                <a:gd name="T11" fmla="*/ 151 h 167"/>
                <a:gd name="T12" fmla="*/ 70 w 184"/>
                <a:gd name="T13" fmla="*/ 123 h 167"/>
                <a:gd name="T14" fmla="*/ 74 w 184"/>
                <a:gd name="T15" fmla="*/ 112 h 167"/>
                <a:gd name="T16" fmla="*/ 66 w 184"/>
                <a:gd name="T17" fmla="*/ 109 h 167"/>
                <a:gd name="T18" fmla="*/ 58 w 184"/>
                <a:gd name="T19" fmla="*/ 109 h 167"/>
                <a:gd name="T20" fmla="*/ 47 w 184"/>
                <a:gd name="T21" fmla="*/ 106 h 167"/>
                <a:gd name="T22" fmla="*/ 51 w 184"/>
                <a:gd name="T23" fmla="*/ 99 h 167"/>
                <a:gd name="T24" fmla="*/ 44 w 184"/>
                <a:gd name="T25" fmla="*/ 93 h 167"/>
                <a:gd name="T26" fmla="*/ 40 w 184"/>
                <a:gd name="T27" fmla="*/ 84 h 167"/>
                <a:gd name="T28" fmla="*/ 30 w 184"/>
                <a:gd name="T29" fmla="*/ 89 h 167"/>
                <a:gd name="T30" fmla="*/ 20 w 184"/>
                <a:gd name="T31" fmla="*/ 92 h 167"/>
                <a:gd name="T32" fmla="*/ 18 w 184"/>
                <a:gd name="T33" fmla="*/ 102 h 167"/>
                <a:gd name="T34" fmla="*/ 0 w 184"/>
                <a:gd name="T35" fmla="*/ 97 h 167"/>
                <a:gd name="T36" fmla="*/ 11 w 184"/>
                <a:gd name="T37" fmla="*/ 25 h 167"/>
                <a:gd name="T38" fmla="*/ 42 w 184"/>
                <a:gd name="T39" fmla="*/ 0 h 167"/>
                <a:gd name="T40" fmla="*/ 45 w 184"/>
                <a:gd name="T41" fmla="*/ 37 h 167"/>
                <a:gd name="T42" fmla="*/ 60 w 184"/>
                <a:gd name="T43" fmla="*/ 37 h 167"/>
                <a:gd name="T44" fmla="*/ 67 w 184"/>
                <a:gd name="T45" fmla="*/ 44 h 167"/>
                <a:gd name="T46" fmla="*/ 84 w 184"/>
                <a:gd name="T47" fmla="*/ 44 h 167"/>
                <a:gd name="T48" fmla="*/ 86 w 184"/>
                <a:gd name="T49" fmla="*/ 20 h 167"/>
                <a:gd name="T50" fmla="*/ 95 w 184"/>
                <a:gd name="T51" fmla="*/ 37 h 167"/>
                <a:gd name="T52" fmla="*/ 100 w 184"/>
                <a:gd name="T53" fmla="*/ 50 h 167"/>
                <a:gd name="T54" fmla="*/ 118 w 184"/>
                <a:gd name="T55" fmla="*/ 45 h 167"/>
                <a:gd name="T56" fmla="*/ 135 w 184"/>
                <a:gd name="T57" fmla="*/ 47 h 167"/>
                <a:gd name="T58" fmla="*/ 150 w 184"/>
                <a:gd name="T59" fmla="*/ 54 h 167"/>
                <a:gd name="T60" fmla="*/ 151 w 184"/>
                <a:gd name="T61" fmla="*/ 77 h 167"/>
                <a:gd name="T62" fmla="*/ 156 w 184"/>
                <a:gd name="T63" fmla="*/ 89 h 167"/>
                <a:gd name="T64" fmla="*/ 173 w 184"/>
                <a:gd name="T65" fmla="*/ 98 h 167"/>
                <a:gd name="T66" fmla="*/ 183 w 184"/>
                <a:gd name="T67" fmla="*/ 106 h 167"/>
                <a:gd name="T68" fmla="*/ 175 w 184"/>
                <a:gd name="T69" fmla="*/ 122 h 167"/>
                <a:gd name="T70" fmla="*/ 164 w 184"/>
                <a:gd name="T71" fmla="*/ 137 h 167"/>
                <a:gd name="T72" fmla="*/ 148 w 184"/>
                <a:gd name="T73" fmla="*/ 16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67">
                  <a:moveTo>
                    <a:pt x="148" y="166"/>
                  </a:moveTo>
                  <a:lnTo>
                    <a:pt x="137" y="161"/>
                  </a:lnTo>
                  <a:lnTo>
                    <a:pt x="118" y="160"/>
                  </a:lnTo>
                  <a:lnTo>
                    <a:pt x="120" y="149"/>
                  </a:lnTo>
                  <a:lnTo>
                    <a:pt x="112" y="146"/>
                  </a:lnTo>
                  <a:lnTo>
                    <a:pt x="104" y="151"/>
                  </a:lnTo>
                  <a:lnTo>
                    <a:pt x="70" y="123"/>
                  </a:lnTo>
                  <a:lnTo>
                    <a:pt x="74" y="112"/>
                  </a:lnTo>
                  <a:lnTo>
                    <a:pt x="66" y="109"/>
                  </a:lnTo>
                  <a:lnTo>
                    <a:pt x="58" y="109"/>
                  </a:lnTo>
                  <a:lnTo>
                    <a:pt x="47" y="106"/>
                  </a:lnTo>
                  <a:lnTo>
                    <a:pt x="51" y="99"/>
                  </a:lnTo>
                  <a:lnTo>
                    <a:pt x="44" y="93"/>
                  </a:lnTo>
                  <a:lnTo>
                    <a:pt x="40" y="84"/>
                  </a:lnTo>
                  <a:lnTo>
                    <a:pt x="30" y="89"/>
                  </a:lnTo>
                  <a:lnTo>
                    <a:pt x="20" y="92"/>
                  </a:lnTo>
                  <a:lnTo>
                    <a:pt x="18" y="102"/>
                  </a:lnTo>
                  <a:lnTo>
                    <a:pt x="0" y="97"/>
                  </a:lnTo>
                  <a:lnTo>
                    <a:pt x="11" y="25"/>
                  </a:lnTo>
                  <a:lnTo>
                    <a:pt x="42" y="0"/>
                  </a:lnTo>
                  <a:lnTo>
                    <a:pt x="45" y="37"/>
                  </a:lnTo>
                  <a:lnTo>
                    <a:pt x="60" y="37"/>
                  </a:lnTo>
                  <a:lnTo>
                    <a:pt x="67" y="44"/>
                  </a:lnTo>
                  <a:lnTo>
                    <a:pt x="84" y="44"/>
                  </a:lnTo>
                  <a:lnTo>
                    <a:pt x="86" y="20"/>
                  </a:lnTo>
                  <a:lnTo>
                    <a:pt x="95" y="37"/>
                  </a:lnTo>
                  <a:lnTo>
                    <a:pt x="100" y="50"/>
                  </a:lnTo>
                  <a:lnTo>
                    <a:pt x="118" y="45"/>
                  </a:lnTo>
                  <a:lnTo>
                    <a:pt x="135" y="47"/>
                  </a:lnTo>
                  <a:lnTo>
                    <a:pt x="150" y="54"/>
                  </a:lnTo>
                  <a:lnTo>
                    <a:pt x="151" y="77"/>
                  </a:lnTo>
                  <a:lnTo>
                    <a:pt x="156" y="89"/>
                  </a:lnTo>
                  <a:lnTo>
                    <a:pt x="173" y="98"/>
                  </a:lnTo>
                  <a:lnTo>
                    <a:pt x="183" y="106"/>
                  </a:lnTo>
                  <a:lnTo>
                    <a:pt x="175" y="122"/>
                  </a:lnTo>
                  <a:lnTo>
                    <a:pt x="164" y="137"/>
                  </a:lnTo>
                  <a:lnTo>
                    <a:pt x="148" y="16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4" name="Freeform 274">
              <a:extLst>
                <a:ext uri="{FF2B5EF4-FFF2-40B4-BE49-F238E27FC236}">
                  <a16:creationId xmlns:a16="http://schemas.microsoft.com/office/drawing/2014/main" xmlns="" id="{BC3D2C9C-BF70-47C5-A7E2-60FE7864E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8989" y="2967542"/>
              <a:ext cx="67763" cy="87999"/>
            </a:xfrm>
            <a:custGeom>
              <a:avLst/>
              <a:gdLst>
                <a:gd name="T0" fmla="*/ 39 w 57"/>
                <a:gd name="T1" fmla="*/ 74 h 74"/>
                <a:gd name="T2" fmla="*/ 47 w 57"/>
                <a:gd name="T3" fmla="*/ 68 h 74"/>
                <a:gd name="T4" fmla="*/ 54 w 57"/>
                <a:gd name="T5" fmla="*/ 53 h 74"/>
                <a:gd name="T6" fmla="*/ 57 w 57"/>
                <a:gd name="T7" fmla="*/ 42 h 74"/>
                <a:gd name="T8" fmla="*/ 36 w 57"/>
                <a:gd name="T9" fmla="*/ 12 h 74"/>
                <a:gd name="T10" fmla="*/ 23 w 57"/>
                <a:gd name="T11" fmla="*/ 0 h 74"/>
                <a:gd name="T12" fmla="*/ 0 w 57"/>
                <a:gd name="T13" fmla="*/ 5 h 74"/>
                <a:gd name="T14" fmla="*/ 24 w 57"/>
                <a:gd name="T15" fmla="*/ 27 h 74"/>
                <a:gd name="T16" fmla="*/ 24 w 57"/>
                <a:gd name="T17" fmla="*/ 42 h 74"/>
                <a:gd name="T18" fmla="*/ 39 w 57"/>
                <a:gd name="T1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74">
                  <a:moveTo>
                    <a:pt x="39" y="74"/>
                  </a:moveTo>
                  <a:lnTo>
                    <a:pt x="47" y="68"/>
                  </a:lnTo>
                  <a:lnTo>
                    <a:pt x="54" y="53"/>
                  </a:lnTo>
                  <a:lnTo>
                    <a:pt x="57" y="42"/>
                  </a:lnTo>
                  <a:lnTo>
                    <a:pt x="36" y="12"/>
                  </a:lnTo>
                  <a:lnTo>
                    <a:pt x="23" y="0"/>
                  </a:lnTo>
                  <a:lnTo>
                    <a:pt x="0" y="5"/>
                  </a:lnTo>
                  <a:lnTo>
                    <a:pt x="24" y="27"/>
                  </a:lnTo>
                  <a:lnTo>
                    <a:pt x="24" y="42"/>
                  </a:lnTo>
                  <a:lnTo>
                    <a:pt x="39" y="74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5" name="Freeform 275">
              <a:extLst>
                <a:ext uri="{FF2B5EF4-FFF2-40B4-BE49-F238E27FC236}">
                  <a16:creationId xmlns:a16="http://schemas.microsoft.com/office/drawing/2014/main" xmlns="" id="{A7BC6A00-5E66-43F8-8344-54E4ABEB5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948" y="3859428"/>
              <a:ext cx="32098" cy="98702"/>
            </a:xfrm>
            <a:custGeom>
              <a:avLst/>
              <a:gdLst>
                <a:gd name="T0" fmla="*/ 15 w 27"/>
                <a:gd name="T1" fmla="*/ 83 h 83"/>
                <a:gd name="T2" fmla="*/ 27 w 27"/>
                <a:gd name="T3" fmla="*/ 72 h 83"/>
                <a:gd name="T4" fmla="*/ 20 w 27"/>
                <a:gd name="T5" fmla="*/ 48 h 83"/>
                <a:gd name="T6" fmla="*/ 20 w 27"/>
                <a:gd name="T7" fmla="*/ 26 h 83"/>
                <a:gd name="T8" fmla="*/ 18 w 27"/>
                <a:gd name="T9" fmla="*/ 11 h 83"/>
                <a:gd name="T10" fmla="*/ 12 w 27"/>
                <a:gd name="T11" fmla="*/ 2 h 83"/>
                <a:gd name="T12" fmla="*/ 2 w 27"/>
                <a:gd name="T13" fmla="*/ 0 h 83"/>
                <a:gd name="T14" fmla="*/ 0 w 27"/>
                <a:gd name="T15" fmla="*/ 14 h 83"/>
                <a:gd name="T16" fmla="*/ 6 w 27"/>
                <a:gd name="T17" fmla="*/ 24 h 83"/>
                <a:gd name="T18" fmla="*/ 9 w 27"/>
                <a:gd name="T19" fmla="*/ 48 h 83"/>
                <a:gd name="T20" fmla="*/ 15 w 27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83">
                  <a:moveTo>
                    <a:pt x="15" y="83"/>
                  </a:moveTo>
                  <a:lnTo>
                    <a:pt x="27" y="72"/>
                  </a:lnTo>
                  <a:lnTo>
                    <a:pt x="20" y="48"/>
                  </a:lnTo>
                  <a:lnTo>
                    <a:pt x="20" y="26"/>
                  </a:lnTo>
                  <a:lnTo>
                    <a:pt x="18" y="11"/>
                  </a:lnTo>
                  <a:lnTo>
                    <a:pt x="12" y="2"/>
                  </a:lnTo>
                  <a:lnTo>
                    <a:pt x="2" y="0"/>
                  </a:lnTo>
                  <a:lnTo>
                    <a:pt x="0" y="14"/>
                  </a:lnTo>
                  <a:lnTo>
                    <a:pt x="6" y="24"/>
                  </a:lnTo>
                  <a:lnTo>
                    <a:pt x="9" y="48"/>
                  </a:lnTo>
                  <a:lnTo>
                    <a:pt x="15" y="83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6" name="Freeform 276">
              <a:extLst>
                <a:ext uri="{FF2B5EF4-FFF2-40B4-BE49-F238E27FC236}">
                  <a16:creationId xmlns:a16="http://schemas.microsoft.com/office/drawing/2014/main" xmlns="" id="{13B521F5-6A0D-4352-B417-ABEB2A99F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3320" y="2902137"/>
              <a:ext cx="24965" cy="17838"/>
            </a:xfrm>
            <a:custGeom>
              <a:avLst/>
              <a:gdLst>
                <a:gd name="T0" fmla="*/ 0 w 21"/>
                <a:gd name="T1" fmla="*/ 15 h 15"/>
                <a:gd name="T2" fmla="*/ 21 w 21"/>
                <a:gd name="T3" fmla="*/ 15 h 15"/>
                <a:gd name="T4" fmla="*/ 10 w 21"/>
                <a:gd name="T5" fmla="*/ 10 h 15"/>
                <a:gd name="T6" fmla="*/ 7 w 21"/>
                <a:gd name="T7" fmla="*/ 0 h 15"/>
                <a:gd name="T8" fmla="*/ 0 w 21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5">
                  <a:moveTo>
                    <a:pt x="0" y="15"/>
                  </a:moveTo>
                  <a:lnTo>
                    <a:pt x="21" y="15"/>
                  </a:lnTo>
                  <a:lnTo>
                    <a:pt x="10" y="10"/>
                  </a:lnTo>
                  <a:lnTo>
                    <a:pt x="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7" name="Freeform 277">
              <a:extLst>
                <a:ext uri="{FF2B5EF4-FFF2-40B4-BE49-F238E27FC236}">
                  <a16:creationId xmlns:a16="http://schemas.microsoft.com/office/drawing/2014/main" xmlns="" id="{64490D38-1405-46DD-B640-E8D1E0A49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4026" y="3288621"/>
              <a:ext cx="54686" cy="114161"/>
            </a:xfrm>
            <a:custGeom>
              <a:avLst/>
              <a:gdLst>
                <a:gd name="T0" fmla="*/ 0 w 46"/>
                <a:gd name="T1" fmla="*/ 74 h 96"/>
                <a:gd name="T2" fmla="*/ 15 w 46"/>
                <a:gd name="T3" fmla="*/ 29 h 96"/>
                <a:gd name="T4" fmla="*/ 27 w 46"/>
                <a:gd name="T5" fmla="*/ 0 h 96"/>
                <a:gd name="T6" fmla="*/ 46 w 46"/>
                <a:gd name="T7" fmla="*/ 17 h 96"/>
                <a:gd name="T8" fmla="*/ 40 w 46"/>
                <a:gd name="T9" fmla="*/ 35 h 96"/>
                <a:gd name="T10" fmla="*/ 27 w 46"/>
                <a:gd name="T11" fmla="*/ 42 h 96"/>
                <a:gd name="T12" fmla="*/ 27 w 46"/>
                <a:gd name="T13" fmla="*/ 77 h 96"/>
                <a:gd name="T14" fmla="*/ 22 w 46"/>
                <a:gd name="T15" fmla="*/ 96 h 96"/>
                <a:gd name="T16" fmla="*/ 7 w 46"/>
                <a:gd name="T17" fmla="*/ 75 h 96"/>
                <a:gd name="T18" fmla="*/ 0 w 46"/>
                <a:gd name="T19" fmla="*/ 7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96">
                  <a:moveTo>
                    <a:pt x="0" y="74"/>
                  </a:moveTo>
                  <a:lnTo>
                    <a:pt x="15" y="29"/>
                  </a:lnTo>
                  <a:lnTo>
                    <a:pt x="27" y="0"/>
                  </a:lnTo>
                  <a:lnTo>
                    <a:pt x="46" y="17"/>
                  </a:lnTo>
                  <a:lnTo>
                    <a:pt x="40" y="35"/>
                  </a:lnTo>
                  <a:lnTo>
                    <a:pt x="27" y="42"/>
                  </a:lnTo>
                  <a:lnTo>
                    <a:pt x="27" y="77"/>
                  </a:lnTo>
                  <a:lnTo>
                    <a:pt x="22" y="96"/>
                  </a:lnTo>
                  <a:lnTo>
                    <a:pt x="7" y="75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8" name="Freeform 278">
              <a:extLst>
                <a:ext uri="{FF2B5EF4-FFF2-40B4-BE49-F238E27FC236}">
                  <a16:creationId xmlns:a16="http://schemas.microsoft.com/office/drawing/2014/main" xmlns="" id="{03B0ABBD-89D9-4653-9970-AB0021C76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971" y="4052076"/>
              <a:ext cx="34476" cy="20216"/>
            </a:xfrm>
            <a:custGeom>
              <a:avLst/>
              <a:gdLst>
                <a:gd name="T0" fmla="*/ 0 w 29"/>
                <a:gd name="T1" fmla="*/ 14 h 17"/>
                <a:gd name="T2" fmla="*/ 2 w 29"/>
                <a:gd name="T3" fmla="*/ 0 h 17"/>
                <a:gd name="T4" fmla="*/ 29 w 29"/>
                <a:gd name="T5" fmla="*/ 3 h 17"/>
                <a:gd name="T6" fmla="*/ 18 w 29"/>
                <a:gd name="T7" fmla="*/ 17 h 17"/>
                <a:gd name="T8" fmla="*/ 0 w 29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0" y="14"/>
                  </a:moveTo>
                  <a:lnTo>
                    <a:pt x="2" y="0"/>
                  </a:lnTo>
                  <a:lnTo>
                    <a:pt x="29" y="3"/>
                  </a:lnTo>
                  <a:lnTo>
                    <a:pt x="18" y="17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9" name="Freeform 279">
              <a:extLst>
                <a:ext uri="{FF2B5EF4-FFF2-40B4-BE49-F238E27FC236}">
                  <a16:creationId xmlns:a16="http://schemas.microsoft.com/office/drawing/2014/main" xmlns="" id="{BAB0BCF4-34C6-4274-850A-761E6DD7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159" y="4298237"/>
              <a:ext cx="61819" cy="155783"/>
            </a:xfrm>
            <a:custGeom>
              <a:avLst/>
              <a:gdLst>
                <a:gd name="T0" fmla="*/ 16 w 52"/>
                <a:gd name="T1" fmla="*/ 119 h 131"/>
                <a:gd name="T2" fmla="*/ 24 w 52"/>
                <a:gd name="T3" fmla="*/ 90 h 131"/>
                <a:gd name="T4" fmla="*/ 0 w 52"/>
                <a:gd name="T5" fmla="*/ 81 h 131"/>
                <a:gd name="T6" fmla="*/ 0 w 52"/>
                <a:gd name="T7" fmla="*/ 50 h 131"/>
                <a:gd name="T8" fmla="*/ 10 w 52"/>
                <a:gd name="T9" fmla="*/ 41 h 131"/>
                <a:gd name="T10" fmla="*/ 4 w 52"/>
                <a:gd name="T11" fmla="*/ 17 h 131"/>
                <a:gd name="T12" fmla="*/ 7 w 52"/>
                <a:gd name="T13" fmla="*/ 0 h 131"/>
                <a:gd name="T14" fmla="*/ 30 w 52"/>
                <a:gd name="T15" fmla="*/ 14 h 131"/>
                <a:gd name="T16" fmla="*/ 33 w 52"/>
                <a:gd name="T17" fmla="*/ 30 h 131"/>
                <a:gd name="T18" fmla="*/ 28 w 52"/>
                <a:gd name="T19" fmla="*/ 56 h 131"/>
                <a:gd name="T20" fmla="*/ 45 w 52"/>
                <a:gd name="T21" fmla="*/ 81 h 131"/>
                <a:gd name="T22" fmla="*/ 52 w 52"/>
                <a:gd name="T23" fmla="*/ 104 h 131"/>
                <a:gd name="T24" fmla="*/ 40 w 52"/>
                <a:gd name="T25" fmla="*/ 110 h 131"/>
                <a:gd name="T26" fmla="*/ 39 w 52"/>
                <a:gd name="T27" fmla="*/ 126 h 131"/>
                <a:gd name="T28" fmla="*/ 24 w 52"/>
                <a:gd name="T29" fmla="*/ 131 h 131"/>
                <a:gd name="T30" fmla="*/ 16 w 52"/>
                <a:gd name="T31" fmla="*/ 11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131">
                  <a:moveTo>
                    <a:pt x="16" y="119"/>
                  </a:moveTo>
                  <a:lnTo>
                    <a:pt x="24" y="90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10" y="41"/>
                  </a:lnTo>
                  <a:lnTo>
                    <a:pt x="4" y="17"/>
                  </a:lnTo>
                  <a:lnTo>
                    <a:pt x="7" y="0"/>
                  </a:lnTo>
                  <a:lnTo>
                    <a:pt x="30" y="14"/>
                  </a:lnTo>
                  <a:lnTo>
                    <a:pt x="33" y="30"/>
                  </a:lnTo>
                  <a:lnTo>
                    <a:pt x="28" y="56"/>
                  </a:lnTo>
                  <a:lnTo>
                    <a:pt x="45" y="81"/>
                  </a:lnTo>
                  <a:lnTo>
                    <a:pt x="52" y="104"/>
                  </a:lnTo>
                  <a:lnTo>
                    <a:pt x="40" y="110"/>
                  </a:lnTo>
                  <a:lnTo>
                    <a:pt x="39" y="126"/>
                  </a:lnTo>
                  <a:lnTo>
                    <a:pt x="24" y="131"/>
                  </a:lnTo>
                  <a:lnTo>
                    <a:pt x="16" y="119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B74B8A15-042F-4E90-B58D-A2238CF2EA9F}"/>
              </a:ext>
            </a:extLst>
          </p:cNvPr>
          <p:cNvGrpSpPr/>
          <p:nvPr/>
        </p:nvGrpSpPr>
        <p:grpSpPr>
          <a:xfrm>
            <a:off x="6335584" y="3932197"/>
            <a:ext cx="1115477" cy="167534"/>
            <a:chOff x="1094954" y="5782394"/>
            <a:chExt cx="1434470" cy="21544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xmlns="" id="{8BFB61A9-561E-4079-95C4-41A14674F50D}"/>
                </a:ext>
              </a:extLst>
            </p:cNvPr>
            <p:cNvSpPr/>
            <p:nvPr/>
          </p:nvSpPr>
          <p:spPr>
            <a:xfrm>
              <a:off x="1094954" y="5788347"/>
              <a:ext cx="203530" cy="2035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15" name="TextBox 50">
              <a:extLst>
                <a:ext uri="{FF2B5EF4-FFF2-40B4-BE49-F238E27FC236}">
                  <a16:creationId xmlns:a16="http://schemas.microsoft.com/office/drawing/2014/main" xmlns="" id="{40559880-8A10-4CC1-9D42-D0AF50A2A785}"/>
                </a:ext>
              </a:extLst>
            </p:cNvPr>
            <p:cNvSpPr txBox="1"/>
            <p:nvPr/>
          </p:nvSpPr>
          <p:spPr>
            <a:xfrm>
              <a:off x="1405655" y="5782394"/>
              <a:ext cx="1123769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>
                  <a:solidFill>
                    <a:schemeClr val="accent1"/>
                  </a:solidFill>
                </a:rPr>
                <a:t>LOREM IPSUM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BAA1D253-EBC3-4433-B426-967B292A4199}"/>
              </a:ext>
            </a:extLst>
          </p:cNvPr>
          <p:cNvGrpSpPr/>
          <p:nvPr/>
        </p:nvGrpSpPr>
        <p:grpSpPr>
          <a:xfrm>
            <a:off x="7877217" y="3932197"/>
            <a:ext cx="1115477" cy="167534"/>
            <a:chOff x="3077448" y="5782394"/>
            <a:chExt cx="1434470" cy="215444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xmlns="" id="{5E50A559-D833-48B4-A9B3-03157BAFEB2B}"/>
                </a:ext>
              </a:extLst>
            </p:cNvPr>
            <p:cNvSpPr/>
            <p:nvPr/>
          </p:nvSpPr>
          <p:spPr>
            <a:xfrm>
              <a:off x="3077448" y="5788347"/>
              <a:ext cx="203530" cy="203529"/>
            </a:xfrm>
            <a:prstGeom prst="ellipse">
              <a:avLst/>
            </a:prstGeom>
            <a:solidFill>
              <a:schemeClr val="accent3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13" name="TextBox 50">
              <a:extLst>
                <a:ext uri="{FF2B5EF4-FFF2-40B4-BE49-F238E27FC236}">
                  <a16:creationId xmlns:a16="http://schemas.microsoft.com/office/drawing/2014/main" xmlns="" id="{B5CAD233-B12C-4811-B15D-ADEB7909704C}"/>
                </a:ext>
              </a:extLst>
            </p:cNvPr>
            <p:cNvSpPr txBox="1"/>
            <p:nvPr/>
          </p:nvSpPr>
          <p:spPr>
            <a:xfrm>
              <a:off x="3388149" y="5782394"/>
              <a:ext cx="1123769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>
                  <a:solidFill>
                    <a:schemeClr val="accent1"/>
                  </a:solidFill>
                </a:rPr>
                <a:t>LOREM IPSUM 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9B2CA39-09E3-4D00-8E30-44520251A477}"/>
              </a:ext>
            </a:extLst>
          </p:cNvPr>
          <p:cNvGrpSpPr/>
          <p:nvPr/>
        </p:nvGrpSpPr>
        <p:grpSpPr>
          <a:xfrm>
            <a:off x="9418852" y="3932197"/>
            <a:ext cx="1115475" cy="167534"/>
            <a:chOff x="5059945" y="5782394"/>
            <a:chExt cx="1434467" cy="215444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xmlns="" id="{14FBEC75-8063-49C3-8A24-B9573F0F37EB}"/>
                </a:ext>
              </a:extLst>
            </p:cNvPr>
            <p:cNvSpPr/>
            <p:nvPr/>
          </p:nvSpPr>
          <p:spPr>
            <a:xfrm>
              <a:off x="5059945" y="5788347"/>
              <a:ext cx="203530" cy="203529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11" name="TextBox 50">
              <a:extLst>
                <a:ext uri="{FF2B5EF4-FFF2-40B4-BE49-F238E27FC236}">
                  <a16:creationId xmlns:a16="http://schemas.microsoft.com/office/drawing/2014/main" xmlns="" id="{AD317974-32F3-4131-8EE3-21C695ED82A2}"/>
                </a:ext>
              </a:extLst>
            </p:cNvPr>
            <p:cNvSpPr txBox="1"/>
            <p:nvPr/>
          </p:nvSpPr>
          <p:spPr>
            <a:xfrm>
              <a:off x="5370643" y="5782394"/>
              <a:ext cx="1123769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>
                  <a:solidFill>
                    <a:schemeClr val="accent1"/>
                  </a:solidFill>
                </a:rPr>
                <a:t>LOREM IPSUM </a:t>
              </a:r>
            </a:p>
          </p:txBody>
        </p:sp>
      </p:grpSp>
      <p:grpSp>
        <p:nvGrpSpPr>
          <p:cNvPr id="270" name="Group 269">
            <a:extLst>
              <a:ext uri="{FF2B5EF4-FFF2-40B4-BE49-F238E27FC236}">
                <a16:creationId xmlns:a16="http://schemas.microsoft.com/office/drawing/2014/main" xmlns="" id="{349E171A-E5D6-4E03-BC14-FC831043C1C6}"/>
              </a:ext>
            </a:extLst>
          </p:cNvPr>
          <p:cNvGrpSpPr/>
          <p:nvPr/>
        </p:nvGrpSpPr>
        <p:grpSpPr>
          <a:xfrm>
            <a:off x="5219569" y="4725001"/>
            <a:ext cx="6430771" cy="1047389"/>
            <a:chOff x="4876326" y="4329253"/>
            <a:chExt cx="6430771" cy="1047389"/>
          </a:xfrm>
        </p:grpSpPr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xmlns="" id="{A4F90803-616A-4F48-8F8D-0985451976A4}"/>
                </a:ext>
              </a:extLst>
            </p:cNvPr>
            <p:cNvGrpSpPr/>
            <p:nvPr/>
          </p:nvGrpSpPr>
          <p:grpSpPr>
            <a:xfrm>
              <a:off x="4876326" y="4329253"/>
              <a:ext cx="1869908" cy="1047389"/>
              <a:chOff x="6096000" y="4458890"/>
              <a:chExt cx="2081090" cy="1047389"/>
            </a:xfrm>
          </p:grpSpPr>
          <p:sp>
            <p:nvSpPr>
              <p:cNvPr id="262" name="TextBox 50">
                <a:extLst>
                  <a:ext uri="{FF2B5EF4-FFF2-40B4-BE49-F238E27FC236}">
                    <a16:creationId xmlns:a16="http://schemas.microsoft.com/office/drawing/2014/main" xmlns="" id="{A1385CD9-64EE-4676-834D-93440187C740}"/>
                  </a:ext>
                </a:extLst>
              </p:cNvPr>
              <p:cNvSpPr txBox="1"/>
              <p:nvPr/>
            </p:nvSpPr>
            <p:spPr>
              <a:xfrm>
                <a:off x="6096003" y="4458890"/>
                <a:ext cx="208108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b="1" dirty="0"/>
                  <a:t>LOREM IPSUM </a:t>
                </a:r>
              </a:p>
            </p:txBody>
          </p:sp>
          <p:sp>
            <p:nvSpPr>
              <p:cNvPr id="263" name="TextBox 48">
                <a:extLst>
                  <a:ext uri="{FF2B5EF4-FFF2-40B4-BE49-F238E27FC236}">
                    <a16:creationId xmlns:a16="http://schemas.microsoft.com/office/drawing/2014/main" xmlns="" id="{6B483F3C-958B-4C3B-B2F5-D70E68ECAF2D}"/>
                  </a:ext>
                </a:extLst>
              </p:cNvPr>
              <p:cNvSpPr txBox="1"/>
              <p:nvPr/>
            </p:nvSpPr>
            <p:spPr>
              <a:xfrm>
                <a:off x="6096000" y="4859948"/>
                <a:ext cx="2081087" cy="646331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 dirty="0"/>
                  <a:t>Lorem ipsum dolor sit </a:t>
                </a:r>
                <a:r>
                  <a:rPr lang="en-US" sz="1400" dirty="0" err="1"/>
                  <a:t>amet</a:t>
                </a:r>
                <a:r>
                  <a:rPr lang="en-US" sz="1400" dirty="0"/>
                  <a:t>, </a:t>
                </a:r>
                <a:r>
                  <a:rPr lang="en-US" sz="1400" dirty="0" err="1"/>
                  <a:t>consectetur</a:t>
                </a:r>
                <a:r>
                  <a:rPr lang="en-US" sz="1400" dirty="0"/>
                  <a:t> </a:t>
                </a:r>
                <a:r>
                  <a:rPr lang="en-US" sz="1400" dirty="0" err="1"/>
                  <a:t>adipiscing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lit</a:t>
                </a:r>
                <a:r>
                  <a:rPr lang="en-US" sz="1400" dirty="0"/>
                  <a:t>. </a:t>
                </a:r>
              </a:p>
            </p:txBody>
          </p:sp>
        </p:grp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xmlns="" id="{BECD6C57-D730-4734-82A9-D6258EF059E6}"/>
                </a:ext>
              </a:extLst>
            </p:cNvPr>
            <p:cNvGrpSpPr/>
            <p:nvPr/>
          </p:nvGrpSpPr>
          <p:grpSpPr>
            <a:xfrm>
              <a:off x="7156757" y="4329253"/>
              <a:ext cx="1869908" cy="1047389"/>
              <a:chOff x="6096000" y="4458890"/>
              <a:chExt cx="2081090" cy="1047389"/>
            </a:xfrm>
          </p:grpSpPr>
          <p:sp>
            <p:nvSpPr>
              <p:cNvPr id="265" name="TextBox 50">
                <a:extLst>
                  <a:ext uri="{FF2B5EF4-FFF2-40B4-BE49-F238E27FC236}">
                    <a16:creationId xmlns:a16="http://schemas.microsoft.com/office/drawing/2014/main" xmlns="" id="{C9609EDC-3C2B-4C65-9570-76FE10E28733}"/>
                  </a:ext>
                </a:extLst>
              </p:cNvPr>
              <p:cNvSpPr txBox="1"/>
              <p:nvPr/>
            </p:nvSpPr>
            <p:spPr>
              <a:xfrm>
                <a:off x="6096003" y="4458890"/>
                <a:ext cx="208108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b="1" dirty="0"/>
                  <a:t>LOREM IPSUM </a:t>
                </a:r>
              </a:p>
            </p:txBody>
          </p:sp>
          <p:sp>
            <p:nvSpPr>
              <p:cNvPr id="266" name="TextBox 48">
                <a:extLst>
                  <a:ext uri="{FF2B5EF4-FFF2-40B4-BE49-F238E27FC236}">
                    <a16:creationId xmlns:a16="http://schemas.microsoft.com/office/drawing/2014/main" xmlns="" id="{D5B4CCE1-EA56-4FBD-85E2-58651789C841}"/>
                  </a:ext>
                </a:extLst>
              </p:cNvPr>
              <p:cNvSpPr txBox="1"/>
              <p:nvPr/>
            </p:nvSpPr>
            <p:spPr>
              <a:xfrm>
                <a:off x="6096000" y="4859948"/>
                <a:ext cx="2081087" cy="646331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 dirty="0"/>
                  <a:t>Lorem ipsum dolor sit </a:t>
                </a:r>
                <a:r>
                  <a:rPr lang="en-US" sz="1400" dirty="0" err="1"/>
                  <a:t>amet</a:t>
                </a:r>
                <a:r>
                  <a:rPr lang="en-US" sz="1400" dirty="0"/>
                  <a:t>, </a:t>
                </a:r>
                <a:r>
                  <a:rPr lang="en-US" sz="1400" dirty="0" err="1"/>
                  <a:t>consectetur</a:t>
                </a:r>
                <a:r>
                  <a:rPr lang="en-US" sz="1400" dirty="0"/>
                  <a:t> </a:t>
                </a:r>
                <a:r>
                  <a:rPr lang="en-US" sz="1400" dirty="0" err="1"/>
                  <a:t>adipiscing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lit</a:t>
                </a:r>
                <a:r>
                  <a:rPr lang="en-US" sz="1400" dirty="0"/>
                  <a:t>. </a:t>
                </a:r>
              </a:p>
            </p:txBody>
          </p:sp>
        </p:grp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xmlns="" id="{C3A7A728-137A-4BD9-A29D-531AF076F127}"/>
                </a:ext>
              </a:extLst>
            </p:cNvPr>
            <p:cNvGrpSpPr/>
            <p:nvPr/>
          </p:nvGrpSpPr>
          <p:grpSpPr>
            <a:xfrm>
              <a:off x="9437189" y="4329253"/>
              <a:ext cx="1869908" cy="1047389"/>
              <a:chOff x="6096000" y="4458890"/>
              <a:chExt cx="2081090" cy="1047389"/>
            </a:xfrm>
          </p:grpSpPr>
          <p:sp>
            <p:nvSpPr>
              <p:cNvPr id="268" name="TextBox 50">
                <a:extLst>
                  <a:ext uri="{FF2B5EF4-FFF2-40B4-BE49-F238E27FC236}">
                    <a16:creationId xmlns:a16="http://schemas.microsoft.com/office/drawing/2014/main" xmlns="" id="{AF734C42-49CE-49A6-A373-5A61C79DC15F}"/>
                  </a:ext>
                </a:extLst>
              </p:cNvPr>
              <p:cNvSpPr txBox="1"/>
              <p:nvPr/>
            </p:nvSpPr>
            <p:spPr>
              <a:xfrm>
                <a:off x="6096003" y="4458890"/>
                <a:ext cx="208108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b="1" dirty="0"/>
                  <a:t>LOREM IPSUM </a:t>
                </a:r>
              </a:p>
            </p:txBody>
          </p:sp>
          <p:sp>
            <p:nvSpPr>
              <p:cNvPr id="269" name="TextBox 48">
                <a:extLst>
                  <a:ext uri="{FF2B5EF4-FFF2-40B4-BE49-F238E27FC236}">
                    <a16:creationId xmlns:a16="http://schemas.microsoft.com/office/drawing/2014/main" xmlns="" id="{8E98DD25-72AF-40AE-BE45-DBDC5E1A4076}"/>
                  </a:ext>
                </a:extLst>
              </p:cNvPr>
              <p:cNvSpPr txBox="1"/>
              <p:nvPr/>
            </p:nvSpPr>
            <p:spPr>
              <a:xfrm>
                <a:off x="6096000" y="4859948"/>
                <a:ext cx="2081087" cy="646331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 dirty="0"/>
                  <a:t>Lorem ipsum dolor sit </a:t>
                </a:r>
                <a:r>
                  <a:rPr lang="en-US" sz="1400" dirty="0" err="1"/>
                  <a:t>amet</a:t>
                </a:r>
                <a:r>
                  <a:rPr lang="en-US" sz="1400" dirty="0"/>
                  <a:t>, </a:t>
                </a:r>
                <a:r>
                  <a:rPr lang="en-US" sz="1400" dirty="0" err="1"/>
                  <a:t>consectetur</a:t>
                </a:r>
                <a:r>
                  <a:rPr lang="en-US" sz="1400" dirty="0"/>
                  <a:t> </a:t>
                </a:r>
                <a:r>
                  <a:rPr lang="en-US" sz="1400" dirty="0" err="1"/>
                  <a:t>adipiscing</a:t>
                </a:r>
                <a:r>
                  <a:rPr lang="en-US" sz="1400" dirty="0"/>
                  <a:t> </a:t>
                </a:r>
                <a:r>
                  <a:rPr lang="en-US" sz="1400" dirty="0" err="1"/>
                  <a:t>elit</a:t>
                </a:r>
                <a:r>
                  <a:rPr lang="en-US" sz="1400" dirty="0"/>
                  <a:t>. </a:t>
                </a:r>
              </a:p>
            </p:txBody>
          </p:sp>
        </p:grpSp>
      </p:grpSp>
      <p:sp>
        <p:nvSpPr>
          <p:cNvPr id="277" name="Freeform 104">
            <a:extLst>
              <a:ext uri="{FF2B5EF4-FFF2-40B4-BE49-F238E27FC236}">
                <a16:creationId xmlns:a16="http://schemas.microsoft.com/office/drawing/2014/main" xmlns="" id="{FA4E45B2-3D0D-4E4D-B26A-634429D8F186}"/>
              </a:ext>
            </a:extLst>
          </p:cNvPr>
          <p:cNvSpPr>
            <a:spLocks noEditPoints="1"/>
          </p:cNvSpPr>
          <p:nvPr/>
        </p:nvSpPr>
        <p:spPr bwMode="auto">
          <a:xfrm>
            <a:off x="1080870" y="3534925"/>
            <a:ext cx="670968" cy="673922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18414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xmlns="" id="{31502F11-874F-4885-ABD0-612544FBBE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0452"/>
          <a:stretch/>
        </p:blipFill>
        <p:spPr>
          <a:xfrm>
            <a:off x="0" y="0"/>
            <a:ext cx="12192000" cy="598017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DF57669-CD27-4D63-92C7-8EF3A5C357E5}"/>
              </a:ext>
            </a:extLst>
          </p:cNvPr>
          <p:cNvSpPr/>
          <p:nvPr/>
        </p:nvSpPr>
        <p:spPr>
          <a:xfrm>
            <a:off x="0" y="0"/>
            <a:ext cx="12192000" cy="598017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A3E492A7-4C5A-440B-8EAA-19B798FBF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dirty="0"/>
              <a:t>SWOT Analysi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3FCD812-9A69-4271-B1D2-147C084541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t>12</a:t>
            </a:fld>
            <a:endParaRPr lang="en-US"/>
          </a:p>
        </p:txBody>
      </p:sp>
      <p:sp>
        <p:nvSpPr>
          <p:cNvPr id="16" name="TextBox 50">
            <a:extLst>
              <a:ext uri="{FF2B5EF4-FFF2-40B4-BE49-F238E27FC236}">
                <a16:creationId xmlns:a16="http://schemas.microsoft.com/office/drawing/2014/main" xmlns="" id="{6BC516E6-56BF-449D-9738-4DFDB9A53875}"/>
              </a:ext>
            </a:extLst>
          </p:cNvPr>
          <p:cNvSpPr txBox="1"/>
          <p:nvPr/>
        </p:nvSpPr>
        <p:spPr>
          <a:xfrm>
            <a:off x="609601" y="1564520"/>
            <a:ext cx="33100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dirty="0">
                <a:solidFill>
                  <a:schemeClr val="accent1"/>
                </a:solidFill>
              </a:rPr>
              <a:t>S</a:t>
            </a:r>
          </a:p>
        </p:txBody>
      </p:sp>
      <p:sp>
        <p:nvSpPr>
          <p:cNvPr id="17" name="TextBox 48">
            <a:extLst>
              <a:ext uri="{FF2B5EF4-FFF2-40B4-BE49-F238E27FC236}">
                <a16:creationId xmlns:a16="http://schemas.microsoft.com/office/drawing/2014/main" xmlns="" id="{FC91C53D-D6CA-469E-BAFB-4BF19CFAE7D5}"/>
              </a:ext>
            </a:extLst>
          </p:cNvPr>
          <p:cNvSpPr txBox="1"/>
          <p:nvPr/>
        </p:nvSpPr>
        <p:spPr>
          <a:xfrm>
            <a:off x="609600" y="2156078"/>
            <a:ext cx="3365500" cy="12926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</a:t>
            </a:r>
          </a:p>
        </p:txBody>
      </p:sp>
      <p:sp>
        <p:nvSpPr>
          <p:cNvPr id="19" name="TextBox 50">
            <a:extLst>
              <a:ext uri="{FF2B5EF4-FFF2-40B4-BE49-F238E27FC236}">
                <a16:creationId xmlns:a16="http://schemas.microsoft.com/office/drawing/2014/main" xmlns="" id="{C733B344-2207-43AB-BA3A-1BFE8BEE0CDA}"/>
              </a:ext>
            </a:extLst>
          </p:cNvPr>
          <p:cNvSpPr txBox="1"/>
          <p:nvPr/>
        </p:nvSpPr>
        <p:spPr>
          <a:xfrm>
            <a:off x="609601" y="4104520"/>
            <a:ext cx="33100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dirty="0">
                <a:solidFill>
                  <a:schemeClr val="accent1"/>
                </a:solidFill>
              </a:rPr>
              <a:t>T</a:t>
            </a:r>
          </a:p>
        </p:txBody>
      </p:sp>
      <p:sp>
        <p:nvSpPr>
          <p:cNvPr id="20" name="TextBox 48">
            <a:extLst>
              <a:ext uri="{FF2B5EF4-FFF2-40B4-BE49-F238E27FC236}">
                <a16:creationId xmlns:a16="http://schemas.microsoft.com/office/drawing/2014/main" xmlns="" id="{294431A7-8ABB-468F-82D4-7ADC47473D6A}"/>
              </a:ext>
            </a:extLst>
          </p:cNvPr>
          <p:cNvSpPr txBox="1"/>
          <p:nvPr/>
        </p:nvSpPr>
        <p:spPr>
          <a:xfrm>
            <a:off x="609600" y="4696078"/>
            <a:ext cx="3365500" cy="12926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</a:t>
            </a:r>
          </a:p>
        </p:txBody>
      </p:sp>
      <p:sp>
        <p:nvSpPr>
          <p:cNvPr id="22" name="TextBox 50">
            <a:extLst>
              <a:ext uri="{FF2B5EF4-FFF2-40B4-BE49-F238E27FC236}">
                <a16:creationId xmlns:a16="http://schemas.microsoft.com/office/drawing/2014/main" xmlns="" id="{E2EF8702-0EB2-4A69-9BC1-1FF3B1892827}"/>
              </a:ext>
            </a:extLst>
          </p:cNvPr>
          <p:cNvSpPr txBox="1"/>
          <p:nvPr/>
        </p:nvSpPr>
        <p:spPr>
          <a:xfrm>
            <a:off x="8255001" y="1564520"/>
            <a:ext cx="33100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dirty="0">
                <a:solidFill>
                  <a:schemeClr val="accent1"/>
                </a:solidFill>
              </a:rPr>
              <a:t>W</a:t>
            </a:r>
          </a:p>
        </p:txBody>
      </p:sp>
      <p:sp>
        <p:nvSpPr>
          <p:cNvPr id="23" name="TextBox 48">
            <a:extLst>
              <a:ext uri="{FF2B5EF4-FFF2-40B4-BE49-F238E27FC236}">
                <a16:creationId xmlns:a16="http://schemas.microsoft.com/office/drawing/2014/main" xmlns="" id="{A533E6E6-2778-495F-A4E0-F89D56ACAE9F}"/>
              </a:ext>
            </a:extLst>
          </p:cNvPr>
          <p:cNvSpPr txBox="1"/>
          <p:nvPr/>
        </p:nvSpPr>
        <p:spPr>
          <a:xfrm>
            <a:off x="8255000" y="2156078"/>
            <a:ext cx="3365500" cy="12926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</a:t>
            </a:r>
          </a:p>
        </p:txBody>
      </p:sp>
      <p:sp>
        <p:nvSpPr>
          <p:cNvPr id="25" name="TextBox 50">
            <a:extLst>
              <a:ext uri="{FF2B5EF4-FFF2-40B4-BE49-F238E27FC236}">
                <a16:creationId xmlns:a16="http://schemas.microsoft.com/office/drawing/2014/main" xmlns="" id="{50A078A9-7C73-4D31-91F4-48F73AA33AD6}"/>
              </a:ext>
            </a:extLst>
          </p:cNvPr>
          <p:cNvSpPr txBox="1"/>
          <p:nvPr/>
        </p:nvSpPr>
        <p:spPr>
          <a:xfrm>
            <a:off x="8255001" y="4104520"/>
            <a:ext cx="33100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dirty="0">
                <a:solidFill>
                  <a:schemeClr val="accent1"/>
                </a:solidFill>
              </a:rPr>
              <a:t>O</a:t>
            </a:r>
          </a:p>
        </p:txBody>
      </p:sp>
      <p:sp>
        <p:nvSpPr>
          <p:cNvPr id="26" name="TextBox 48">
            <a:extLst>
              <a:ext uri="{FF2B5EF4-FFF2-40B4-BE49-F238E27FC236}">
                <a16:creationId xmlns:a16="http://schemas.microsoft.com/office/drawing/2014/main" xmlns="" id="{2FA7086D-9680-4451-8219-E77CA99EA213}"/>
              </a:ext>
            </a:extLst>
          </p:cNvPr>
          <p:cNvSpPr txBox="1"/>
          <p:nvPr/>
        </p:nvSpPr>
        <p:spPr>
          <a:xfrm>
            <a:off x="8255000" y="4696078"/>
            <a:ext cx="3365500" cy="12926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5251D165-0017-4093-BDBA-298E02D0FD19}"/>
              </a:ext>
            </a:extLst>
          </p:cNvPr>
          <p:cNvGrpSpPr/>
          <p:nvPr/>
        </p:nvGrpSpPr>
        <p:grpSpPr>
          <a:xfrm>
            <a:off x="4324470" y="1920568"/>
            <a:ext cx="3543061" cy="3543061"/>
            <a:chOff x="4324470" y="1920568"/>
            <a:chExt cx="3543061" cy="354306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F21D547A-48EC-4D20-A811-44094F5EF2C8}"/>
                </a:ext>
              </a:extLst>
            </p:cNvPr>
            <p:cNvGrpSpPr/>
            <p:nvPr/>
          </p:nvGrpSpPr>
          <p:grpSpPr>
            <a:xfrm>
              <a:off x="4324470" y="1920568"/>
              <a:ext cx="3543061" cy="3543061"/>
              <a:chOff x="4324470" y="1958276"/>
              <a:chExt cx="3543061" cy="3543061"/>
            </a:xfrm>
          </p:grpSpPr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xmlns="" id="{41E244A7-80B5-46AB-BE1B-226C6870F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955" y="1958276"/>
                <a:ext cx="2332108" cy="1385115"/>
              </a:xfrm>
              <a:custGeom>
                <a:avLst/>
                <a:gdLst>
                  <a:gd name="T0" fmla="*/ 1024 w 3108"/>
                  <a:gd name="T1" fmla="*/ 1177 h 1847"/>
                  <a:gd name="T2" fmla="*/ 1024 w 3108"/>
                  <a:gd name="T3" fmla="*/ 1176 h 1847"/>
                  <a:gd name="T4" fmla="*/ 3108 w 3108"/>
                  <a:gd name="T5" fmla="*/ 1176 h 1847"/>
                  <a:gd name="T6" fmla="*/ 1065 w 3108"/>
                  <a:gd name="T7" fmla="*/ 0 h 1847"/>
                  <a:gd name="T8" fmla="*/ 0 w 3108"/>
                  <a:gd name="T9" fmla="*/ 254 h 1847"/>
                  <a:gd name="T10" fmla="*/ 0 w 3108"/>
                  <a:gd name="T11" fmla="*/ 1847 h 1847"/>
                  <a:gd name="T12" fmla="*/ 1024 w 3108"/>
                  <a:gd name="T13" fmla="*/ 1177 h 1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08" h="1847">
                    <a:moveTo>
                      <a:pt x="1024" y="1177"/>
                    </a:moveTo>
                    <a:cubicBezTo>
                      <a:pt x="1024" y="1176"/>
                      <a:pt x="1024" y="1176"/>
                      <a:pt x="1024" y="1176"/>
                    </a:cubicBezTo>
                    <a:cubicBezTo>
                      <a:pt x="3108" y="1176"/>
                      <a:pt x="3108" y="1176"/>
                      <a:pt x="3108" y="1176"/>
                    </a:cubicBezTo>
                    <a:cubicBezTo>
                      <a:pt x="2699" y="473"/>
                      <a:pt x="1937" y="0"/>
                      <a:pt x="1065" y="0"/>
                    </a:cubicBezTo>
                    <a:cubicBezTo>
                      <a:pt x="682" y="0"/>
                      <a:pt x="320" y="91"/>
                      <a:pt x="0" y="254"/>
                    </a:cubicBezTo>
                    <a:cubicBezTo>
                      <a:pt x="0" y="1847"/>
                      <a:pt x="0" y="1847"/>
                      <a:pt x="0" y="1847"/>
                    </a:cubicBezTo>
                    <a:cubicBezTo>
                      <a:pt x="186" y="1463"/>
                      <a:pt x="572" y="1194"/>
                      <a:pt x="1024" y="117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xmlns="" id="{13958709-9299-4194-8A85-020339AB9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470" y="2195025"/>
                <a:ext cx="1387835" cy="2337550"/>
              </a:xfrm>
              <a:custGeom>
                <a:avLst/>
                <a:gdLst>
                  <a:gd name="T0" fmla="*/ 1178 w 1849"/>
                  <a:gd name="T1" fmla="*/ 2045 h 3114"/>
                  <a:gd name="T2" fmla="*/ 1178 w 1849"/>
                  <a:gd name="T3" fmla="*/ 0 h 3114"/>
                  <a:gd name="T4" fmla="*/ 0 w 1849"/>
                  <a:gd name="T5" fmla="*/ 2044 h 3114"/>
                  <a:gd name="T6" fmla="*/ 256 w 1849"/>
                  <a:gd name="T7" fmla="*/ 3114 h 3114"/>
                  <a:gd name="T8" fmla="*/ 1849 w 1849"/>
                  <a:gd name="T9" fmla="*/ 3114 h 3114"/>
                  <a:gd name="T10" fmla="*/ 1178 w 1849"/>
                  <a:gd name="T11" fmla="*/ 2045 h 3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9" h="3114">
                    <a:moveTo>
                      <a:pt x="1178" y="2045"/>
                    </a:moveTo>
                    <a:cubicBezTo>
                      <a:pt x="1178" y="0"/>
                      <a:pt x="1178" y="0"/>
                      <a:pt x="1178" y="0"/>
                    </a:cubicBezTo>
                    <a:cubicBezTo>
                      <a:pt x="473" y="409"/>
                      <a:pt x="0" y="1171"/>
                      <a:pt x="0" y="2044"/>
                    </a:cubicBezTo>
                    <a:cubicBezTo>
                      <a:pt x="0" y="2429"/>
                      <a:pt x="92" y="2793"/>
                      <a:pt x="256" y="3114"/>
                    </a:cubicBezTo>
                    <a:cubicBezTo>
                      <a:pt x="1849" y="3114"/>
                      <a:pt x="1849" y="3114"/>
                      <a:pt x="1849" y="3114"/>
                    </a:cubicBezTo>
                    <a:cubicBezTo>
                      <a:pt x="1452" y="2922"/>
                      <a:pt x="1178" y="2516"/>
                      <a:pt x="1178" y="204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xmlns="" id="{FC8B76BF-B79C-425C-B667-B99DF600B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5139" y="2927039"/>
                <a:ext cx="1382392" cy="2334828"/>
              </a:xfrm>
              <a:custGeom>
                <a:avLst/>
                <a:gdLst>
                  <a:gd name="T0" fmla="*/ 669 w 1842"/>
                  <a:gd name="T1" fmla="*/ 1010 h 3107"/>
                  <a:gd name="T2" fmla="*/ 671 w 1842"/>
                  <a:gd name="T3" fmla="*/ 1010 h 3107"/>
                  <a:gd name="T4" fmla="*/ 671 w 1842"/>
                  <a:gd name="T5" fmla="*/ 3107 h 3107"/>
                  <a:gd name="T6" fmla="*/ 1842 w 1842"/>
                  <a:gd name="T7" fmla="*/ 1068 h 3107"/>
                  <a:gd name="T8" fmla="*/ 1587 w 1842"/>
                  <a:gd name="T9" fmla="*/ 0 h 3107"/>
                  <a:gd name="T10" fmla="*/ 0 w 1842"/>
                  <a:gd name="T11" fmla="*/ 0 h 3107"/>
                  <a:gd name="T12" fmla="*/ 669 w 1842"/>
                  <a:gd name="T13" fmla="*/ 1010 h 3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2" h="3107">
                    <a:moveTo>
                      <a:pt x="669" y="1010"/>
                    </a:moveTo>
                    <a:cubicBezTo>
                      <a:pt x="671" y="1010"/>
                      <a:pt x="671" y="1010"/>
                      <a:pt x="671" y="1010"/>
                    </a:cubicBezTo>
                    <a:cubicBezTo>
                      <a:pt x="671" y="3107"/>
                      <a:pt x="671" y="3107"/>
                      <a:pt x="671" y="3107"/>
                    </a:cubicBezTo>
                    <a:cubicBezTo>
                      <a:pt x="1371" y="2698"/>
                      <a:pt x="1842" y="1938"/>
                      <a:pt x="1842" y="1068"/>
                    </a:cubicBezTo>
                    <a:cubicBezTo>
                      <a:pt x="1842" y="684"/>
                      <a:pt x="1750" y="321"/>
                      <a:pt x="15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0" y="184"/>
                      <a:pt x="647" y="565"/>
                      <a:pt x="669" y="101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xmlns="" id="{31C3B11B-1D65-4659-860B-D69271157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3940" y="4118945"/>
                <a:ext cx="2337550" cy="1382392"/>
              </a:xfrm>
              <a:custGeom>
                <a:avLst/>
                <a:gdLst>
                  <a:gd name="T0" fmla="*/ 2058 w 3113"/>
                  <a:gd name="T1" fmla="*/ 671 h 1844"/>
                  <a:gd name="T2" fmla="*/ 2058 w 3113"/>
                  <a:gd name="T3" fmla="*/ 671 h 1844"/>
                  <a:gd name="T4" fmla="*/ 0 w 3113"/>
                  <a:gd name="T5" fmla="*/ 671 h 1844"/>
                  <a:gd name="T6" fmla="*/ 2040 w 3113"/>
                  <a:gd name="T7" fmla="*/ 1844 h 1844"/>
                  <a:gd name="T8" fmla="*/ 3113 w 3113"/>
                  <a:gd name="T9" fmla="*/ 1587 h 1844"/>
                  <a:gd name="T10" fmla="*/ 3113 w 3113"/>
                  <a:gd name="T11" fmla="*/ 0 h 1844"/>
                  <a:gd name="T12" fmla="*/ 2058 w 3113"/>
                  <a:gd name="T13" fmla="*/ 671 h 1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3" h="1844">
                    <a:moveTo>
                      <a:pt x="2058" y="671"/>
                    </a:moveTo>
                    <a:cubicBezTo>
                      <a:pt x="2058" y="671"/>
                      <a:pt x="2058" y="671"/>
                      <a:pt x="2058" y="671"/>
                    </a:cubicBezTo>
                    <a:cubicBezTo>
                      <a:pt x="0" y="671"/>
                      <a:pt x="0" y="671"/>
                      <a:pt x="0" y="671"/>
                    </a:cubicBezTo>
                    <a:cubicBezTo>
                      <a:pt x="409" y="1373"/>
                      <a:pt x="1170" y="1844"/>
                      <a:pt x="2040" y="1844"/>
                    </a:cubicBezTo>
                    <a:cubicBezTo>
                      <a:pt x="2426" y="1844"/>
                      <a:pt x="2791" y="1752"/>
                      <a:pt x="3113" y="1587"/>
                    </a:cubicBezTo>
                    <a:cubicBezTo>
                      <a:pt x="3113" y="0"/>
                      <a:pt x="3113" y="0"/>
                      <a:pt x="3113" y="0"/>
                    </a:cubicBezTo>
                    <a:cubicBezTo>
                      <a:pt x="2923" y="393"/>
                      <a:pt x="2523" y="666"/>
                      <a:pt x="2058" y="67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7" name="Freeform 104">
              <a:extLst>
                <a:ext uri="{FF2B5EF4-FFF2-40B4-BE49-F238E27FC236}">
                  <a16:creationId xmlns:a16="http://schemas.microsoft.com/office/drawing/2014/main" xmlns="" id="{D7204DD3-31DD-464B-9AFC-F2F1D5A8D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780" y="3404618"/>
              <a:ext cx="572440" cy="574960"/>
            </a:xfrm>
            <a:custGeom>
              <a:avLst/>
              <a:gdLst>
                <a:gd name="T0" fmla="*/ 36 w 96"/>
                <a:gd name="T1" fmla="*/ 72 h 96"/>
                <a:gd name="T2" fmla="*/ 59 w 96"/>
                <a:gd name="T3" fmla="*/ 64 h 96"/>
                <a:gd name="T4" fmla="*/ 89 w 96"/>
                <a:gd name="T5" fmla="*/ 95 h 96"/>
                <a:gd name="T6" fmla="*/ 95 w 96"/>
                <a:gd name="T7" fmla="*/ 95 h 96"/>
                <a:gd name="T8" fmla="*/ 95 w 96"/>
                <a:gd name="T9" fmla="*/ 89 h 96"/>
                <a:gd name="T10" fmla="*/ 64 w 96"/>
                <a:gd name="T11" fmla="*/ 58 h 96"/>
                <a:gd name="T12" fmla="*/ 72 w 96"/>
                <a:gd name="T13" fmla="*/ 36 h 96"/>
                <a:gd name="T14" fmla="*/ 36 w 96"/>
                <a:gd name="T15" fmla="*/ 0 h 96"/>
                <a:gd name="T16" fmla="*/ 0 w 96"/>
                <a:gd name="T17" fmla="*/ 36 h 96"/>
                <a:gd name="T18" fmla="*/ 36 w 96"/>
                <a:gd name="T19" fmla="*/ 72 h 96"/>
                <a:gd name="T20" fmla="*/ 36 w 96"/>
                <a:gd name="T21" fmla="*/ 8 h 96"/>
                <a:gd name="T22" fmla="*/ 64 w 96"/>
                <a:gd name="T23" fmla="*/ 36 h 96"/>
                <a:gd name="T24" fmla="*/ 36 w 96"/>
                <a:gd name="T25" fmla="*/ 64 h 96"/>
                <a:gd name="T26" fmla="*/ 8 w 96"/>
                <a:gd name="T27" fmla="*/ 36 h 96"/>
                <a:gd name="T28" fmla="*/ 36 w 96"/>
                <a:gd name="T2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96">
                  <a:moveTo>
                    <a:pt x="36" y="72"/>
                  </a:moveTo>
                  <a:cubicBezTo>
                    <a:pt x="45" y="72"/>
                    <a:pt x="52" y="69"/>
                    <a:pt x="59" y="6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1" y="96"/>
                    <a:pt x="93" y="96"/>
                    <a:pt x="95" y="95"/>
                  </a:cubicBezTo>
                  <a:cubicBezTo>
                    <a:pt x="96" y="93"/>
                    <a:pt x="96" y="91"/>
                    <a:pt x="95" y="89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9" y="52"/>
                    <a:pt x="72" y="44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lose/>
                  <a:moveTo>
                    <a:pt x="36" y="8"/>
                  </a:moveTo>
                  <a:cubicBezTo>
                    <a:pt x="51" y="8"/>
                    <a:pt x="64" y="21"/>
                    <a:pt x="64" y="36"/>
                  </a:cubicBezTo>
                  <a:cubicBezTo>
                    <a:pt x="64" y="51"/>
                    <a:pt x="51" y="64"/>
                    <a:pt x="36" y="64"/>
                  </a:cubicBezTo>
                  <a:cubicBezTo>
                    <a:pt x="21" y="64"/>
                    <a:pt x="8" y="51"/>
                    <a:pt x="8" y="36"/>
                  </a:cubicBezTo>
                  <a:cubicBezTo>
                    <a:pt x="8" y="21"/>
                    <a:pt x="21" y="8"/>
                    <a:pt x="36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Freeform 200">
            <a:extLst>
              <a:ext uri="{FF2B5EF4-FFF2-40B4-BE49-F238E27FC236}">
                <a16:creationId xmlns:a16="http://schemas.microsoft.com/office/drawing/2014/main" xmlns="" id="{7A5D25D2-0432-40C6-9121-3F9933D910AF}"/>
              </a:ext>
            </a:extLst>
          </p:cNvPr>
          <p:cNvSpPr>
            <a:spLocks noEditPoints="1"/>
          </p:cNvSpPr>
          <p:nvPr/>
        </p:nvSpPr>
        <p:spPr bwMode="auto">
          <a:xfrm>
            <a:off x="4602163" y="3581400"/>
            <a:ext cx="334963" cy="309563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8DCDE953-5513-43B6-BC81-93E8C15E49F7}"/>
              </a:ext>
            </a:extLst>
          </p:cNvPr>
          <p:cNvGrpSpPr/>
          <p:nvPr/>
        </p:nvGrpSpPr>
        <p:grpSpPr>
          <a:xfrm>
            <a:off x="7235826" y="3463925"/>
            <a:ext cx="360363" cy="361950"/>
            <a:chOff x="8445501" y="1787525"/>
            <a:chExt cx="360363" cy="361950"/>
          </a:xfrm>
          <a:solidFill>
            <a:schemeClr val="bg1"/>
          </a:solidFill>
        </p:grpSpPr>
        <p:sp>
          <p:nvSpPr>
            <p:cNvPr id="32" name="Freeform 311">
              <a:extLst>
                <a:ext uri="{FF2B5EF4-FFF2-40B4-BE49-F238E27FC236}">
                  <a16:creationId xmlns:a16="http://schemas.microsoft.com/office/drawing/2014/main" xmlns="" id="{68157EF5-2A4B-49E2-8F19-007313D51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99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312">
              <a:extLst>
                <a:ext uri="{FF2B5EF4-FFF2-40B4-BE49-F238E27FC236}">
                  <a16:creationId xmlns:a16="http://schemas.microsoft.com/office/drawing/2014/main" xmlns="" id="{1F4B6D62-F7E1-4830-A198-A5D5E7BCC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1" y="1882775"/>
              <a:ext cx="134938" cy="190500"/>
            </a:xfrm>
            <a:custGeom>
              <a:avLst/>
              <a:gdLst>
                <a:gd name="T0" fmla="*/ 15 w 36"/>
                <a:gd name="T1" fmla="*/ 51 h 51"/>
                <a:gd name="T2" fmla="*/ 36 w 36"/>
                <a:gd name="T3" fmla="*/ 51 h 51"/>
                <a:gd name="T4" fmla="*/ 36 w 36"/>
                <a:gd name="T5" fmla="*/ 39 h 51"/>
                <a:gd name="T6" fmla="*/ 36 w 36"/>
                <a:gd name="T7" fmla="*/ 38 h 51"/>
                <a:gd name="T8" fmla="*/ 30 w 36"/>
                <a:gd name="T9" fmla="*/ 22 h 51"/>
                <a:gd name="T10" fmla="*/ 22 w 36"/>
                <a:gd name="T11" fmla="*/ 19 h 51"/>
                <a:gd name="T12" fmla="*/ 19 w 36"/>
                <a:gd name="T13" fmla="*/ 27 h 51"/>
                <a:gd name="T14" fmla="*/ 20 w 36"/>
                <a:gd name="T15" fmla="*/ 33 h 51"/>
                <a:gd name="T16" fmla="*/ 14 w 36"/>
                <a:gd name="T17" fmla="*/ 26 h 51"/>
                <a:gd name="T18" fmla="*/ 7 w 36"/>
                <a:gd name="T19" fmla="*/ 2 h 51"/>
                <a:gd name="T20" fmla="*/ 1 w 36"/>
                <a:gd name="T21" fmla="*/ 1 h 51"/>
                <a:gd name="T22" fmla="*/ 0 w 36"/>
                <a:gd name="T23" fmla="*/ 3 h 51"/>
                <a:gd name="T24" fmla="*/ 0 w 36"/>
                <a:gd name="T25" fmla="*/ 35 h 51"/>
                <a:gd name="T26" fmla="*/ 1 w 36"/>
                <a:gd name="T27" fmla="*/ 37 h 51"/>
                <a:gd name="T28" fmla="*/ 15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15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8"/>
                  </a:cubicBezTo>
                  <a:cubicBezTo>
                    <a:pt x="36" y="38"/>
                    <a:pt x="32" y="26"/>
                    <a:pt x="30" y="22"/>
                  </a:cubicBezTo>
                  <a:cubicBezTo>
                    <a:pt x="28" y="19"/>
                    <a:pt x="24" y="18"/>
                    <a:pt x="22" y="19"/>
                  </a:cubicBezTo>
                  <a:cubicBezTo>
                    <a:pt x="20" y="20"/>
                    <a:pt x="18" y="23"/>
                    <a:pt x="19" y="2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3"/>
                    <a:pt x="12" y="5"/>
                    <a:pt x="7" y="2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1" y="37"/>
                  </a:cubicBezTo>
                  <a:cubicBezTo>
                    <a:pt x="4" y="39"/>
                    <a:pt x="12" y="48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313">
              <a:extLst>
                <a:ext uri="{FF2B5EF4-FFF2-40B4-BE49-F238E27FC236}">
                  <a16:creationId xmlns:a16="http://schemas.microsoft.com/office/drawing/2014/main" xmlns="" id="{A2C27E12-5110-490D-80D3-9A239FD9A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314">
              <a:extLst>
                <a:ext uri="{FF2B5EF4-FFF2-40B4-BE49-F238E27FC236}">
                  <a16:creationId xmlns:a16="http://schemas.microsoft.com/office/drawing/2014/main" xmlns="" id="{661A0FD7-7EBA-4E6F-BCF2-3C791AB7B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926" y="1882775"/>
              <a:ext cx="134938" cy="190500"/>
            </a:xfrm>
            <a:custGeom>
              <a:avLst/>
              <a:gdLst>
                <a:gd name="T0" fmla="*/ 35 w 36"/>
                <a:gd name="T1" fmla="*/ 1 h 51"/>
                <a:gd name="T2" fmla="*/ 29 w 36"/>
                <a:gd name="T3" fmla="*/ 2 h 51"/>
                <a:gd name="T4" fmla="*/ 22 w 36"/>
                <a:gd name="T5" fmla="*/ 26 h 51"/>
                <a:gd name="T6" fmla="*/ 16 w 36"/>
                <a:gd name="T7" fmla="*/ 33 h 51"/>
                <a:gd name="T8" fmla="*/ 17 w 36"/>
                <a:gd name="T9" fmla="*/ 27 h 51"/>
                <a:gd name="T10" fmla="*/ 14 w 36"/>
                <a:gd name="T11" fmla="*/ 19 h 51"/>
                <a:gd name="T12" fmla="*/ 6 w 36"/>
                <a:gd name="T13" fmla="*/ 22 h 51"/>
                <a:gd name="T14" fmla="*/ 0 w 36"/>
                <a:gd name="T15" fmla="*/ 38 h 51"/>
                <a:gd name="T16" fmla="*/ 0 w 36"/>
                <a:gd name="T17" fmla="*/ 39 h 51"/>
                <a:gd name="T18" fmla="*/ 0 w 36"/>
                <a:gd name="T19" fmla="*/ 51 h 51"/>
                <a:gd name="T20" fmla="*/ 21 w 36"/>
                <a:gd name="T21" fmla="*/ 51 h 51"/>
                <a:gd name="T22" fmla="*/ 35 w 36"/>
                <a:gd name="T23" fmla="*/ 36 h 51"/>
                <a:gd name="T24" fmla="*/ 36 w 36"/>
                <a:gd name="T25" fmla="*/ 35 h 51"/>
                <a:gd name="T26" fmla="*/ 36 w 36"/>
                <a:gd name="T27" fmla="*/ 3 h 51"/>
                <a:gd name="T28" fmla="*/ 35 w 36"/>
                <a:gd name="T29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5" y="1"/>
                  </a:moveTo>
                  <a:cubicBezTo>
                    <a:pt x="34" y="1"/>
                    <a:pt x="32" y="0"/>
                    <a:pt x="29" y="2"/>
                  </a:cubicBezTo>
                  <a:cubicBezTo>
                    <a:pt x="24" y="5"/>
                    <a:pt x="22" y="13"/>
                    <a:pt x="22" y="2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3"/>
                    <a:pt x="16" y="20"/>
                    <a:pt x="14" y="19"/>
                  </a:cubicBezTo>
                  <a:cubicBezTo>
                    <a:pt x="12" y="18"/>
                    <a:pt x="8" y="19"/>
                    <a:pt x="6" y="22"/>
                  </a:cubicBezTo>
                  <a:cubicBezTo>
                    <a:pt x="4" y="26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48"/>
                    <a:pt x="33" y="39"/>
                    <a:pt x="35" y="36"/>
                  </a:cubicBezTo>
                  <a:cubicBezTo>
                    <a:pt x="36" y="36"/>
                    <a:pt x="36" y="36"/>
                    <a:pt x="36" y="3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1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15">
              <a:extLst>
                <a:ext uri="{FF2B5EF4-FFF2-40B4-BE49-F238E27FC236}">
                  <a16:creationId xmlns:a16="http://schemas.microsoft.com/office/drawing/2014/main" xmlns="" id="{8434E7E1-6282-495E-98B5-DABADB5F5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1863725"/>
              <a:ext cx="52388" cy="82550"/>
            </a:xfrm>
            <a:custGeom>
              <a:avLst/>
              <a:gdLst>
                <a:gd name="T0" fmla="*/ 33 w 33"/>
                <a:gd name="T1" fmla="*/ 0 h 52"/>
                <a:gd name="T2" fmla="*/ 0 w 33"/>
                <a:gd name="T3" fmla="*/ 0 h 52"/>
                <a:gd name="T4" fmla="*/ 16 w 33"/>
                <a:gd name="T5" fmla="*/ 52 h 52"/>
                <a:gd name="T6" fmla="*/ 33 w 33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2">
                  <a:moveTo>
                    <a:pt x="33" y="0"/>
                  </a:moveTo>
                  <a:lnTo>
                    <a:pt x="0" y="0"/>
                  </a:lnTo>
                  <a:lnTo>
                    <a:pt x="16" y="52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316">
              <a:extLst>
                <a:ext uri="{FF2B5EF4-FFF2-40B4-BE49-F238E27FC236}">
                  <a16:creationId xmlns:a16="http://schemas.microsoft.com/office/drawing/2014/main" xmlns="" id="{7807666C-5E5B-418B-8272-8AD54AA40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795463"/>
              <a:ext cx="53975" cy="52388"/>
            </a:xfrm>
            <a:custGeom>
              <a:avLst/>
              <a:gdLst>
                <a:gd name="T0" fmla="*/ 34 w 34"/>
                <a:gd name="T1" fmla="*/ 33 h 33"/>
                <a:gd name="T2" fmla="*/ 26 w 34"/>
                <a:gd name="T3" fmla="*/ 0 h 33"/>
                <a:gd name="T4" fmla="*/ 0 w 34"/>
                <a:gd name="T5" fmla="*/ 33 h 33"/>
                <a:gd name="T6" fmla="*/ 34 w 34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33">
                  <a:moveTo>
                    <a:pt x="34" y="33"/>
                  </a:moveTo>
                  <a:lnTo>
                    <a:pt x="26" y="0"/>
                  </a:lnTo>
                  <a:lnTo>
                    <a:pt x="0" y="33"/>
                  </a:lnTo>
                  <a:lnTo>
                    <a:pt x="3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17">
              <a:extLst>
                <a:ext uri="{FF2B5EF4-FFF2-40B4-BE49-F238E27FC236}">
                  <a16:creationId xmlns:a16="http://schemas.microsoft.com/office/drawing/2014/main" xmlns="" id="{12A477F8-7CC4-4279-95E2-9D26035E8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0438" y="1787525"/>
              <a:ext cx="90488" cy="60325"/>
            </a:xfrm>
            <a:custGeom>
              <a:avLst/>
              <a:gdLst>
                <a:gd name="T0" fmla="*/ 0 w 57"/>
                <a:gd name="T1" fmla="*/ 0 h 38"/>
                <a:gd name="T2" fmla="*/ 7 w 57"/>
                <a:gd name="T3" fmla="*/ 38 h 38"/>
                <a:gd name="T4" fmla="*/ 47 w 57"/>
                <a:gd name="T5" fmla="*/ 38 h 38"/>
                <a:gd name="T6" fmla="*/ 57 w 57"/>
                <a:gd name="T7" fmla="*/ 0 h 38"/>
                <a:gd name="T8" fmla="*/ 0 w 5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8">
                  <a:moveTo>
                    <a:pt x="0" y="0"/>
                  </a:moveTo>
                  <a:lnTo>
                    <a:pt x="7" y="38"/>
                  </a:lnTo>
                  <a:lnTo>
                    <a:pt x="47" y="38"/>
                  </a:lnTo>
                  <a:lnTo>
                    <a:pt x="5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18">
              <a:extLst>
                <a:ext uri="{FF2B5EF4-FFF2-40B4-BE49-F238E27FC236}">
                  <a16:creationId xmlns:a16="http://schemas.microsoft.com/office/drawing/2014/main" xmlns="" id="{474B568D-F4D7-4FFB-985D-57D39BB7E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2826" y="1863725"/>
              <a:ext cx="93663" cy="104775"/>
            </a:xfrm>
            <a:custGeom>
              <a:avLst/>
              <a:gdLst>
                <a:gd name="T0" fmla="*/ 21 w 59"/>
                <a:gd name="T1" fmla="*/ 0 h 66"/>
                <a:gd name="T2" fmla="*/ 0 w 59"/>
                <a:gd name="T3" fmla="*/ 66 h 66"/>
                <a:gd name="T4" fmla="*/ 0 w 59"/>
                <a:gd name="T5" fmla="*/ 66 h 66"/>
                <a:gd name="T6" fmla="*/ 59 w 59"/>
                <a:gd name="T7" fmla="*/ 0 h 66"/>
                <a:gd name="T8" fmla="*/ 21 w 59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6">
                  <a:moveTo>
                    <a:pt x="21" y="0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59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19">
              <a:extLst>
                <a:ext uri="{FF2B5EF4-FFF2-40B4-BE49-F238E27FC236}">
                  <a16:creationId xmlns:a16="http://schemas.microsoft.com/office/drawing/2014/main" xmlns="" id="{B434E5D1-B9BF-4361-8530-08DBC2229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4101" y="1795463"/>
              <a:ext cx="52388" cy="52388"/>
            </a:xfrm>
            <a:custGeom>
              <a:avLst/>
              <a:gdLst>
                <a:gd name="T0" fmla="*/ 0 w 33"/>
                <a:gd name="T1" fmla="*/ 33 h 33"/>
                <a:gd name="T2" fmla="*/ 33 w 33"/>
                <a:gd name="T3" fmla="*/ 33 h 33"/>
                <a:gd name="T4" fmla="*/ 7 w 33"/>
                <a:gd name="T5" fmla="*/ 0 h 33"/>
                <a:gd name="T6" fmla="*/ 0 w 33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320">
              <a:extLst>
                <a:ext uri="{FF2B5EF4-FFF2-40B4-BE49-F238E27FC236}">
                  <a16:creationId xmlns:a16="http://schemas.microsoft.com/office/drawing/2014/main" xmlns="" id="{97FCC8AB-21D3-4720-B6AC-94B9B5A83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863725"/>
              <a:ext cx="95250" cy="107950"/>
            </a:xfrm>
            <a:custGeom>
              <a:avLst/>
              <a:gdLst>
                <a:gd name="T0" fmla="*/ 60 w 60"/>
                <a:gd name="T1" fmla="*/ 66 h 68"/>
                <a:gd name="T2" fmla="*/ 36 w 60"/>
                <a:gd name="T3" fmla="*/ 0 h 68"/>
                <a:gd name="T4" fmla="*/ 0 w 60"/>
                <a:gd name="T5" fmla="*/ 0 h 68"/>
                <a:gd name="T6" fmla="*/ 60 w 60"/>
                <a:gd name="T7" fmla="*/ 68 h 68"/>
                <a:gd name="T8" fmla="*/ 60 w 60"/>
                <a:gd name="T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8">
                  <a:moveTo>
                    <a:pt x="60" y="66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60" y="68"/>
                  </a:lnTo>
                  <a:lnTo>
                    <a:pt x="6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2" name="Freeform 21">
            <a:extLst>
              <a:ext uri="{FF2B5EF4-FFF2-40B4-BE49-F238E27FC236}">
                <a16:creationId xmlns:a16="http://schemas.microsoft.com/office/drawing/2014/main" xmlns="" id="{05D1DCCD-0F64-4DB9-BF41-65186BC9CFE6}"/>
              </a:ext>
            </a:extLst>
          </p:cNvPr>
          <p:cNvSpPr>
            <a:spLocks noEditPoints="1"/>
          </p:cNvSpPr>
          <p:nvPr/>
        </p:nvSpPr>
        <p:spPr bwMode="auto">
          <a:xfrm>
            <a:off x="5942012" y="4876496"/>
            <a:ext cx="346075" cy="347663"/>
          </a:xfrm>
          <a:custGeom>
            <a:avLst/>
            <a:gdLst>
              <a:gd name="T0" fmla="*/ 47 w 92"/>
              <a:gd name="T1" fmla="*/ 0 h 92"/>
              <a:gd name="T2" fmla="*/ 46 w 92"/>
              <a:gd name="T3" fmla="*/ 0 h 92"/>
              <a:gd name="T4" fmla="*/ 13 w 92"/>
              <a:gd name="T5" fmla="*/ 14 h 92"/>
              <a:gd name="T6" fmla="*/ 0 w 92"/>
              <a:gd name="T7" fmla="*/ 47 h 92"/>
              <a:gd name="T8" fmla="*/ 45 w 92"/>
              <a:gd name="T9" fmla="*/ 92 h 92"/>
              <a:gd name="T10" fmla="*/ 46 w 92"/>
              <a:gd name="T11" fmla="*/ 92 h 92"/>
              <a:gd name="T12" fmla="*/ 92 w 92"/>
              <a:gd name="T13" fmla="*/ 45 h 92"/>
              <a:gd name="T14" fmla="*/ 47 w 92"/>
              <a:gd name="T15" fmla="*/ 0 h 92"/>
              <a:gd name="T16" fmla="*/ 44 w 92"/>
              <a:gd name="T17" fmla="*/ 24 h 92"/>
              <a:gd name="T18" fmla="*/ 46 w 92"/>
              <a:gd name="T19" fmla="*/ 22 h 92"/>
              <a:gd name="T20" fmla="*/ 48 w 92"/>
              <a:gd name="T21" fmla="*/ 24 h 92"/>
              <a:gd name="T22" fmla="*/ 48 w 92"/>
              <a:gd name="T23" fmla="*/ 52 h 92"/>
              <a:gd name="T24" fmla="*/ 46 w 92"/>
              <a:gd name="T25" fmla="*/ 54 h 92"/>
              <a:gd name="T26" fmla="*/ 44 w 92"/>
              <a:gd name="T27" fmla="*/ 52 h 92"/>
              <a:gd name="T28" fmla="*/ 44 w 92"/>
              <a:gd name="T29" fmla="*/ 24 h 92"/>
              <a:gd name="T30" fmla="*/ 46 w 92"/>
              <a:gd name="T31" fmla="*/ 70 h 92"/>
              <a:gd name="T32" fmla="*/ 46 w 92"/>
              <a:gd name="T33" fmla="*/ 70 h 92"/>
              <a:gd name="T34" fmla="*/ 42 w 92"/>
              <a:gd name="T35" fmla="*/ 66 h 92"/>
              <a:gd name="T36" fmla="*/ 46 w 92"/>
              <a:gd name="T37" fmla="*/ 62 h 92"/>
              <a:gd name="T38" fmla="*/ 46 w 92"/>
              <a:gd name="T39" fmla="*/ 62 h 92"/>
              <a:gd name="T40" fmla="*/ 50 w 92"/>
              <a:gd name="T41" fmla="*/ 66 h 92"/>
              <a:gd name="T42" fmla="*/ 46 w 92"/>
              <a:gd name="T43" fmla="*/ 7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2" h="92">
                <a:moveTo>
                  <a:pt x="47" y="0"/>
                </a:moveTo>
                <a:cubicBezTo>
                  <a:pt x="46" y="0"/>
                  <a:pt x="46" y="0"/>
                  <a:pt x="46" y="0"/>
                </a:cubicBezTo>
                <a:cubicBezTo>
                  <a:pt x="34" y="0"/>
                  <a:pt x="22" y="5"/>
                  <a:pt x="13" y="14"/>
                </a:cubicBezTo>
                <a:cubicBezTo>
                  <a:pt x="5" y="23"/>
                  <a:pt x="0" y="35"/>
                  <a:pt x="0" y="47"/>
                </a:cubicBezTo>
                <a:cubicBezTo>
                  <a:pt x="0" y="72"/>
                  <a:pt x="20" y="92"/>
                  <a:pt x="45" y="92"/>
                </a:cubicBezTo>
                <a:cubicBezTo>
                  <a:pt x="46" y="92"/>
                  <a:pt x="46" y="92"/>
                  <a:pt x="46" y="92"/>
                </a:cubicBezTo>
                <a:cubicBezTo>
                  <a:pt x="72" y="92"/>
                  <a:pt x="92" y="71"/>
                  <a:pt x="92" y="45"/>
                </a:cubicBezTo>
                <a:cubicBezTo>
                  <a:pt x="92" y="20"/>
                  <a:pt x="72" y="0"/>
                  <a:pt x="47" y="0"/>
                </a:cubicBezTo>
                <a:close/>
                <a:moveTo>
                  <a:pt x="44" y="24"/>
                </a:moveTo>
                <a:cubicBezTo>
                  <a:pt x="44" y="23"/>
                  <a:pt x="45" y="22"/>
                  <a:pt x="46" y="22"/>
                </a:cubicBezTo>
                <a:cubicBezTo>
                  <a:pt x="47" y="22"/>
                  <a:pt x="48" y="23"/>
                  <a:pt x="48" y="24"/>
                </a:cubicBezTo>
                <a:cubicBezTo>
                  <a:pt x="48" y="52"/>
                  <a:pt x="48" y="52"/>
                  <a:pt x="48" y="52"/>
                </a:cubicBezTo>
                <a:cubicBezTo>
                  <a:pt x="48" y="53"/>
                  <a:pt x="47" y="54"/>
                  <a:pt x="46" y="54"/>
                </a:cubicBezTo>
                <a:cubicBezTo>
                  <a:pt x="45" y="54"/>
                  <a:pt x="44" y="53"/>
                  <a:pt x="44" y="52"/>
                </a:cubicBezTo>
                <a:lnTo>
                  <a:pt x="44" y="24"/>
                </a:lnTo>
                <a:close/>
                <a:moveTo>
                  <a:pt x="46" y="70"/>
                </a:moveTo>
                <a:cubicBezTo>
                  <a:pt x="46" y="70"/>
                  <a:pt x="46" y="70"/>
                  <a:pt x="46" y="70"/>
                </a:cubicBezTo>
                <a:cubicBezTo>
                  <a:pt x="44" y="70"/>
                  <a:pt x="42" y="68"/>
                  <a:pt x="42" y="66"/>
                </a:cubicBezTo>
                <a:cubicBezTo>
                  <a:pt x="42" y="64"/>
                  <a:pt x="44" y="62"/>
                  <a:pt x="46" y="62"/>
                </a:cubicBezTo>
                <a:cubicBezTo>
                  <a:pt x="46" y="62"/>
                  <a:pt x="46" y="62"/>
                  <a:pt x="46" y="62"/>
                </a:cubicBezTo>
                <a:cubicBezTo>
                  <a:pt x="48" y="62"/>
                  <a:pt x="50" y="64"/>
                  <a:pt x="50" y="66"/>
                </a:cubicBezTo>
                <a:cubicBezTo>
                  <a:pt x="50" y="68"/>
                  <a:pt x="48" y="70"/>
                  <a:pt x="46" y="7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xmlns="" id="{65247569-9256-4F3D-8E97-52B166CCBF15}"/>
              </a:ext>
            </a:extLst>
          </p:cNvPr>
          <p:cNvGrpSpPr/>
          <p:nvPr/>
        </p:nvGrpSpPr>
        <p:grpSpPr>
          <a:xfrm>
            <a:off x="5900738" y="2209800"/>
            <a:ext cx="360363" cy="314325"/>
            <a:chOff x="4833938" y="19050"/>
            <a:chExt cx="360363" cy="314325"/>
          </a:xfrm>
          <a:solidFill>
            <a:schemeClr val="bg1"/>
          </a:solidFill>
        </p:grpSpPr>
        <p:sp>
          <p:nvSpPr>
            <p:cNvPr id="44" name="Freeform 61">
              <a:extLst>
                <a:ext uri="{FF2B5EF4-FFF2-40B4-BE49-F238E27FC236}">
                  <a16:creationId xmlns:a16="http://schemas.microsoft.com/office/drawing/2014/main" xmlns="" id="{65A211B8-C4EF-48B7-AE76-62F797D5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19050"/>
              <a:ext cx="263525" cy="314325"/>
            </a:xfrm>
            <a:custGeom>
              <a:avLst/>
              <a:gdLst>
                <a:gd name="T0" fmla="*/ 68 w 70"/>
                <a:gd name="T1" fmla="*/ 7 h 84"/>
                <a:gd name="T2" fmla="*/ 55 w 70"/>
                <a:gd name="T3" fmla="*/ 3 h 84"/>
                <a:gd name="T4" fmla="*/ 42 w 70"/>
                <a:gd name="T5" fmla="*/ 0 h 84"/>
                <a:gd name="T6" fmla="*/ 20 w 70"/>
                <a:gd name="T7" fmla="*/ 0 h 84"/>
                <a:gd name="T8" fmla="*/ 12 w 70"/>
                <a:gd name="T9" fmla="*/ 8 h 84"/>
                <a:gd name="T10" fmla="*/ 13 w 70"/>
                <a:gd name="T11" fmla="*/ 13 h 84"/>
                <a:gd name="T12" fmla="*/ 8 w 70"/>
                <a:gd name="T13" fmla="*/ 20 h 84"/>
                <a:gd name="T14" fmla="*/ 9 w 70"/>
                <a:gd name="T15" fmla="*/ 25 h 84"/>
                <a:gd name="T16" fmla="*/ 4 w 70"/>
                <a:gd name="T17" fmla="*/ 32 h 84"/>
                <a:gd name="T18" fmla="*/ 5 w 70"/>
                <a:gd name="T19" fmla="*/ 37 h 84"/>
                <a:gd name="T20" fmla="*/ 0 w 70"/>
                <a:gd name="T21" fmla="*/ 44 h 84"/>
                <a:gd name="T22" fmla="*/ 8 w 70"/>
                <a:gd name="T23" fmla="*/ 52 h 84"/>
                <a:gd name="T24" fmla="*/ 33 w 70"/>
                <a:gd name="T25" fmla="*/ 52 h 84"/>
                <a:gd name="T26" fmla="*/ 30 w 70"/>
                <a:gd name="T27" fmla="*/ 74 h 84"/>
                <a:gd name="T28" fmla="*/ 39 w 70"/>
                <a:gd name="T29" fmla="*/ 84 h 84"/>
                <a:gd name="T30" fmla="*/ 46 w 70"/>
                <a:gd name="T31" fmla="*/ 77 h 84"/>
                <a:gd name="T32" fmla="*/ 68 w 70"/>
                <a:gd name="T33" fmla="*/ 45 h 84"/>
                <a:gd name="T34" fmla="*/ 70 w 70"/>
                <a:gd name="T35" fmla="*/ 43 h 84"/>
                <a:gd name="T36" fmla="*/ 70 w 70"/>
                <a:gd name="T37" fmla="*/ 9 h 84"/>
                <a:gd name="T38" fmla="*/ 68 w 70"/>
                <a:gd name="T39" fmla="*/ 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4">
                  <a:moveTo>
                    <a:pt x="68" y="7"/>
                  </a:moveTo>
                  <a:cubicBezTo>
                    <a:pt x="62" y="6"/>
                    <a:pt x="58" y="5"/>
                    <a:pt x="55" y="3"/>
                  </a:cubicBezTo>
                  <a:cubicBezTo>
                    <a:pt x="52" y="2"/>
                    <a:pt x="48" y="0"/>
                    <a:pt x="4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2" y="4"/>
                    <a:pt x="12" y="8"/>
                  </a:cubicBezTo>
                  <a:cubicBezTo>
                    <a:pt x="12" y="10"/>
                    <a:pt x="12" y="11"/>
                    <a:pt x="13" y="13"/>
                  </a:cubicBezTo>
                  <a:cubicBezTo>
                    <a:pt x="10" y="14"/>
                    <a:pt x="8" y="17"/>
                    <a:pt x="8" y="20"/>
                  </a:cubicBezTo>
                  <a:cubicBezTo>
                    <a:pt x="8" y="22"/>
                    <a:pt x="8" y="23"/>
                    <a:pt x="9" y="25"/>
                  </a:cubicBezTo>
                  <a:cubicBezTo>
                    <a:pt x="6" y="26"/>
                    <a:pt x="4" y="29"/>
                    <a:pt x="4" y="32"/>
                  </a:cubicBezTo>
                  <a:cubicBezTo>
                    <a:pt x="4" y="34"/>
                    <a:pt x="4" y="35"/>
                    <a:pt x="5" y="37"/>
                  </a:cubicBezTo>
                  <a:cubicBezTo>
                    <a:pt x="2" y="38"/>
                    <a:pt x="0" y="41"/>
                    <a:pt x="0" y="44"/>
                  </a:cubicBezTo>
                  <a:cubicBezTo>
                    <a:pt x="0" y="49"/>
                    <a:pt x="4" y="52"/>
                    <a:pt x="8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2" y="57"/>
                    <a:pt x="28" y="68"/>
                    <a:pt x="30" y="74"/>
                  </a:cubicBezTo>
                  <a:cubicBezTo>
                    <a:pt x="33" y="83"/>
                    <a:pt x="38" y="84"/>
                    <a:pt x="39" y="84"/>
                  </a:cubicBezTo>
                  <a:cubicBezTo>
                    <a:pt x="43" y="84"/>
                    <a:pt x="46" y="81"/>
                    <a:pt x="46" y="77"/>
                  </a:cubicBezTo>
                  <a:cubicBezTo>
                    <a:pt x="46" y="64"/>
                    <a:pt x="58" y="45"/>
                    <a:pt x="68" y="45"/>
                  </a:cubicBezTo>
                  <a:cubicBezTo>
                    <a:pt x="69" y="45"/>
                    <a:pt x="70" y="44"/>
                    <a:pt x="70" y="43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8"/>
                    <a:pt x="69" y="7"/>
                    <a:pt x="6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62">
              <a:extLst>
                <a:ext uri="{FF2B5EF4-FFF2-40B4-BE49-F238E27FC236}">
                  <a16:creationId xmlns:a16="http://schemas.microsoft.com/office/drawing/2014/main" xmlns="" id="{7CE9425A-E6C3-4631-935D-53B5489FB7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3813" y="19050"/>
              <a:ext cx="90488" cy="179388"/>
            </a:xfrm>
            <a:custGeom>
              <a:avLst/>
              <a:gdLst>
                <a:gd name="T0" fmla="*/ 22 w 24"/>
                <a:gd name="T1" fmla="*/ 0 h 48"/>
                <a:gd name="T2" fmla="*/ 2 w 24"/>
                <a:gd name="T3" fmla="*/ 0 h 48"/>
                <a:gd name="T4" fmla="*/ 0 w 24"/>
                <a:gd name="T5" fmla="*/ 2 h 48"/>
                <a:gd name="T6" fmla="*/ 0 w 24"/>
                <a:gd name="T7" fmla="*/ 46 h 48"/>
                <a:gd name="T8" fmla="*/ 2 w 24"/>
                <a:gd name="T9" fmla="*/ 48 h 48"/>
                <a:gd name="T10" fmla="*/ 22 w 24"/>
                <a:gd name="T11" fmla="*/ 48 h 48"/>
                <a:gd name="T12" fmla="*/ 24 w 24"/>
                <a:gd name="T13" fmla="*/ 46 h 48"/>
                <a:gd name="T14" fmla="*/ 24 w 24"/>
                <a:gd name="T15" fmla="*/ 2 h 48"/>
                <a:gd name="T16" fmla="*/ 22 w 24"/>
                <a:gd name="T17" fmla="*/ 0 h 48"/>
                <a:gd name="T18" fmla="*/ 10 w 24"/>
                <a:gd name="T19" fmla="*/ 11 h 48"/>
                <a:gd name="T20" fmla="*/ 8 w 24"/>
                <a:gd name="T21" fmla="*/ 9 h 48"/>
                <a:gd name="T22" fmla="*/ 10 w 24"/>
                <a:gd name="T23" fmla="*/ 7 h 48"/>
                <a:gd name="T24" fmla="*/ 12 w 24"/>
                <a:gd name="T25" fmla="*/ 9 h 48"/>
                <a:gd name="T26" fmla="*/ 10 w 24"/>
                <a:gd name="T27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48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1" y="48"/>
                    <a:pt x="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3" y="48"/>
                    <a:pt x="24" y="47"/>
                    <a:pt x="24" y="46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  <a:moveTo>
                    <a:pt x="10" y="11"/>
                  </a:moveTo>
                  <a:cubicBezTo>
                    <a:pt x="9" y="11"/>
                    <a:pt x="8" y="10"/>
                    <a:pt x="8" y="9"/>
                  </a:cubicBezTo>
                  <a:cubicBezTo>
                    <a:pt x="8" y="8"/>
                    <a:pt x="9" y="7"/>
                    <a:pt x="10" y="7"/>
                  </a:cubicBezTo>
                  <a:cubicBezTo>
                    <a:pt x="11" y="7"/>
                    <a:pt x="12" y="8"/>
                    <a:pt x="12" y="9"/>
                  </a:cubicBezTo>
                  <a:cubicBezTo>
                    <a:pt x="12" y="10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30783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xmlns="" id="{549725CA-6A81-485E-AAE4-AC37F7F2DC2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3910" r="15865" b="18380"/>
          <a:stretch/>
        </p:blipFill>
        <p:spPr>
          <a:xfrm>
            <a:off x="7529759" y="0"/>
            <a:ext cx="4052641" cy="59944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6FFE696D-E3D3-4C12-958D-9FA7D0326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dirty="0"/>
              <a:t>Marketing Pla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BA3E0C1-2193-468B-9D0E-F3697EDB27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F52CF61-077A-4E0F-9A15-475A68F79712}"/>
              </a:ext>
            </a:extLst>
          </p:cNvPr>
          <p:cNvSpPr/>
          <p:nvPr/>
        </p:nvSpPr>
        <p:spPr>
          <a:xfrm>
            <a:off x="7529759" y="1"/>
            <a:ext cx="4052641" cy="5994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34">
            <a:extLst>
              <a:ext uri="{FF2B5EF4-FFF2-40B4-BE49-F238E27FC236}">
                <a16:creationId xmlns:a16="http://schemas.microsoft.com/office/drawing/2014/main" xmlns="" id="{A322540C-0C4C-4027-9F35-788FABE150D7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5693BCE-BAC8-4F1C-9CE9-ABE2B81506E0}"/>
              </a:ext>
            </a:extLst>
          </p:cNvPr>
          <p:cNvSpPr/>
          <p:nvPr/>
        </p:nvSpPr>
        <p:spPr>
          <a:xfrm>
            <a:off x="0" y="1891740"/>
            <a:ext cx="9231086" cy="35414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68A391D6-2707-4A9C-B5E3-975E6CBEEADE}"/>
              </a:ext>
            </a:extLst>
          </p:cNvPr>
          <p:cNvGrpSpPr/>
          <p:nvPr/>
        </p:nvGrpSpPr>
        <p:grpSpPr>
          <a:xfrm>
            <a:off x="6151768" y="2610004"/>
            <a:ext cx="476479" cy="352637"/>
            <a:chOff x="4113213" y="2209801"/>
            <a:chExt cx="360362" cy="266700"/>
          </a:xfr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</p:grpSpPr>
        <p:sp>
          <p:nvSpPr>
            <p:cNvPr id="16" name="Freeform 31">
              <a:extLst>
                <a:ext uri="{FF2B5EF4-FFF2-40B4-BE49-F238E27FC236}">
                  <a16:creationId xmlns:a16="http://schemas.microsoft.com/office/drawing/2014/main" xmlns="" id="{0D79F006-21B5-4034-ABFB-BF1D2EBB3E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2268538"/>
              <a:ext cx="112713" cy="150813"/>
            </a:xfrm>
            <a:custGeom>
              <a:avLst/>
              <a:gdLst>
                <a:gd name="T0" fmla="*/ 30 w 30"/>
                <a:gd name="T1" fmla="*/ 31 h 40"/>
                <a:gd name="T2" fmla="*/ 30 w 30"/>
                <a:gd name="T3" fmla="*/ 2 h 40"/>
                <a:gd name="T4" fmla="*/ 28 w 30"/>
                <a:gd name="T5" fmla="*/ 0 h 40"/>
                <a:gd name="T6" fmla="*/ 18 w 30"/>
                <a:gd name="T7" fmla="*/ 0 h 40"/>
                <a:gd name="T8" fmla="*/ 0 w 30"/>
                <a:gd name="T9" fmla="*/ 18 h 40"/>
                <a:gd name="T10" fmla="*/ 0 w 30"/>
                <a:gd name="T11" fmla="*/ 38 h 40"/>
                <a:gd name="T12" fmla="*/ 2 w 30"/>
                <a:gd name="T13" fmla="*/ 40 h 40"/>
                <a:gd name="T14" fmla="*/ 20 w 30"/>
                <a:gd name="T15" fmla="*/ 40 h 40"/>
                <a:gd name="T16" fmla="*/ 30 w 30"/>
                <a:gd name="T17" fmla="*/ 31 h 40"/>
                <a:gd name="T18" fmla="*/ 20 w 30"/>
                <a:gd name="T19" fmla="*/ 12 h 40"/>
                <a:gd name="T20" fmla="*/ 14 w 30"/>
                <a:gd name="T21" fmla="*/ 12 h 40"/>
                <a:gd name="T22" fmla="*/ 12 w 30"/>
                <a:gd name="T23" fmla="*/ 14 h 40"/>
                <a:gd name="T24" fmla="*/ 12 w 30"/>
                <a:gd name="T25" fmla="*/ 20 h 40"/>
                <a:gd name="T26" fmla="*/ 10 w 30"/>
                <a:gd name="T27" fmla="*/ 22 h 40"/>
                <a:gd name="T28" fmla="*/ 8 w 30"/>
                <a:gd name="T29" fmla="*/ 20 h 40"/>
                <a:gd name="T30" fmla="*/ 8 w 30"/>
                <a:gd name="T31" fmla="*/ 14 h 40"/>
                <a:gd name="T32" fmla="*/ 14 w 30"/>
                <a:gd name="T33" fmla="*/ 8 h 40"/>
                <a:gd name="T34" fmla="*/ 20 w 30"/>
                <a:gd name="T35" fmla="*/ 8 h 40"/>
                <a:gd name="T36" fmla="*/ 22 w 30"/>
                <a:gd name="T37" fmla="*/ 10 h 40"/>
                <a:gd name="T38" fmla="*/ 20 w 30"/>
                <a:gd name="T3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" h="40">
                  <a:moveTo>
                    <a:pt x="30" y="31"/>
                  </a:moveTo>
                  <a:cubicBezTo>
                    <a:pt x="30" y="2"/>
                    <a:pt x="30" y="2"/>
                    <a:pt x="30" y="2"/>
                  </a:cubicBezTo>
                  <a:cubicBezTo>
                    <a:pt x="30" y="1"/>
                    <a:pt x="29" y="0"/>
                    <a:pt x="2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1" y="35"/>
                    <a:pt x="25" y="32"/>
                    <a:pt x="30" y="31"/>
                  </a:cubicBezTo>
                  <a:close/>
                  <a:moveTo>
                    <a:pt x="20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1"/>
                    <a:pt x="11" y="22"/>
                    <a:pt x="10" y="22"/>
                  </a:cubicBezTo>
                  <a:cubicBezTo>
                    <a:pt x="9" y="22"/>
                    <a:pt x="8" y="21"/>
                    <a:pt x="8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1"/>
                    <a:pt x="11" y="8"/>
                    <a:pt x="14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8"/>
                    <a:pt x="22" y="9"/>
                    <a:pt x="22" y="10"/>
                  </a:cubicBezTo>
                  <a:cubicBezTo>
                    <a:pt x="22" y="11"/>
                    <a:pt x="21" y="12"/>
                    <a:pt x="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32">
              <a:extLst>
                <a:ext uri="{FF2B5EF4-FFF2-40B4-BE49-F238E27FC236}">
                  <a16:creationId xmlns:a16="http://schemas.microsoft.com/office/drawing/2014/main" xmlns="" id="{A097805C-F7A6-470C-AD59-D5B0C2BAD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275" y="2209801"/>
              <a:ext cx="241300" cy="225425"/>
            </a:xfrm>
            <a:custGeom>
              <a:avLst/>
              <a:gdLst>
                <a:gd name="T0" fmla="*/ 62 w 64"/>
                <a:gd name="T1" fmla="*/ 0 h 60"/>
                <a:gd name="T2" fmla="*/ 2 w 64"/>
                <a:gd name="T3" fmla="*/ 0 h 60"/>
                <a:gd name="T4" fmla="*/ 0 w 64"/>
                <a:gd name="T5" fmla="*/ 2 h 60"/>
                <a:gd name="T6" fmla="*/ 0 w 64"/>
                <a:gd name="T7" fmla="*/ 47 h 60"/>
                <a:gd name="T8" fmla="*/ 13 w 64"/>
                <a:gd name="T9" fmla="*/ 60 h 60"/>
                <a:gd name="T10" fmla="*/ 31 w 64"/>
                <a:gd name="T11" fmla="*/ 60 h 60"/>
                <a:gd name="T12" fmla="*/ 44 w 64"/>
                <a:gd name="T13" fmla="*/ 47 h 60"/>
                <a:gd name="T14" fmla="*/ 57 w 64"/>
                <a:gd name="T15" fmla="*/ 60 h 60"/>
                <a:gd name="T16" fmla="*/ 62 w 64"/>
                <a:gd name="T17" fmla="*/ 60 h 60"/>
                <a:gd name="T18" fmla="*/ 64 w 64"/>
                <a:gd name="T19" fmla="*/ 58 h 60"/>
                <a:gd name="T20" fmla="*/ 64 w 64"/>
                <a:gd name="T21" fmla="*/ 2 h 60"/>
                <a:gd name="T22" fmla="*/ 62 w 64"/>
                <a:gd name="T2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0">
                  <a:moveTo>
                    <a:pt x="6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7" y="47"/>
                    <a:pt x="13" y="53"/>
                    <a:pt x="13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1" y="53"/>
                    <a:pt x="37" y="47"/>
                    <a:pt x="44" y="47"/>
                  </a:cubicBezTo>
                  <a:cubicBezTo>
                    <a:pt x="51" y="47"/>
                    <a:pt x="57" y="53"/>
                    <a:pt x="57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3" y="60"/>
                    <a:pt x="64" y="59"/>
                    <a:pt x="64" y="58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4" y="1"/>
                    <a:pt x="63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xmlns="" id="{B18127EB-3CE9-4365-B341-BEC9B9BE3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1000" y="2393951"/>
              <a:ext cx="82550" cy="82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xmlns="" id="{1F30F6A6-B169-4C46-B578-300ABB42BE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7688" y="2393951"/>
              <a:ext cx="82550" cy="82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35">
              <a:extLst>
                <a:ext uri="{FF2B5EF4-FFF2-40B4-BE49-F238E27FC236}">
                  <a16:creationId xmlns:a16="http://schemas.microsoft.com/office/drawing/2014/main" xmlns="" id="{C4E05D2E-3A8D-4786-8E13-47AB72AC7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2435226"/>
              <a:ext cx="60325" cy="14288"/>
            </a:xfrm>
            <a:custGeom>
              <a:avLst/>
              <a:gdLst>
                <a:gd name="T0" fmla="*/ 14 w 16"/>
                <a:gd name="T1" fmla="*/ 0 h 4"/>
                <a:gd name="T2" fmla="*/ 2 w 16"/>
                <a:gd name="T3" fmla="*/ 0 h 4"/>
                <a:gd name="T4" fmla="*/ 0 w 16"/>
                <a:gd name="T5" fmla="*/ 2 h 4"/>
                <a:gd name="T6" fmla="*/ 2 w 16"/>
                <a:gd name="T7" fmla="*/ 4 h 4"/>
                <a:gd name="T8" fmla="*/ 14 w 16"/>
                <a:gd name="T9" fmla="*/ 4 h 4"/>
                <a:gd name="T10" fmla="*/ 16 w 16"/>
                <a:gd name="T11" fmla="*/ 2 h 4"/>
                <a:gd name="T12" fmla="*/ 14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A8A4D684-B5C6-4D7C-A7A9-662493B1FD62}"/>
              </a:ext>
            </a:extLst>
          </p:cNvPr>
          <p:cNvGrpSpPr/>
          <p:nvPr/>
        </p:nvGrpSpPr>
        <p:grpSpPr>
          <a:xfrm>
            <a:off x="3383987" y="2485148"/>
            <a:ext cx="479605" cy="477493"/>
            <a:chOff x="4113213" y="2886076"/>
            <a:chExt cx="360363" cy="358775"/>
          </a:xfr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</p:grpSpPr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xmlns="" id="{756221A9-2DEB-4F3F-80D3-C8733B816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2924176"/>
              <a:ext cx="236538" cy="112713"/>
            </a:xfrm>
            <a:custGeom>
              <a:avLst/>
              <a:gdLst>
                <a:gd name="T0" fmla="*/ 52 w 149"/>
                <a:gd name="T1" fmla="*/ 0 h 71"/>
                <a:gd name="T2" fmla="*/ 0 w 149"/>
                <a:gd name="T3" fmla="*/ 22 h 71"/>
                <a:gd name="T4" fmla="*/ 106 w 149"/>
                <a:gd name="T5" fmla="*/ 71 h 71"/>
                <a:gd name="T6" fmla="*/ 149 w 149"/>
                <a:gd name="T7" fmla="*/ 52 h 71"/>
                <a:gd name="T8" fmla="*/ 52 w 149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71">
                  <a:moveTo>
                    <a:pt x="52" y="0"/>
                  </a:moveTo>
                  <a:lnTo>
                    <a:pt x="0" y="22"/>
                  </a:lnTo>
                  <a:lnTo>
                    <a:pt x="106" y="71"/>
                  </a:lnTo>
                  <a:lnTo>
                    <a:pt x="149" y="52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xmlns="" id="{4477B6EF-49E5-424C-B8E1-3DCAE66AF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2970213"/>
              <a:ext cx="173038" cy="274638"/>
            </a:xfrm>
            <a:custGeom>
              <a:avLst/>
              <a:gdLst>
                <a:gd name="T0" fmla="*/ 0 w 46"/>
                <a:gd name="T1" fmla="*/ 52 h 73"/>
                <a:gd name="T2" fmla="*/ 1 w 46"/>
                <a:gd name="T3" fmla="*/ 54 h 73"/>
                <a:gd name="T4" fmla="*/ 46 w 46"/>
                <a:gd name="T5" fmla="*/ 73 h 73"/>
                <a:gd name="T6" fmla="*/ 46 w 46"/>
                <a:gd name="T7" fmla="*/ 21 h 73"/>
                <a:gd name="T8" fmla="*/ 0 w 46"/>
                <a:gd name="T9" fmla="*/ 0 h 73"/>
                <a:gd name="T10" fmla="*/ 0 w 46"/>
                <a:gd name="T11" fmla="*/ 52 h 73"/>
                <a:gd name="T12" fmla="*/ 12 w 46"/>
                <a:gd name="T13" fmla="*/ 18 h 73"/>
                <a:gd name="T14" fmla="*/ 13 w 46"/>
                <a:gd name="T15" fmla="*/ 16 h 73"/>
                <a:gd name="T16" fmla="*/ 15 w 46"/>
                <a:gd name="T17" fmla="*/ 16 h 73"/>
                <a:gd name="T18" fmla="*/ 37 w 46"/>
                <a:gd name="T19" fmla="*/ 26 h 73"/>
                <a:gd name="T20" fmla="*/ 38 w 46"/>
                <a:gd name="T21" fmla="*/ 28 h 73"/>
                <a:gd name="T22" fmla="*/ 38 w 46"/>
                <a:gd name="T23" fmla="*/ 48 h 73"/>
                <a:gd name="T24" fmla="*/ 37 w 46"/>
                <a:gd name="T25" fmla="*/ 50 h 73"/>
                <a:gd name="T26" fmla="*/ 36 w 46"/>
                <a:gd name="T27" fmla="*/ 50 h 73"/>
                <a:gd name="T28" fmla="*/ 35 w 46"/>
                <a:gd name="T29" fmla="*/ 50 h 73"/>
                <a:gd name="T30" fmla="*/ 13 w 46"/>
                <a:gd name="T31" fmla="*/ 40 h 73"/>
                <a:gd name="T32" fmla="*/ 12 w 46"/>
                <a:gd name="T33" fmla="*/ 38 h 73"/>
                <a:gd name="T34" fmla="*/ 12 w 46"/>
                <a:gd name="T35" fmla="*/ 1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73">
                  <a:moveTo>
                    <a:pt x="0" y="52"/>
                  </a:moveTo>
                  <a:cubicBezTo>
                    <a:pt x="0" y="53"/>
                    <a:pt x="0" y="54"/>
                    <a:pt x="1" y="54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2"/>
                  </a:lnTo>
                  <a:close/>
                  <a:moveTo>
                    <a:pt x="12" y="18"/>
                  </a:moveTo>
                  <a:cubicBezTo>
                    <a:pt x="12" y="17"/>
                    <a:pt x="12" y="17"/>
                    <a:pt x="13" y="16"/>
                  </a:cubicBezTo>
                  <a:cubicBezTo>
                    <a:pt x="13" y="16"/>
                    <a:pt x="14" y="16"/>
                    <a:pt x="15" y="1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8" y="27"/>
                    <a:pt x="38" y="27"/>
                    <a:pt x="38" y="2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9"/>
                    <a:pt x="38" y="49"/>
                    <a:pt x="37" y="50"/>
                  </a:cubicBezTo>
                  <a:cubicBezTo>
                    <a:pt x="37" y="50"/>
                    <a:pt x="36" y="50"/>
                    <a:pt x="36" y="50"/>
                  </a:cubicBezTo>
                  <a:cubicBezTo>
                    <a:pt x="36" y="50"/>
                    <a:pt x="35" y="50"/>
                    <a:pt x="35" y="5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2" y="39"/>
                    <a:pt x="12" y="39"/>
                    <a:pt x="12" y="38"/>
                  </a:cubicBez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xmlns="" id="{E6EBF392-3B6C-4A21-8CB1-13696620F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538" y="2970213"/>
              <a:ext cx="173038" cy="274638"/>
            </a:xfrm>
            <a:custGeom>
              <a:avLst/>
              <a:gdLst>
                <a:gd name="T0" fmla="*/ 0 w 46"/>
                <a:gd name="T1" fmla="*/ 21 h 73"/>
                <a:gd name="T2" fmla="*/ 0 w 46"/>
                <a:gd name="T3" fmla="*/ 73 h 73"/>
                <a:gd name="T4" fmla="*/ 45 w 46"/>
                <a:gd name="T5" fmla="*/ 54 h 73"/>
                <a:gd name="T6" fmla="*/ 46 w 46"/>
                <a:gd name="T7" fmla="*/ 52 h 73"/>
                <a:gd name="T8" fmla="*/ 46 w 46"/>
                <a:gd name="T9" fmla="*/ 0 h 73"/>
                <a:gd name="T10" fmla="*/ 0 w 46"/>
                <a:gd name="T11" fmla="*/ 2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73">
                  <a:moveTo>
                    <a:pt x="0" y="21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6" y="54"/>
                    <a:pt x="46" y="53"/>
                    <a:pt x="46" y="52"/>
                  </a:cubicBezTo>
                  <a:cubicBezTo>
                    <a:pt x="46" y="0"/>
                    <a:pt x="46" y="0"/>
                    <a:pt x="46" y="0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xmlns="" id="{A0100626-A82E-4688-9C7C-65A0914D8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925" y="2886076"/>
              <a:ext cx="236538" cy="114300"/>
            </a:xfrm>
            <a:custGeom>
              <a:avLst/>
              <a:gdLst>
                <a:gd name="T0" fmla="*/ 63 w 63"/>
                <a:gd name="T1" fmla="*/ 19 h 30"/>
                <a:gd name="T2" fmla="*/ 19 w 63"/>
                <a:gd name="T3" fmla="*/ 0 h 30"/>
                <a:gd name="T4" fmla="*/ 17 w 63"/>
                <a:gd name="T5" fmla="*/ 0 h 30"/>
                <a:gd name="T6" fmla="*/ 0 w 63"/>
                <a:gd name="T7" fmla="*/ 8 h 30"/>
                <a:gd name="T8" fmla="*/ 40 w 63"/>
                <a:gd name="T9" fmla="*/ 30 h 30"/>
                <a:gd name="T10" fmla="*/ 63 w 63"/>
                <a:gd name="T11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30">
                  <a:moveTo>
                    <a:pt x="63" y="19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8" y="0"/>
                    <a:pt x="17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0" y="30"/>
                    <a:pt x="40" y="30"/>
                    <a:pt x="40" y="30"/>
                  </a:cubicBezTo>
                  <a:lnTo>
                    <a:pt x="6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BEFF4393-F778-4C15-9F23-F4F6D4A5B927}"/>
              </a:ext>
            </a:extLst>
          </p:cNvPr>
          <p:cNvGrpSpPr/>
          <p:nvPr/>
        </p:nvGrpSpPr>
        <p:grpSpPr>
          <a:xfrm>
            <a:off x="616205" y="2475143"/>
            <a:ext cx="485361" cy="487498"/>
            <a:chOff x="2670175" y="3970338"/>
            <a:chExt cx="360363" cy="361950"/>
          </a:xfr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</p:grpSpPr>
        <p:sp>
          <p:nvSpPr>
            <p:cNvPr id="37" name="Freeform 91">
              <a:extLst>
                <a:ext uri="{FF2B5EF4-FFF2-40B4-BE49-F238E27FC236}">
                  <a16:creationId xmlns:a16="http://schemas.microsoft.com/office/drawing/2014/main" xmlns="" id="{04D96C37-5045-467C-9A67-416B52EEEB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4046538"/>
              <a:ext cx="360363" cy="285750"/>
            </a:xfrm>
            <a:custGeom>
              <a:avLst/>
              <a:gdLst>
                <a:gd name="T0" fmla="*/ 72 w 96"/>
                <a:gd name="T1" fmla="*/ 35 h 76"/>
                <a:gd name="T2" fmla="*/ 72 w 96"/>
                <a:gd name="T3" fmla="*/ 22 h 76"/>
                <a:gd name="T4" fmla="*/ 48 w 96"/>
                <a:gd name="T5" fmla="*/ 35 h 76"/>
                <a:gd name="T6" fmla="*/ 48 w 96"/>
                <a:gd name="T7" fmla="*/ 21 h 76"/>
                <a:gd name="T8" fmla="*/ 26 w 96"/>
                <a:gd name="T9" fmla="*/ 36 h 76"/>
                <a:gd name="T10" fmla="*/ 19 w 96"/>
                <a:gd name="T11" fmla="*/ 0 h 76"/>
                <a:gd name="T12" fmla="*/ 6 w 96"/>
                <a:gd name="T13" fmla="*/ 0 h 76"/>
                <a:gd name="T14" fmla="*/ 0 w 96"/>
                <a:gd name="T15" fmla="*/ 42 h 76"/>
                <a:gd name="T16" fmla="*/ 0 w 96"/>
                <a:gd name="T17" fmla="*/ 76 h 76"/>
                <a:gd name="T18" fmla="*/ 96 w 96"/>
                <a:gd name="T19" fmla="*/ 76 h 76"/>
                <a:gd name="T20" fmla="*/ 96 w 96"/>
                <a:gd name="T21" fmla="*/ 22 h 76"/>
                <a:gd name="T22" fmla="*/ 72 w 96"/>
                <a:gd name="T23" fmla="*/ 35 h 76"/>
                <a:gd name="T24" fmla="*/ 36 w 96"/>
                <a:gd name="T25" fmla="*/ 66 h 76"/>
                <a:gd name="T26" fmla="*/ 30 w 96"/>
                <a:gd name="T27" fmla="*/ 66 h 76"/>
                <a:gd name="T28" fmla="*/ 28 w 96"/>
                <a:gd name="T29" fmla="*/ 64 h 76"/>
                <a:gd name="T30" fmla="*/ 30 w 96"/>
                <a:gd name="T31" fmla="*/ 62 h 76"/>
                <a:gd name="T32" fmla="*/ 36 w 96"/>
                <a:gd name="T33" fmla="*/ 62 h 76"/>
                <a:gd name="T34" fmla="*/ 38 w 96"/>
                <a:gd name="T35" fmla="*/ 64 h 76"/>
                <a:gd name="T36" fmla="*/ 36 w 96"/>
                <a:gd name="T37" fmla="*/ 66 h 76"/>
                <a:gd name="T38" fmla="*/ 36 w 96"/>
                <a:gd name="T39" fmla="*/ 56 h 76"/>
                <a:gd name="T40" fmla="*/ 30 w 96"/>
                <a:gd name="T41" fmla="*/ 56 h 76"/>
                <a:gd name="T42" fmla="*/ 28 w 96"/>
                <a:gd name="T43" fmla="*/ 54 h 76"/>
                <a:gd name="T44" fmla="*/ 30 w 96"/>
                <a:gd name="T45" fmla="*/ 52 h 76"/>
                <a:gd name="T46" fmla="*/ 36 w 96"/>
                <a:gd name="T47" fmla="*/ 52 h 76"/>
                <a:gd name="T48" fmla="*/ 38 w 96"/>
                <a:gd name="T49" fmla="*/ 54 h 76"/>
                <a:gd name="T50" fmla="*/ 36 w 96"/>
                <a:gd name="T51" fmla="*/ 56 h 76"/>
                <a:gd name="T52" fmla="*/ 60 w 96"/>
                <a:gd name="T53" fmla="*/ 66 h 76"/>
                <a:gd name="T54" fmla="*/ 54 w 96"/>
                <a:gd name="T55" fmla="*/ 66 h 76"/>
                <a:gd name="T56" fmla="*/ 52 w 96"/>
                <a:gd name="T57" fmla="*/ 64 h 76"/>
                <a:gd name="T58" fmla="*/ 54 w 96"/>
                <a:gd name="T59" fmla="*/ 62 h 76"/>
                <a:gd name="T60" fmla="*/ 60 w 96"/>
                <a:gd name="T61" fmla="*/ 62 h 76"/>
                <a:gd name="T62" fmla="*/ 62 w 96"/>
                <a:gd name="T63" fmla="*/ 64 h 76"/>
                <a:gd name="T64" fmla="*/ 60 w 96"/>
                <a:gd name="T65" fmla="*/ 66 h 76"/>
                <a:gd name="T66" fmla="*/ 60 w 96"/>
                <a:gd name="T67" fmla="*/ 56 h 76"/>
                <a:gd name="T68" fmla="*/ 54 w 96"/>
                <a:gd name="T69" fmla="*/ 56 h 76"/>
                <a:gd name="T70" fmla="*/ 52 w 96"/>
                <a:gd name="T71" fmla="*/ 54 h 76"/>
                <a:gd name="T72" fmla="*/ 54 w 96"/>
                <a:gd name="T73" fmla="*/ 52 h 76"/>
                <a:gd name="T74" fmla="*/ 60 w 96"/>
                <a:gd name="T75" fmla="*/ 52 h 76"/>
                <a:gd name="T76" fmla="*/ 62 w 96"/>
                <a:gd name="T77" fmla="*/ 54 h 76"/>
                <a:gd name="T78" fmla="*/ 60 w 96"/>
                <a:gd name="T79" fmla="*/ 56 h 76"/>
                <a:gd name="T80" fmla="*/ 84 w 96"/>
                <a:gd name="T81" fmla="*/ 66 h 76"/>
                <a:gd name="T82" fmla="*/ 78 w 96"/>
                <a:gd name="T83" fmla="*/ 66 h 76"/>
                <a:gd name="T84" fmla="*/ 76 w 96"/>
                <a:gd name="T85" fmla="*/ 64 h 76"/>
                <a:gd name="T86" fmla="*/ 78 w 96"/>
                <a:gd name="T87" fmla="*/ 62 h 76"/>
                <a:gd name="T88" fmla="*/ 84 w 96"/>
                <a:gd name="T89" fmla="*/ 62 h 76"/>
                <a:gd name="T90" fmla="*/ 86 w 96"/>
                <a:gd name="T91" fmla="*/ 64 h 76"/>
                <a:gd name="T92" fmla="*/ 84 w 96"/>
                <a:gd name="T93" fmla="*/ 66 h 76"/>
                <a:gd name="T94" fmla="*/ 84 w 96"/>
                <a:gd name="T95" fmla="*/ 56 h 76"/>
                <a:gd name="T96" fmla="*/ 78 w 96"/>
                <a:gd name="T97" fmla="*/ 56 h 76"/>
                <a:gd name="T98" fmla="*/ 76 w 96"/>
                <a:gd name="T99" fmla="*/ 54 h 76"/>
                <a:gd name="T100" fmla="*/ 78 w 96"/>
                <a:gd name="T101" fmla="*/ 52 h 76"/>
                <a:gd name="T102" fmla="*/ 84 w 96"/>
                <a:gd name="T103" fmla="*/ 52 h 76"/>
                <a:gd name="T104" fmla="*/ 86 w 96"/>
                <a:gd name="T105" fmla="*/ 54 h 76"/>
                <a:gd name="T106" fmla="*/ 84 w 96"/>
                <a:gd name="T107" fmla="*/ 5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6" h="76">
                  <a:moveTo>
                    <a:pt x="72" y="35"/>
                  </a:moveTo>
                  <a:cubicBezTo>
                    <a:pt x="72" y="22"/>
                    <a:pt x="72" y="22"/>
                    <a:pt x="72" y="22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22"/>
                    <a:pt x="96" y="22"/>
                    <a:pt x="96" y="22"/>
                  </a:cubicBezTo>
                  <a:lnTo>
                    <a:pt x="72" y="35"/>
                  </a:lnTo>
                  <a:close/>
                  <a:moveTo>
                    <a:pt x="36" y="66"/>
                  </a:moveTo>
                  <a:cubicBezTo>
                    <a:pt x="30" y="66"/>
                    <a:pt x="30" y="66"/>
                    <a:pt x="30" y="66"/>
                  </a:cubicBezTo>
                  <a:cubicBezTo>
                    <a:pt x="29" y="66"/>
                    <a:pt x="28" y="65"/>
                    <a:pt x="28" y="64"/>
                  </a:cubicBezTo>
                  <a:cubicBezTo>
                    <a:pt x="28" y="63"/>
                    <a:pt x="29" y="62"/>
                    <a:pt x="30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7" y="62"/>
                    <a:pt x="38" y="63"/>
                    <a:pt x="38" y="64"/>
                  </a:cubicBezTo>
                  <a:cubicBezTo>
                    <a:pt x="38" y="65"/>
                    <a:pt x="37" y="66"/>
                    <a:pt x="36" y="66"/>
                  </a:cubicBezTo>
                  <a:close/>
                  <a:moveTo>
                    <a:pt x="36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29" y="56"/>
                    <a:pt x="28" y="55"/>
                    <a:pt x="28" y="54"/>
                  </a:cubicBezTo>
                  <a:cubicBezTo>
                    <a:pt x="28" y="53"/>
                    <a:pt x="29" y="52"/>
                    <a:pt x="30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7" y="52"/>
                    <a:pt x="38" y="53"/>
                    <a:pt x="38" y="54"/>
                  </a:cubicBezTo>
                  <a:cubicBezTo>
                    <a:pt x="38" y="55"/>
                    <a:pt x="37" y="56"/>
                    <a:pt x="36" y="56"/>
                  </a:cubicBezTo>
                  <a:close/>
                  <a:moveTo>
                    <a:pt x="60" y="66"/>
                  </a:moveTo>
                  <a:cubicBezTo>
                    <a:pt x="54" y="66"/>
                    <a:pt x="54" y="66"/>
                    <a:pt x="54" y="66"/>
                  </a:cubicBezTo>
                  <a:cubicBezTo>
                    <a:pt x="53" y="66"/>
                    <a:pt x="52" y="65"/>
                    <a:pt x="52" y="64"/>
                  </a:cubicBezTo>
                  <a:cubicBezTo>
                    <a:pt x="52" y="63"/>
                    <a:pt x="53" y="62"/>
                    <a:pt x="54" y="62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1" y="62"/>
                    <a:pt x="62" y="63"/>
                    <a:pt x="62" y="64"/>
                  </a:cubicBezTo>
                  <a:cubicBezTo>
                    <a:pt x="62" y="65"/>
                    <a:pt x="61" y="66"/>
                    <a:pt x="60" y="66"/>
                  </a:cubicBezTo>
                  <a:close/>
                  <a:moveTo>
                    <a:pt x="60" y="56"/>
                  </a:moveTo>
                  <a:cubicBezTo>
                    <a:pt x="54" y="56"/>
                    <a:pt x="54" y="56"/>
                    <a:pt x="54" y="56"/>
                  </a:cubicBezTo>
                  <a:cubicBezTo>
                    <a:pt x="53" y="56"/>
                    <a:pt x="52" y="55"/>
                    <a:pt x="52" y="54"/>
                  </a:cubicBezTo>
                  <a:cubicBezTo>
                    <a:pt x="52" y="53"/>
                    <a:pt x="53" y="52"/>
                    <a:pt x="54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1" y="52"/>
                    <a:pt x="62" y="53"/>
                    <a:pt x="62" y="54"/>
                  </a:cubicBezTo>
                  <a:cubicBezTo>
                    <a:pt x="62" y="55"/>
                    <a:pt x="61" y="56"/>
                    <a:pt x="60" y="56"/>
                  </a:cubicBezTo>
                  <a:close/>
                  <a:moveTo>
                    <a:pt x="84" y="66"/>
                  </a:moveTo>
                  <a:cubicBezTo>
                    <a:pt x="78" y="66"/>
                    <a:pt x="78" y="66"/>
                    <a:pt x="78" y="66"/>
                  </a:cubicBezTo>
                  <a:cubicBezTo>
                    <a:pt x="77" y="66"/>
                    <a:pt x="76" y="65"/>
                    <a:pt x="76" y="64"/>
                  </a:cubicBezTo>
                  <a:cubicBezTo>
                    <a:pt x="76" y="63"/>
                    <a:pt x="77" y="62"/>
                    <a:pt x="78" y="6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5" y="62"/>
                    <a:pt x="86" y="63"/>
                    <a:pt x="86" y="64"/>
                  </a:cubicBezTo>
                  <a:cubicBezTo>
                    <a:pt x="86" y="65"/>
                    <a:pt x="85" y="66"/>
                    <a:pt x="84" y="66"/>
                  </a:cubicBezTo>
                  <a:close/>
                  <a:moveTo>
                    <a:pt x="84" y="56"/>
                  </a:moveTo>
                  <a:cubicBezTo>
                    <a:pt x="78" y="56"/>
                    <a:pt x="78" y="56"/>
                    <a:pt x="78" y="56"/>
                  </a:cubicBezTo>
                  <a:cubicBezTo>
                    <a:pt x="77" y="56"/>
                    <a:pt x="76" y="55"/>
                    <a:pt x="76" y="54"/>
                  </a:cubicBezTo>
                  <a:cubicBezTo>
                    <a:pt x="76" y="53"/>
                    <a:pt x="77" y="52"/>
                    <a:pt x="78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5" y="52"/>
                    <a:pt x="86" y="53"/>
                    <a:pt x="86" y="54"/>
                  </a:cubicBezTo>
                  <a:cubicBezTo>
                    <a:pt x="86" y="55"/>
                    <a:pt x="85" y="56"/>
                    <a:pt x="8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92">
              <a:extLst>
                <a:ext uri="{FF2B5EF4-FFF2-40B4-BE49-F238E27FC236}">
                  <a16:creationId xmlns:a16="http://schemas.microsoft.com/office/drawing/2014/main" xmlns="" id="{03664086-8E00-441D-B8B8-E42353D2F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3970338"/>
              <a:ext cx="217488" cy="71438"/>
            </a:xfrm>
            <a:custGeom>
              <a:avLst/>
              <a:gdLst>
                <a:gd name="T0" fmla="*/ 3 w 58"/>
                <a:gd name="T1" fmla="*/ 13 h 19"/>
                <a:gd name="T2" fmla="*/ 9 w 58"/>
                <a:gd name="T3" fmla="*/ 12 h 19"/>
                <a:gd name="T4" fmla="*/ 36 w 58"/>
                <a:gd name="T5" fmla="*/ 19 h 19"/>
                <a:gd name="T6" fmla="*/ 58 w 58"/>
                <a:gd name="T7" fmla="*/ 5 h 19"/>
                <a:gd name="T8" fmla="*/ 58 w 58"/>
                <a:gd name="T9" fmla="*/ 2 h 19"/>
                <a:gd name="T10" fmla="*/ 55 w 58"/>
                <a:gd name="T11" fmla="*/ 2 h 19"/>
                <a:gd name="T12" fmla="*/ 44 w 58"/>
                <a:gd name="T13" fmla="*/ 6 h 19"/>
                <a:gd name="T14" fmla="*/ 18 w 58"/>
                <a:gd name="T15" fmla="*/ 0 h 19"/>
                <a:gd name="T16" fmla="*/ 0 w 58"/>
                <a:gd name="T17" fmla="*/ 11 h 19"/>
                <a:gd name="T18" fmla="*/ 1 w 58"/>
                <a:gd name="T19" fmla="*/ 13 h 19"/>
                <a:gd name="T20" fmla="*/ 3 w 58"/>
                <a:gd name="T21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19">
                  <a:moveTo>
                    <a:pt x="3" y="13"/>
                  </a:moveTo>
                  <a:cubicBezTo>
                    <a:pt x="5" y="12"/>
                    <a:pt x="7" y="12"/>
                    <a:pt x="9" y="12"/>
                  </a:cubicBezTo>
                  <a:cubicBezTo>
                    <a:pt x="17" y="12"/>
                    <a:pt x="26" y="19"/>
                    <a:pt x="36" y="19"/>
                  </a:cubicBezTo>
                  <a:cubicBezTo>
                    <a:pt x="44" y="19"/>
                    <a:pt x="51" y="14"/>
                    <a:pt x="58" y="5"/>
                  </a:cubicBezTo>
                  <a:cubicBezTo>
                    <a:pt x="58" y="4"/>
                    <a:pt x="58" y="3"/>
                    <a:pt x="58" y="2"/>
                  </a:cubicBezTo>
                  <a:cubicBezTo>
                    <a:pt x="57" y="2"/>
                    <a:pt x="56" y="2"/>
                    <a:pt x="55" y="2"/>
                  </a:cubicBezTo>
                  <a:cubicBezTo>
                    <a:pt x="52" y="5"/>
                    <a:pt x="48" y="6"/>
                    <a:pt x="44" y="6"/>
                  </a:cubicBezTo>
                  <a:cubicBezTo>
                    <a:pt x="36" y="6"/>
                    <a:pt x="27" y="0"/>
                    <a:pt x="18" y="0"/>
                  </a:cubicBezTo>
                  <a:cubicBezTo>
                    <a:pt x="11" y="0"/>
                    <a:pt x="6" y="4"/>
                    <a:pt x="0" y="11"/>
                  </a:cubicBezTo>
                  <a:cubicBezTo>
                    <a:pt x="0" y="11"/>
                    <a:pt x="0" y="12"/>
                    <a:pt x="1" y="13"/>
                  </a:cubicBezTo>
                  <a:cubicBezTo>
                    <a:pt x="1" y="14"/>
                    <a:pt x="2" y="14"/>
                    <a:pt x="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2" name="TextBox 48">
            <a:extLst>
              <a:ext uri="{FF2B5EF4-FFF2-40B4-BE49-F238E27FC236}">
                <a16:creationId xmlns:a16="http://schemas.microsoft.com/office/drawing/2014/main" xmlns="" id="{A6F99CD6-019B-405E-8495-0A2DE544C2F1}"/>
              </a:ext>
            </a:extLst>
          </p:cNvPr>
          <p:cNvSpPr txBox="1"/>
          <p:nvPr/>
        </p:nvSpPr>
        <p:spPr>
          <a:xfrm>
            <a:off x="616205" y="3350143"/>
            <a:ext cx="2412129" cy="150810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</a:t>
            </a:r>
          </a:p>
        </p:txBody>
      </p:sp>
      <p:sp>
        <p:nvSpPr>
          <p:cNvPr id="46" name="TextBox 48">
            <a:extLst>
              <a:ext uri="{FF2B5EF4-FFF2-40B4-BE49-F238E27FC236}">
                <a16:creationId xmlns:a16="http://schemas.microsoft.com/office/drawing/2014/main" xmlns="" id="{BB96D028-7FDD-47D9-A582-EDDCE23E6533}"/>
              </a:ext>
            </a:extLst>
          </p:cNvPr>
          <p:cNvSpPr txBox="1"/>
          <p:nvPr/>
        </p:nvSpPr>
        <p:spPr>
          <a:xfrm>
            <a:off x="3383987" y="3350143"/>
            <a:ext cx="2412129" cy="150810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</a:t>
            </a:r>
          </a:p>
        </p:txBody>
      </p:sp>
      <p:sp>
        <p:nvSpPr>
          <p:cNvPr id="51" name="TextBox 48">
            <a:extLst>
              <a:ext uri="{FF2B5EF4-FFF2-40B4-BE49-F238E27FC236}">
                <a16:creationId xmlns:a16="http://schemas.microsoft.com/office/drawing/2014/main" xmlns="" id="{471A743F-E4D7-4BA5-80F3-DC972868531D}"/>
              </a:ext>
            </a:extLst>
          </p:cNvPr>
          <p:cNvSpPr txBox="1"/>
          <p:nvPr/>
        </p:nvSpPr>
        <p:spPr>
          <a:xfrm>
            <a:off x="6151768" y="3350143"/>
            <a:ext cx="2412129" cy="150810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</a:t>
            </a: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xmlns="" id="{8952F3DF-411E-4994-B7A6-F24CDDE92036}"/>
              </a:ext>
            </a:extLst>
          </p:cNvPr>
          <p:cNvSpPr/>
          <p:nvPr/>
        </p:nvSpPr>
        <p:spPr>
          <a:xfrm rot="10800000">
            <a:off x="609600" y="1891740"/>
            <a:ext cx="312420" cy="15502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xmlns="" id="{9751F826-2C3F-4C32-8727-2D308B3FEF6A}"/>
              </a:ext>
            </a:extLst>
          </p:cNvPr>
          <p:cNvSpPr/>
          <p:nvPr/>
        </p:nvSpPr>
        <p:spPr>
          <a:xfrm rot="10800000">
            <a:off x="3383988" y="1891740"/>
            <a:ext cx="312420" cy="15502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xmlns="" id="{0F270C2C-2BB3-432F-9EA3-2D2E1558DAA0}"/>
              </a:ext>
            </a:extLst>
          </p:cNvPr>
          <p:cNvSpPr/>
          <p:nvPr/>
        </p:nvSpPr>
        <p:spPr>
          <a:xfrm rot="10800000">
            <a:off x="6151768" y="1891740"/>
            <a:ext cx="312420" cy="15502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870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4">
            <a:extLst>
              <a:ext uri="{FF2B5EF4-FFF2-40B4-BE49-F238E27FC236}">
                <a16:creationId xmlns:a16="http://schemas.microsoft.com/office/drawing/2014/main" xmlns="" id="{0CE1F2E9-5D11-4CF9-96ED-F13E5A880CBA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11A548-7F61-4795-AD72-2678C8F9B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dirty="0"/>
              <a:t>Financial Plann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D1F42AE-A010-4798-9D6E-0E95ACB64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4</a:t>
            </a:fld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5B3087C7-49E0-4601-A87E-48C589EA39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8247220"/>
              </p:ext>
            </p:extLst>
          </p:nvPr>
        </p:nvGraphicFramePr>
        <p:xfrm>
          <a:off x="635820" y="1549810"/>
          <a:ext cx="5302864" cy="43692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B0C1C0B-8FB8-49CF-9CA8-246F4CF76454}"/>
              </a:ext>
            </a:extLst>
          </p:cNvPr>
          <p:cNvSpPr/>
          <p:nvPr/>
        </p:nvSpPr>
        <p:spPr>
          <a:xfrm>
            <a:off x="7688827" y="1549810"/>
            <a:ext cx="3893574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In gravida ligula ac </a:t>
            </a:r>
            <a:r>
              <a:rPr lang="en-US" sz="1400" dirty="0" err="1"/>
              <a:t>risus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</a:t>
            </a:r>
            <a:r>
              <a:rPr lang="en-US" sz="1400" dirty="0" err="1"/>
              <a:t>vehicula</a:t>
            </a:r>
            <a:r>
              <a:rPr lang="en-US" sz="1400" dirty="0"/>
              <a:t>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59C3FD3B-BB15-4819-BAE8-C9660A021E53}"/>
              </a:ext>
            </a:extLst>
          </p:cNvPr>
          <p:cNvSpPr/>
          <p:nvPr/>
        </p:nvSpPr>
        <p:spPr>
          <a:xfrm>
            <a:off x="7688827" y="3195806"/>
            <a:ext cx="3893574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In gravida ligula ac </a:t>
            </a:r>
            <a:r>
              <a:rPr lang="en-US" sz="1400" dirty="0" err="1"/>
              <a:t>risus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</a:t>
            </a:r>
            <a:r>
              <a:rPr lang="en-US" sz="1400" dirty="0" err="1"/>
              <a:t>vehicula</a:t>
            </a:r>
            <a:r>
              <a:rPr lang="en-US" sz="1400" dirty="0"/>
              <a:t>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5571CFD3-0772-4E3B-BFE8-D41C5244E13B}"/>
              </a:ext>
            </a:extLst>
          </p:cNvPr>
          <p:cNvSpPr/>
          <p:nvPr/>
        </p:nvSpPr>
        <p:spPr>
          <a:xfrm>
            <a:off x="7688827" y="4841802"/>
            <a:ext cx="3893574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  <a:r>
              <a:rPr lang="en-US" sz="1400" dirty="0" err="1"/>
              <a:t>Donec</a:t>
            </a:r>
            <a:r>
              <a:rPr lang="en-US" sz="1400" dirty="0"/>
              <a:t> id </a:t>
            </a:r>
            <a:r>
              <a:rPr lang="en-US" sz="1400" dirty="0" err="1"/>
              <a:t>tortor</a:t>
            </a:r>
            <a:r>
              <a:rPr lang="en-US" sz="1400" dirty="0"/>
              <a:t> magna. </a:t>
            </a:r>
            <a:r>
              <a:rPr lang="en-US" sz="1400" dirty="0" err="1"/>
              <a:t>Curabitur</a:t>
            </a:r>
            <a:r>
              <a:rPr lang="en-US" sz="1400" dirty="0"/>
              <a:t> </a:t>
            </a:r>
            <a:r>
              <a:rPr lang="en-US" sz="1400" dirty="0" err="1"/>
              <a:t>lobortis</a:t>
            </a:r>
            <a:r>
              <a:rPr lang="en-US" sz="1400" dirty="0"/>
              <a:t> </a:t>
            </a:r>
            <a:r>
              <a:rPr lang="en-US" sz="1400" dirty="0" err="1"/>
              <a:t>ultrices</a:t>
            </a:r>
            <a:r>
              <a:rPr lang="en-US" sz="1400" dirty="0"/>
              <a:t> </a:t>
            </a:r>
            <a:r>
              <a:rPr lang="en-US" sz="1400" dirty="0" err="1"/>
              <a:t>ornare</a:t>
            </a:r>
            <a:r>
              <a:rPr lang="en-US" sz="1400" dirty="0"/>
              <a:t>. Duis </a:t>
            </a:r>
            <a:r>
              <a:rPr lang="en-US" sz="1400" dirty="0" err="1"/>
              <a:t>eget</a:t>
            </a:r>
            <a:r>
              <a:rPr lang="en-US" sz="1400" dirty="0"/>
              <a:t> </a:t>
            </a:r>
            <a:r>
              <a:rPr lang="en-US" sz="1400" dirty="0" err="1"/>
              <a:t>auctor</a:t>
            </a:r>
            <a:r>
              <a:rPr lang="en-US" sz="1400" dirty="0"/>
              <a:t> </a:t>
            </a:r>
            <a:r>
              <a:rPr lang="en-US" sz="1400" dirty="0" err="1"/>
              <a:t>metus</a:t>
            </a:r>
            <a:r>
              <a:rPr lang="en-US" sz="1400" dirty="0"/>
              <a:t>. Maecenas sed dolor </a:t>
            </a:r>
            <a:r>
              <a:rPr lang="en-US" sz="1400" dirty="0" err="1"/>
              <a:t>consequat</a:t>
            </a:r>
            <a:r>
              <a:rPr lang="en-US" sz="1400" dirty="0"/>
              <a:t> </a:t>
            </a:r>
            <a:r>
              <a:rPr lang="en-US" sz="1400" dirty="0" err="1"/>
              <a:t>justo</a:t>
            </a:r>
            <a:r>
              <a:rPr lang="en-US" sz="1400" dirty="0"/>
              <a:t> convallis </a:t>
            </a:r>
            <a:r>
              <a:rPr lang="en-US" sz="1400" dirty="0" err="1"/>
              <a:t>fringilla</a:t>
            </a:r>
            <a:r>
              <a:rPr lang="en-US" sz="1400" dirty="0"/>
              <a:t> vitae </a:t>
            </a:r>
            <a:r>
              <a:rPr lang="en-US" sz="1400" dirty="0" err="1"/>
              <a:t>pellentesque</a:t>
            </a:r>
            <a:r>
              <a:rPr lang="en-US" sz="1400" dirty="0"/>
              <a:t> dolor. In gravida ligula ac </a:t>
            </a:r>
            <a:r>
              <a:rPr lang="en-US" sz="1400" dirty="0" err="1"/>
              <a:t>risus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</a:t>
            </a:r>
            <a:r>
              <a:rPr lang="en-US" sz="1400" dirty="0" err="1"/>
              <a:t>vehicula</a:t>
            </a:r>
            <a:r>
              <a:rPr lang="en-US" sz="1400" dirty="0"/>
              <a:t>.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EA938F8A-8D1F-4BCD-A96F-9AEB4D2D688F}"/>
              </a:ext>
            </a:extLst>
          </p:cNvPr>
          <p:cNvCxnSpPr/>
          <p:nvPr/>
        </p:nvCxnSpPr>
        <p:spPr>
          <a:xfrm>
            <a:off x="7669161" y="2911417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819FBDD5-D57E-40DC-8205-A3C721A13919}"/>
              </a:ext>
            </a:extLst>
          </p:cNvPr>
          <p:cNvCxnSpPr/>
          <p:nvPr/>
        </p:nvCxnSpPr>
        <p:spPr>
          <a:xfrm>
            <a:off x="7669161" y="4557413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B6E3B2EF-D10F-43C8-9218-68A9C68DA652}"/>
              </a:ext>
            </a:extLst>
          </p:cNvPr>
          <p:cNvGrpSpPr/>
          <p:nvPr/>
        </p:nvGrpSpPr>
        <p:grpSpPr>
          <a:xfrm>
            <a:off x="6468857" y="3301027"/>
            <a:ext cx="866776" cy="866776"/>
            <a:chOff x="6468857" y="3301027"/>
            <a:chExt cx="866776" cy="86677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xmlns="" id="{AAB00F0A-8FF9-49FE-8F82-6AC6E3ABB14D}"/>
                </a:ext>
              </a:extLst>
            </p:cNvPr>
            <p:cNvGrpSpPr/>
            <p:nvPr/>
          </p:nvGrpSpPr>
          <p:grpSpPr>
            <a:xfrm>
              <a:off x="6468857" y="3301027"/>
              <a:ext cx="866776" cy="866776"/>
              <a:chOff x="6705600" y="1238250"/>
              <a:chExt cx="866776" cy="866776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xmlns="" id="{E8720380-6353-4026-AA03-E4E6C6BBE8F9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xmlns="" id="{4A35B550-AE1B-485C-91F5-C9FA070127CE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xmlns="" id="{D938FF5F-8DF2-4925-9BAE-D3DC67DAB8BE}"/>
                </a:ext>
              </a:extLst>
            </p:cNvPr>
            <p:cNvGrpSpPr/>
            <p:nvPr/>
          </p:nvGrpSpPr>
          <p:grpSpPr>
            <a:xfrm>
              <a:off x="6722064" y="3562171"/>
              <a:ext cx="360363" cy="344488"/>
              <a:chOff x="4833938" y="3983038"/>
              <a:chExt cx="360363" cy="344488"/>
            </a:xfrm>
            <a:solidFill>
              <a:schemeClr val="accent1"/>
            </a:solidFill>
          </p:grpSpPr>
          <p:sp>
            <p:nvSpPr>
              <p:cNvPr id="29" name="Freeform 76">
                <a:extLst>
                  <a:ext uri="{FF2B5EF4-FFF2-40B4-BE49-F238E27FC236}">
                    <a16:creationId xmlns:a16="http://schemas.microsoft.com/office/drawing/2014/main" xmlns="" id="{5B2B1AD7-3F99-47C3-879B-7E6B1F00C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3938" y="4179888"/>
                <a:ext cx="74613" cy="128588"/>
              </a:xfrm>
              <a:custGeom>
                <a:avLst/>
                <a:gdLst>
                  <a:gd name="T0" fmla="*/ 18 w 20"/>
                  <a:gd name="T1" fmla="*/ 0 h 34"/>
                  <a:gd name="T2" fmla="*/ 2 w 20"/>
                  <a:gd name="T3" fmla="*/ 0 h 34"/>
                  <a:gd name="T4" fmla="*/ 0 w 20"/>
                  <a:gd name="T5" fmla="*/ 2 h 34"/>
                  <a:gd name="T6" fmla="*/ 0 w 20"/>
                  <a:gd name="T7" fmla="*/ 32 h 34"/>
                  <a:gd name="T8" fmla="*/ 2 w 20"/>
                  <a:gd name="T9" fmla="*/ 34 h 34"/>
                  <a:gd name="T10" fmla="*/ 18 w 20"/>
                  <a:gd name="T11" fmla="*/ 34 h 34"/>
                  <a:gd name="T12" fmla="*/ 20 w 20"/>
                  <a:gd name="T13" fmla="*/ 32 h 34"/>
                  <a:gd name="T14" fmla="*/ 20 w 20"/>
                  <a:gd name="T15" fmla="*/ 2 h 34"/>
                  <a:gd name="T16" fmla="*/ 18 w 20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34">
                    <a:moveTo>
                      <a:pt x="18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1" y="34"/>
                      <a:pt x="2" y="34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9" y="34"/>
                      <a:pt x="20" y="33"/>
                      <a:pt x="20" y="3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1"/>
                      <a:pt x="19" y="0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Freeform 77">
                <a:extLst>
                  <a:ext uri="{FF2B5EF4-FFF2-40B4-BE49-F238E27FC236}">
                    <a16:creationId xmlns:a16="http://schemas.microsoft.com/office/drawing/2014/main" xmlns="" id="{601333FD-2B5A-4476-82DB-98409CE8E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6488" y="4194176"/>
                <a:ext cx="277813" cy="133350"/>
              </a:xfrm>
              <a:custGeom>
                <a:avLst/>
                <a:gdLst>
                  <a:gd name="T0" fmla="*/ 73 w 74"/>
                  <a:gd name="T1" fmla="*/ 13 h 35"/>
                  <a:gd name="T2" fmla="*/ 59 w 74"/>
                  <a:gd name="T3" fmla="*/ 8 h 35"/>
                  <a:gd name="T4" fmla="*/ 47 w 74"/>
                  <a:gd name="T5" fmla="*/ 12 h 35"/>
                  <a:gd name="T6" fmla="*/ 47 w 74"/>
                  <a:gd name="T7" fmla="*/ 14 h 35"/>
                  <a:gd name="T8" fmla="*/ 45 w 74"/>
                  <a:gd name="T9" fmla="*/ 21 h 35"/>
                  <a:gd name="T10" fmla="*/ 38 w 74"/>
                  <a:gd name="T11" fmla="*/ 24 h 35"/>
                  <a:gd name="T12" fmla="*/ 18 w 74"/>
                  <a:gd name="T13" fmla="*/ 24 h 35"/>
                  <a:gd name="T14" fmla="*/ 16 w 74"/>
                  <a:gd name="T15" fmla="*/ 22 h 35"/>
                  <a:gd name="T16" fmla="*/ 18 w 74"/>
                  <a:gd name="T17" fmla="*/ 20 h 35"/>
                  <a:gd name="T18" fmla="*/ 38 w 74"/>
                  <a:gd name="T19" fmla="*/ 20 h 35"/>
                  <a:gd name="T20" fmla="*/ 42 w 74"/>
                  <a:gd name="T21" fmla="*/ 18 h 35"/>
                  <a:gd name="T22" fmla="*/ 43 w 74"/>
                  <a:gd name="T23" fmla="*/ 14 h 35"/>
                  <a:gd name="T24" fmla="*/ 38 w 74"/>
                  <a:gd name="T25" fmla="*/ 8 h 35"/>
                  <a:gd name="T26" fmla="*/ 27 w 74"/>
                  <a:gd name="T27" fmla="*/ 8 h 35"/>
                  <a:gd name="T28" fmla="*/ 26 w 74"/>
                  <a:gd name="T29" fmla="*/ 8 h 35"/>
                  <a:gd name="T30" fmla="*/ 25 w 74"/>
                  <a:gd name="T31" fmla="*/ 7 h 35"/>
                  <a:gd name="T32" fmla="*/ 8 w 74"/>
                  <a:gd name="T33" fmla="*/ 0 h 35"/>
                  <a:gd name="T34" fmla="*/ 2 w 74"/>
                  <a:gd name="T35" fmla="*/ 0 h 35"/>
                  <a:gd name="T36" fmla="*/ 0 w 74"/>
                  <a:gd name="T37" fmla="*/ 2 h 35"/>
                  <a:gd name="T38" fmla="*/ 0 w 74"/>
                  <a:gd name="T39" fmla="*/ 24 h 35"/>
                  <a:gd name="T40" fmla="*/ 1 w 74"/>
                  <a:gd name="T41" fmla="*/ 26 h 35"/>
                  <a:gd name="T42" fmla="*/ 16 w 74"/>
                  <a:gd name="T43" fmla="*/ 31 h 35"/>
                  <a:gd name="T44" fmla="*/ 32 w 74"/>
                  <a:gd name="T45" fmla="*/ 35 h 35"/>
                  <a:gd name="T46" fmla="*/ 49 w 74"/>
                  <a:gd name="T47" fmla="*/ 29 h 35"/>
                  <a:gd name="T48" fmla="*/ 73 w 74"/>
                  <a:gd name="T49" fmla="*/ 16 h 35"/>
                  <a:gd name="T50" fmla="*/ 74 w 74"/>
                  <a:gd name="T51" fmla="*/ 14 h 35"/>
                  <a:gd name="T52" fmla="*/ 73 w 74"/>
                  <a:gd name="T53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4" h="35">
                    <a:moveTo>
                      <a:pt x="73" y="13"/>
                    </a:moveTo>
                    <a:cubicBezTo>
                      <a:pt x="69" y="8"/>
                      <a:pt x="65" y="7"/>
                      <a:pt x="59" y="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47" y="13"/>
                      <a:pt x="47" y="13"/>
                      <a:pt x="47" y="14"/>
                    </a:cubicBezTo>
                    <a:cubicBezTo>
                      <a:pt x="47" y="17"/>
                      <a:pt x="47" y="19"/>
                      <a:pt x="45" y="21"/>
                    </a:cubicBezTo>
                    <a:cubicBezTo>
                      <a:pt x="43" y="23"/>
                      <a:pt x="41" y="24"/>
                      <a:pt x="38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7" y="24"/>
                      <a:pt x="16" y="23"/>
                      <a:pt x="16" y="22"/>
                    </a:cubicBezTo>
                    <a:cubicBezTo>
                      <a:pt x="16" y="21"/>
                      <a:pt x="17" y="20"/>
                      <a:pt x="18" y="20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40" y="20"/>
                      <a:pt x="41" y="19"/>
                      <a:pt x="42" y="18"/>
                    </a:cubicBezTo>
                    <a:cubicBezTo>
                      <a:pt x="43" y="17"/>
                      <a:pt x="43" y="16"/>
                      <a:pt x="43" y="14"/>
                    </a:cubicBezTo>
                    <a:cubicBezTo>
                      <a:pt x="43" y="12"/>
                      <a:pt x="42" y="8"/>
                      <a:pt x="38" y="8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5" y="8"/>
                      <a:pt x="25" y="8"/>
                      <a:pt x="25" y="7"/>
                    </a:cubicBezTo>
                    <a:cubicBezTo>
                      <a:pt x="23" y="6"/>
                      <a:pt x="17" y="0"/>
                      <a:pt x="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8" y="28"/>
                      <a:pt x="12" y="30"/>
                      <a:pt x="16" y="31"/>
                    </a:cubicBezTo>
                    <a:cubicBezTo>
                      <a:pt x="24" y="34"/>
                      <a:pt x="28" y="35"/>
                      <a:pt x="32" y="35"/>
                    </a:cubicBezTo>
                    <a:cubicBezTo>
                      <a:pt x="37" y="35"/>
                      <a:pt x="41" y="33"/>
                      <a:pt x="49" y="29"/>
                    </a:cubicBezTo>
                    <a:cubicBezTo>
                      <a:pt x="54" y="26"/>
                      <a:pt x="62" y="21"/>
                      <a:pt x="73" y="16"/>
                    </a:cubicBezTo>
                    <a:cubicBezTo>
                      <a:pt x="73" y="15"/>
                      <a:pt x="74" y="15"/>
                      <a:pt x="74" y="14"/>
                    </a:cubicBezTo>
                    <a:cubicBezTo>
                      <a:pt x="74" y="14"/>
                      <a:pt x="74" y="13"/>
                      <a:pt x="7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Freeform 78">
                <a:extLst>
                  <a:ext uri="{FF2B5EF4-FFF2-40B4-BE49-F238E27FC236}">
                    <a16:creationId xmlns:a16="http://schemas.microsoft.com/office/drawing/2014/main" xmlns="" id="{91EA57DC-1843-4D27-AA00-2DBFF272DC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7138" y="3983038"/>
                <a:ext cx="104775" cy="106363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4 h 28"/>
                  <a:gd name="T4" fmla="*/ 14 w 28"/>
                  <a:gd name="T5" fmla="*/ 0 h 28"/>
                  <a:gd name="T6" fmla="*/ 0 w 28"/>
                  <a:gd name="T7" fmla="*/ 14 h 28"/>
                  <a:gd name="T8" fmla="*/ 14 w 28"/>
                  <a:gd name="T9" fmla="*/ 28 h 28"/>
                  <a:gd name="T10" fmla="*/ 12 w 28"/>
                  <a:gd name="T11" fmla="*/ 10 h 28"/>
                  <a:gd name="T12" fmla="*/ 14 w 28"/>
                  <a:gd name="T13" fmla="*/ 8 h 28"/>
                  <a:gd name="T14" fmla="*/ 16 w 28"/>
                  <a:gd name="T15" fmla="*/ 10 h 28"/>
                  <a:gd name="T16" fmla="*/ 16 w 28"/>
                  <a:gd name="T17" fmla="*/ 18 h 28"/>
                  <a:gd name="T18" fmla="*/ 14 w 28"/>
                  <a:gd name="T19" fmla="*/ 20 h 28"/>
                  <a:gd name="T20" fmla="*/ 12 w 28"/>
                  <a:gd name="T21" fmla="*/ 18 h 28"/>
                  <a:gd name="T22" fmla="*/ 12 w 28"/>
                  <a:gd name="T23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2"/>
                      <a:pt x="6" y="28"/>
                      <a:pt x="14" y="28"/>
                    </a:cubicBezTo>
                    <a:close/>
                    <a:moveTo>
                      <a:pt x="12" y="10"/>
                    </a:moveTo>
                    <a:cubicBezTo>
                      <a:pt x="12" y="9"/>
                      <a:pt x="13" y="8"/>
                      <a:pt x="14" y="8"/>
                    </a:cubicBezTo>
                    <a:cubicBezTo>
                      <a:pt x="15" y="8"/>
                      <a:pt x="16" y="9"/>
                      <a:pt x="16" y="1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2" y="19"/>
                      <a:pt x="12" y="18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Freeform 79">
                <a:extLst>
                  <a:ext uri="{FF2B5EF4-FFF2-40B4-BE49-F238E27FC236}">
                    <a16:creationId xmlns:a16="http://schemas.microsoft.com/office/drawing/2014/main" xmlns="" id="{1643BE21-BE4D-4AE7-BE1A-5CADBFE253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4089401"/>
                <a:ext cx="104775" cy="104775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4 h 28"/>
                  <a:gd name="T4" fmla="*/ 14 w 28"/>
                  <a:gd name="T5" fmla="*/ 0 h 28"/>
                  <a:gd name="T6" fmla="*/ 0 w 28"/>
                  <a:gd name="T7" fmla="*/ 14 h 28"/>
                  <a:gd name="T8" fmla="*/ 14 w 28"/>
                  <a:gd name="T9" fmla="*/ 28 h 28"/>
                  <a:gd name="T10" fmla="*/ 12 w 28"/>
                  <a:gd name="T11" fmla="*/ 10 h 28"/>
                  <a:gd name="T12" fmla="*/ 14 w 28"/>
                  <a:gd name="T13" fmla="*/ 8 h 28"/>
                  <a:gd name="T14" fmla="*/ 16 w 28"/>
                  <a:gd name="T15" fmla="*/ 10 h 28"/>
                  <a:gd name="T16" fmla="*/ 16 w 28"/>
                  <a:gd name="T17" fmla="*/ 18 h 28"/>
                  <a:gd name="T18" fmla="*/ 14 w 28"/>
                  <a:gd name="T19" fmla="*/ 20 h 28"/>
                  <a:gd name="T20" fmla="*/ 12 w 28"/>
                  <a:gd name="T21" fmla="*/ 18 h 28"/>
                  <a:gd name="T22" fmla="*/ 12 w 28"/>
                  <a:gd name="T23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2"/>
                      <a:pt x="6" y="28"/>
                      <a:pt x="14" y="28"/>
                    </a:cubicBezTo>
                    <a:close/>
                    <a:moveTo>
                      <a:pt x="12" y="10"/>
                    </a:moveTo>
                    <a:cubicBezTo>
                      <a:pt x="12" y="9"/>
                      <a:pt x="13" y="8"/>
                      <a:pt x="14" y="8"/>
                    </a:cubicBezTo>
                    <a:cubicBezTo>
                      <a:pt x="15" y="8"/>
                      <a:pt x="16" y="9"/>
                      <a:pt x="16" y="1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2" y="19"/>
                      <a:pt x="12" y="18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9FD860A7-32CC-4002-BDB8-A9E0CB4858CE}"/>
              </a:ext>
            </a:extLst>
          </p:cNvPr>
          <p:cNvGrpSpPr/>
          <p:nvPr/>
        </p:nvGrpSpPr>
        <p:grpSpPr>
          <a:xfrm>
            <a:off x="6468857" y="4976205"/>
            <a:ext cx="866776" cy="866776"/>
            <a:chOff x="6468857" y="4976205"/>
            <a:chExt cx="866776" cy="86677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xmlns="" id="{CB7D27A5-556B-417B-B0EE-897F2649D109}"/>
                </a:ext>
              </a:extLst>
            </p:cNvPr>
            <p:cNvGrpSpPr/>
            <p:nvPr/>
          </p:nvGrpSpPr>
          <p:grpSpPr>
            <a:xfrm>
              <a:off x="6468857" y="4976205"/>
              <a:ext cx="866776" cy="866776"/>
              <a:chOff x="6705600" y="1238250"/>
              <a:chExt cx="866776" cy="866776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xmlns="" id="{9F88E9E5-CD0D-4949-AFDC-1FF41740A4E9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xmlns="" id="{C2E39987-BF7A-4372-9CBE-35BA1CAC6CA0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xmlns="" id="{E3D91512-9E0B-4EA8-A132-1A5B0CCF507C}"/>
                </a:ext>
              </a:extLst>
            </p:cNvPr>
            <p:cNvGrpSpPr/>
            <p:nvPr/>
          </p:nvGrpSpPr>
          <p:grpSpPr>
            <a:xfrm>
              <a:off x="6722064" y="5233381"/>
              <a:ext cx="360363" cy="352425"/>
              <a:chOff x="2676526" y="4681538"/>
              <a:chExt cx="360363" cy="352425"/>
            </a:xfrm>
            <a:solidFill>
              <a:schemeClr val="accent1"/>
            </a:solidFill>
          </p:grpSpPr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xmlns="" id="{B778D83E-7188-492D-90A2-66BD99100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526" y="4794250"/>
                <a:ext cx="360363" cy="239713"/>
              </a:xfrm>
              <a:custGeom>
                <a:avLst/>
                <a:gdLst>
                  <a:gd name="T0" fmla="*/ 94 w 96"/>
                  <a:gd name="T1" fmla="*/ 60 h 64"/>
                  <a:gd name="T2" fmla="*/ 92 w 96"/>
                  <a:gd name="T3" fmla="*/ 60 h 64"/>
                  <a:gd name="T4" fmla="*/ 92 w 96"/>
                  <a:gd name="T5" fmla="*/ 2 h 64"/>
                  <a:gd name="T6" fmla="*/ 90 w 96"/>
                  <a:gd name="T7" fmla="*/ 0 h 64"/>
                  <a:gd name="T8" fmla="*/ 78 w 96"/>
                  <a:gd name="T9" fmla="*/ 0 h 64"/>
                  <a:gd name="T10" fmla="*/ 76 w 96"/>
                  <a:gd name="T11" fmla="*/ 2 h 64"/>
                  <a:gd name="T12" fmla="*/ 76 w 96"/>
                  <a:gd name="T13" fmla="*/ 60 h 64"/>
                  <a:gd name="T14" fmla="*/ 68 w 96"/>
                  <a:gd name="T15" fmla="*/ 60 h 64"/>
                  <a:gd name="T16" fmla="*/ 68 w 96"/>
                  <a:gd name="T17" fmla="*/ 18 h 64"/>
                  <a:gd name="T18" fmla="*/ 66 w 96"/>
                  <a:gd name="T19" fmla="*/ 16 h 64"/>
                  <a:gd name="T20" fmla="*/ 54 w 96"/>
                  <a:gd name="T21" fmla="*/ 16 h 64"/>
                  <a:gd name="T22" fmla="*/ 52 w 96"/>
                  <a:gd name="T23" fmla="*/ 18 h 64"/>
                  <a:gd name="T24" fmla="*/ 52 w 96"/>
                  <a:gd name="T25" fmla="*/ 60 h 64"/>
                  <a:gd name="T26" fmla="*/ 44 w 96"/>
                  <a:gd name="T27" fmla="*/ 60 h 64"/>
                  <a:gd name="T28" fmla="*/ 44 w 96"/>
                  <a:gd name="T29" fmla="*/ 34 h 64"/>
                  <a:gd name="T30" fmla="*/ 42 w 96"/>
                  <a:gd name="T31" fmla="*/ 32 h 64"/>
                  <a:gd name="T32" fmla="*/ 30 w 96"/>
                  <a:gd name="T33" fmla="*/ 32 h 64"/>
                  <a:gd name="T34" fmla="*/ 28 w 96"/>
                  <a:gd name="T35" fmla="*/ 34 h 64"/>
                  <a:gd name="T36" fmla="*/ 28 w 96"/>
                  <a:gd name="T37" fmla="*/ 60 h 64"/>
                  <a:gd name="T38" fmla="*/ 20 w 96"/>
                  <a:gd name="T39" fmla="*/ 60 h 64"/>
                  <a:gd name="T40" fmla="*/ 20 w 96"/>
                  <a:gd name="T41" fmla="*/ 50 h 64"/>
                  <a:gd name="T42" fmla="*/ 18 w 96"/>
                  <a:gd name="T43" fmla="*/ 48 h 64"/>
                  <a:gd name="T44" fmla="*/ 6 w 96"/>
                  <a:gd name="T45" fmla="*/ 48 h 64"/>
                  <a:gd name="T46" fmla="*/ 4 w 96"/>
                  <a:gd name="T47" fmla="*/ 50 h 64"/>
                  <a:gd name="T48" fmla="*/ 4 w 96"/>
                  <a:gd name="T49" fmla="*/ 60 h 64"/>
                  <a:gd name="T50" fmla="*/ 2 w 96"/>
                  <a:gd name="T51" fmla="*/ 60 h 64"/>
                  <a:gd name="T52" fmla="*/ 0 w 96"/>
                  <a:gd name="T53" fmla="*/ 62 h 64"/>
                  <a:gd name="T54" fmla="*/ 2 w 96"/>
                  <a:gd name="T55" fmla="*/ 64 h 64"/>
                  <a:gd name="T56" fmla="*/ 94 w 96"/>
                  <a:gd name="T57" fmla="*/ 64 h 64"/>
                  <a:gd name="T58" fmla="*/ 96 w 96"/>
                  <a:gd name="T59" fmla="*/ 62 h 64"/>
                  <a:gd name="T60" fmla="*/ 94 w 96"/>
                  <a:gd name="T61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6" h="64">
                    <a:moveTo>
                      <a:pt x="94" y="60"/>
                    </a:moveTo>
                    <a:cubicBezTo>
                      <a:pt x="92" y="60"/>
                      <a:pt x="92" y="60"/>
                      <a:pt x="92" y="60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1" y="0"/>
                      <a:pt x="90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7" y="0"/>
                      <a:pt x="76" y="1"/>
                      <a:pt x="76" y="2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8" y="17"/>
                      <a:pt x="67" y="16"/>
                      <a:pt x="66" y="16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3" y="16"/>
                      <a:pt x="52" y="17"/>
                      <a:pt x="52" y="18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4" y="34"/>
                      <a:pt x="44" y="34"/>
                      <a:pt x="44" y="34"/>
                    </a:cubicBezTo>
                    <a:cubicBezTo>
                      <a:pt x="44" y="33"/>
                      <a:pt x="43" y="32"/>
                      <a:pt x="42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9" y="32"/>
                      <a:pt x="28" y="33"/>
                      <a:pt x="28" y="34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0" y="49"/>
                      <a:pt x="19" y="48"/>
                      <a:pt x="18" y="48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5" y="48"/>
                      <a:pt x="4" y="49"/>
                      <a:pt x="4" y="50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1" y="60"/>
                      <a:pt x="0" y="61"/>
                      <a:pt x="0" y="62"/>
                    </a:cubicBezTo>
                    <a:cubicBezTo>
                      <a:pt x="0" y="63"/>
                      <a:pt x="1" y="64"/>
                      <a:pt x="2" y="64"/>
                    </a:cubicBezTo>
                    <a:cubicBezTo>
                      <a:pt x="94" y="64"/>
                      <a:pt x="94" y="64"/>
                      <a:pt x="94" y="64"/>
                    </a:cubicBezTo>
                    <a:cubicBezTo>
                      <a:pt x="95" y="64"/>
                      <a:pt x="96" y="63"/>
                      <a:pt x="96" y="62"/>
                    </a:cubicBezTo>
                    <a:cubicBezTo>
                      <a:pt x="96" y="61"/>
                      <a:pt x="95" y="60"/>
                      <a:pt x="9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xmlns="" id="{554294EA-37B2-49C2-8C26-C3485A727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626" y="4681538"/>
                <a:ext cx="285750" cy="203200"/>
              </a:xfrm>
              <a:custGeom>
                <a:avLst/>
                <a:gdLst>
                  <a:gd name="T0" fmla="*/ 2 w 76"/>
                  <a:gd name="T1" fmla="*/ 54 h 54"/>
                  <a:gd name="T2" fmla="*/ 3 w 76"/>
                  <a:gd name="T3" fmla="*/ 54 h 54"/>
                  <a:gd name="T4" fmla="*/ 71 w 76"/>
                  <a:gd name="T5" fmla="*/ 8 h 54"/>
                  <a:gd name="T6" fmla="*/ 70 w 76"/>
                  <a:gd name="T7" fmla="*/ 20 h 54"/>
                  <a:gd name="T8" fmla="*/ 72 w 76"/>
                  <a:gd name="T9" fmla="*/ 22 h 54"/>
                  <a:gd name="T10" fmla="*/ 72 w 76"/>
                  <a:gd name="T11" fmla="*/ 22 h 54"/>
                  <a:gd name="T12" fmla="*/ 74 w 76"/>
                  <a:gd name="T13" fmla="*/ 20 h 54"/>
                  <a:gd name="T14" fmla="*/ 76 w 76"/>
                  <a:gd name="T15" fmla="*/ 4 h 54"/>
                  <a:gd name="T16" fmla="*/ 74 w 76"/>
                  <a:gd name="T17" fmla="*/ 2 h 54"/>
                  <a:gd name="T18" fmla="*/ 58 w 76"/>
                  <a:gd name="T19" fmla="*/ 0 h 54"/>
                  <a:gd name="T20" fmla="*/ 56 w 76"/>
                  <a:gd name="T21" fmla="*/ 2 h 54"/>
                  <a:gd name="T22" fmla="*/ 58 w 76"/>
                  <a:gd name="T23" fmla="*/ 4 h 54"/>
                  <a:gd name="T24" fmla="*/ 68 w 76"/>
                  <a:gd name="T25" fmla="*/ 5 h 54"/>
                  <a:gd name="T26" fmla="*/ 1 w 76"/>
                  <a:gd name="T27" fmla="*/ 50 h 54"/>
                  <a:gd name="T28" fmla="*/ 0 w 76"/>
                  <a:gd name="T29" fmla="*/ 53 h 54"/>
                  <a:gd name="T30" fmla="*/ 2 w 76"/>
                  <a:gd name="T31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" h="54">
                    <a:moveTo>
                      <a:pt x="2" y="54"/>
                    </a:moveTo>
                    <a:cubicBezTo>
                      <a:pt x="2" y="54"/>
                      <a:pt x="3" y="54"/>
                      <a:pt x="3" y="54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0" y="20"/>
                      <a:pt x="70" y="20"/>
                      <a:pt x="70" y="20"/>
                    </a:cubicBezTo>
                    <a:cubicBezTo>
                      <a:pt x="70" y="21"/>
                      <a:pt x="71" y="22"/>
                      <a:pt x="72" y="22"/>
                    </a:cubicBezTo>
                    <a:cubicBezTo>
                      <a:pt x="72" y="22"/>
                      <a:pt x="72" y="22"/>
                      <a:pt x="72" y="22"/>
                    </a:cubicBezTo>
                    <a:cubicBezTo>
                      <a:pt x="73" y="22"/>
                      <a:pt x="74" y="21"/>
                      <a:pt x="74" y="20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6" y="3"/>
                      <a:pt x="75" y="2"/>
                      <a:pt x="74" y="2"/>
                    </a:cubicBezTo>
                    <a:cubicBezTo>
                      <a:pt x="74" y="2"/>
                      <a:pt x="58" y="0"/>
                      <a:pt x="58" y="0"/>
                    </a:cubicBezTo>
                    <a:cubicBezTo>
                      <a:pt x="57" y="0"/>
                      <a:pt x="56" y="1"/>
                      <a:pt x="56" y="2"/>
                    </a:cubicBezTo>
                    <a:cubicBezTo>
                      <a:pt x="56" y="3"/>
                      <a:pt x="57" y="4"/>
                      <a:pt x="58" y="4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0" y="51"/>
                      <a:pt x="0" y="52"/>
                      <a:pt x="0" y="53"/>
                    </a:cubicBezTo>
                    <a:cubicBezTo>
                      <a:pt x="1" y="54"/>
                      <a:pt x="1" y="54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23731F5F-18F2-485D-97B0-BBE267E5E573}"/>
              </a:ext>
            </a:extLst>
          </p:cNvPr>
          <p:cNvGrpSpPr/>
          <p:nvPr/>
        </p:nvGrpSpPr>
        <p:grpSpPr>
          <a:xfrm>
            <a:off x="6468857" y="1655031"/>
            <a:ext cx="866776" cy="866776"/>
            <a:chOff x="6468857" y="1655031"/>
            <a:chExt cx="866776" cy="86677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2EB978E7-A19C-4366-B94D-EEC57A5AE8DC}"/>
                </a:ext>
              </a:extLst>
            </p:cNvPr>
            <p:cNvGrpSpPr/>
            <p:nvPr/>
          </p:nvGrpSpPr>
          <p:grpSpPr>
            <a:xfrm>
              <a:off x="6468857" y="1655031"/>
              <a:ext cx="866776" cy="866776"/>
              <a:chOff x="6705600" y="1238250"/>
              <a:chExt cx="866776" cy="866776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xmlns="" id="{4A46D147-0CC5-4735-AE1F-65BCC6509DC0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xmlns="" id="{97103F70-3F4B-4955-9BCE-2928397D6D93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xmlns="" id="{51C3C6FB-F663-4CEB-B8B8-BE75520C94D3}"/>
                </a:ext>
              </a:extLst>
            </p:cNvPr>
            <p:cNvGrpSpPr/>
            <p:nvPr/>
          </p:nvGrpSpPr>
          <p:grpSpPr>
            <a:xfrm>
              <a:off x="6722064" y="1908238"/>
              <a:ext cx="360363" cy="360363"/>
              <a:chOff x="3397251" y="1066800"/>
              <a:chExt cx="360363" cy="360363"/>
            </a:xfrm>
            <a:solidFill>
              <a:schemeClr val="accent1"/>
            </a:solidFill>
          </p:grpSpPr>
          <p:sp>
            <p:nvSpPr>
              <p:cNvPr id="37" name="Freeform 282">
                <a:extLst>
                  <a:ext uri="{FF2B5EF4-FFF2-40B4-BE49-F238E27FC236}">
                    <a16:creationId xmlns:a16="http://schemas.microsoft.com/office/drawing/2014/main" xmlns="" id="{7242EC86-718F-46F4-AC76-D0A7B9616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51" y="1187450"/>
                <a:ext cx="360363" cy="239713"/>
              </a:xfrm>
              <a:custGeom>
                <a:avLst/>
                <a:gdLst>
                  <a:gd name="T0" fmla="*/ 94 w 96"/>
                  <a:gd name="T1" fmla="*/ 40 h 64"/>
                  <a:gd name="T2" fmla="*/ 28 w 96"/>
                  <a:gd name="T3" fmla="*/ 40 h 64"/>
                  <a:gd name="T4" fmla="*/ 28 w 96"/>
                  <a:gd name="T5" fmla="*/ 26 h 64"/>
                  <a:gd name="T6" fmla="*/ 40 w 96"/>
                  <a:gd name="T7" fmla="*/ 2 h 64"/>
                  <a:gd name="T8" fmla="*/ 38 w 96"/>
                  <a:gd name="T9" fmla="*/ 0 h 64"/>
                  <a:gd name="T10" fmla="*/ 2 w 96"/>
                  <a:gd name="T11" fmla="*/ 0 h 64"/>
                  <a:gd name="T12" fmla="*/ 0 w 96"/>
                  <a:gd name="T13" fmla="*/ 2 h 64"/>
                  <a:gd name="T14" fmla="*/ 12 w 96"/>
                  <a:gd name="T15" fmla="*/ 26 h 64"/>
                  <a:gd name="T16" fmla="*/ 12 w 96"/>
                  <a:gd name="T17" fmla="*/ 40 h 64"/>
                  <a:gd name="T18" fmla="*/ 2 w 96"/>
                  <a:gd name="T19" fmla="*/ 40 h 64"/>
                  <a:gd name="T20" fmla="*/ 0 w 96"/>
                  <a:gd name="T21" fmla="*/ 42 h 64"/>
                  <a:gd name="T22" fmla="*/ 2 w 96"/>
                  <a:gd name="T23" fmla="*/ 44 h 64"/>
                  <a:gd name="T24" fmla="*/ 42 w 96"/>
                  <a:gd name="T25" fmla="*/ 44 h 64"/>
                  <a:gd name="T26" fmla="*/ 28 w 96"/>
                  <a:gd name="T27" fmla="*/ 61 h 64"/>
                  <a:gd name="T28" fmla="*/ 28 w 96"/>
                  <a:gd name="T29" fmla="*/ 63 h 64"/>
                  <a:gd name="T30" fmla="*/ 30 w 96"/>
                  <a:gd name="T31" fmla="*/ 64 h 64"/>
                  <a:gd name="T32" fmla="*/ 62 w 96"/>
                  <a:gd name="T33" fmla="*/ 64 h 64"/>
                  <a:gd name="T34" fmla="*/ 64 w 96"/>
                  <a:gd name="T35" fmla="*/ 63 h 64"/>
                  <a:gd name="T36" fmla="*/ 64 w 96"/>
                  <a:gd name="T37" fmla="*/ 61 h 64"/>
                  <a:gd name="T38" fmla="*/ 50 w 96"/>
                  <a:gd name="T39" fmla="*/ 44 h 64"/>
                  <a:gd name="T40" fmla="*/ 94 w 96"/>
                  <a:gd name="T41" fmla="*/ 44 h 64"/>
                  <a:gd name="T42" fmla="*/ 96 w 96"/>
                  <a:gd name="T43" fmla="*/ 42 h 64"/>
                  <a:gd name="T44" fmla="*/ 94 w 96"/>
                  <a:gd name="T45" fmla="*/ 4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6" h="64">
                    <a:moveTo>
                      <a:pt x="94" y="40"/>
                    </a:moveTo>
                    <a:cubicBezTo>
                      <a:pt x="28" y="40"/>
                      <a:pt x="28" y="40"/>
                      <a:pt x="28" y="40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36" y="22"/>
                      <a:pt x="40" y="11"/>
                      <a:pt x="40" y="2"/>
                    </a:cubicBezTo>
                    <a:cubicBezTo>
                      <a:pt x="40" y="1"/>
                      <a:pt x="39" y="0"/>
                      <a:pt x="3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1"/>
                      <a:pt x="4" y="22"/>
                      <a:pt x="12" y="26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41"/>
                      <a:pt x="0" y="42"/>
                    </a:cubicBezTo>
                    <a:cubicBezTo>
                      <a:pt x="0" y="43"/>
                      <a:pt x="1" y="44"/>
                      <a:pt x="2" y="44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61"/>
                      <a:pt x="28" y="62"/>
                      <a:pt x="28" y="63"/>
                    </a:cubicBezTo>
                    <a:cubicBezTo>
                      <a:pt x="29" y="64"/>
                      <a:pt x="29" y="64"/>
                      <a:pt x="30" y="64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3" y="64"/>
                      <a:pt x="63" y="64"/>
                      <a:pt x="64" y="63"/>
                    </a:cubicBezTo>
                    <a:cubicBezTo>
                      <a:pt x="64" y="62"/>
                      <a:pt x="64" y="61"/>
                      <a:pt x="64" y="61"/>
                    </a:cubicBezTo>
                    <a:cubicBezTo>
                      <a:pt x="50" y="44"/>
                      <a:pt x="50" y="44"/>
                      <a:pt x="50" y="44"/>
                    </a:cubicBezTo>
                    <a:cubicBezTo>
                      <a:pt x="94" y="44"/>
                      <a:pt x="94" y="44"/>
                      <a:pt x="94" y="44"/>
                    </a:cubicBezTo>
                    <a:cubicBezTo>
                      <a:pt x="95" y="44"/>
                      <a:pt x="96" y="43"/>
                      <a:pt x="96" y="42"/>
                    </a:cubicBezTo>
                    <a:cubicBezTo>
                      <a:pt x="96" y="41"/>
                      <a:pt x="95" y="40"/>
                      <a:pt x="94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" name="Freeform 283">
                <a:extLst>
                  <a:ext uri="{FF2B5EF4-FFF2-40B4-BE49-F238E27FC236}">
                    <a16:creationId xmlns:a16="http://schemas.microsoft.com/office/drawing/2014/main" xmlns="" id="{5DDD6AC0-E324-456F-852A-F4AD1CE552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2513" y="1141413"/>
                <a:ext cx="165100" cy="166688"/>
              </a:xfrm>
              <a:custGeom>
                <a:avLst/>
                <a:gdLst>
                  <a:gd name="T0" fmla="*/ 22 w 44"/>
                  <a:gd name="T1" fmla="*/ 44 h 44"/>
                  <a:gd name="T2" fmla="*/ 44 w 44"/>
                  <a:gd name="T3" fmla="*/ 22 h 44"/>
                  <a:gd name="T4" fmla="*/ 22 w 44"/>
                  <a:gd name="T5" fmla="*/ 0 h 44"/>
                  <a:gd name="T6" fmla="*/ 0 w 44"/>
                  <a:gd name="T7" fmla="*/ 22 h 44"/>
                  <a:gd name="T8" fmla="*/ 22 w 44"/>
                  <a:gd name="T9" fmla="*/ 44 h 44"/>
                  <a:gd name="T10" fmla="*/ 22 w 44"/>
                  <a:gd name="T11" fmla="*/ 24 h 44"/>
                  <a:gd name="T12" fmla="*/ 15 w 44"/>
                  <a:gd name="T13" fmla="*/ 17 h 44"/>
                  <a:gd name="T14" fmla="*/ 20 w 44"/>
                  <a:gd name="T15" fmla="*/ 11 h 44"/>
                  <a:gd name="T16" fmla="*/ 20 w 44"/>
                  <a:gd name="T17" fmla="*/ 10 h 44"/>
                  <a:gd name="T18" fmla="*/ 22 w 44"/>
                  <a:gd name="T19" fmla="*/ 8 h 44"/>
                  <a:gd name="T20" fmla="*/ 24 w 44"/>
                  <a:gd name="T21" fmla="*/ 10 h 44"/>
                  <a:gd name="T22" fmla="*/ 24 w 44"/>
                  <a:gd name="T23" fmla="*/ 11 h 44"/>
                  <a:gd name="T24" fmla="*/ 29 w 44"/>
                  <a:gd name="T25" fmla="*/ 17 h 44"/>
                  <a:gd name="T26" fmla="*/ 27 w 44"/>
                  <a:gd name="T27" fmla="*/ 19 h 44"/>
                  <a:gd name="T28" fmla="*/ 25 w 44"/>
                  <a:gd name="T29" fmla="*/ 17 h 44"/>
                  <a:gd name="T30" fmla="*/ 22 w 44"/>
                  <a:gd name="T31" fmla="*/ 15 h 44"/>
                  <a:gd name="T32" fmla="*/ 19 w 44"/>
                  <a:gd name="T33" fmla="*/ 17 h 44"/>
                  <a:gd name="T34" fmla="*/ 22 w 44"/>
                  <a:gd name="T35" fmla="*/ 20 h 44"/>
                  <a:gd name="T36" fmla="*/ 29 w 44"/>
                  <a:gd name="T37" fmla="*/ 27 h 44"/>
                  <a:gd name="T38" fmla="*/ 24 w 44"/>
                  <a:gd name="T39" fmla="*/ 33 h 44"/>
                  <a:gd name="T40" fmla="*/ 24 w 44"/>
                  <a:gd name="T41" fmla="*/ 34 h 44"/>
                  <a:gd name="T42" fmla="*/ 22 w 44"/>
                  <a:gd name="T43" fmla="*/ 36 h 44"/>
                  <a:gd name="T44" fmla="*/ 20 w 44"/>
                  <a:gd name="T45" fmla="*/ 34 h 44"/>
                  <a:gd name="T46" fmla="*/ 20 w 44"/>
                  <a:gd name="T47" fmla="*/ 33 h 44"/>
                  <a:gd name="T48" fmla="*/ 15 w 44"/>
                  <a:gd name="T49" fmla="*/ 27 h 44"/>
                  <a:gd name="T50" fmla="*/ 17 w 44"/>
                  <a:gd name="T51" fmla="*/ 25 h 44"/>
                  <a:gd name="T52" fmla="*/ 19 w 44"/>
                  <a:gd name="T53" fmla="*/ 27 h 44"/>
                  <a:gd name="T54" fmla="*/ 22 w 44"/>
                  <a:gd name="T55" fmla="*/ 29 h 44"/>
                  <a:gd name="T56" fmla="*/ 25 w 44"/>
                  <a:gd name="T57" fmla="*/ 27 h 44"/>
                  <a:gd name="T58" fmla="*/ 22 w 44"/>
                  <a:gd name="T59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4" h="44">
                    <a:moveTo>
                      <a:pt x="22" y="44"/>
                    </a:moveTo>
                    <a:cubicBezTo>
                      <a:pt x="34" y="44"/>
                      <a:pt x="44" y="34"/>
                      <a:pt x="44" y="22"/>
                    </a:cubicBezTo>
                    <a:cubicBezTo>
                      <a:pt x="44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34"/>
                      <a:pt x="10" y="44"/>
                      <a:pt x="22" y="44"/>
                    </a:cubicBezTo>
                    <a:close/>
                    <a:moveTo>
                      <a:pt x="22" y="24"/>
                    </a:moveTo>
                    <a:cubicBezTo>
                      <a:pt x="18" y="24"/>
                      <a:pt x="15" y="21"/>
                      <a:pt x="15" y="17"/>
                    </a:cubicBezTo>
                    <a:cubicBezTo>
                      <a:pt x="15" y="14"/>
                      <a:pt x="17" y="12"/>
                      <a:pt x="20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9"/>
                      <a:pt x="21" y="8"/>
                      <a:pt x="22" y="8"/>
                    </a:cubicBezTo>
                    <a:cubicBezTo>
                      <a:pt x="23" y="8"/>
                      <a:pt x="24" y="9"/>
                      <a:pt x="24" y="10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7" y="12"/>
                      <a:pt x="29" y="14"/>
                      <a:pt x="29" y="17"/>
                    </a:cubicBezTo>
                    <a:cubicBezTo>
                      <a:pt x="29" y="18"/>
                      <a:pt x="28" y="19"/>
                      <a:pt x="27" y="19"/>
                    </a:cubicBezTo>
                    <a:cubicBezTo>
                      <a:pt x="26" y="19"/>
                      <a:pt x="25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21" y="15"/>
                      <a:pt x="19" y="16"/>
                      <a:pt x="19" y="17"/>
                    </a:cubicBezTo>
                    <a:cubicBezTo>
                      <a:pt x="19" y="19"/>
                      <a:pt x="21" y="20"/>
                      <a:pt x="22" y="20"/>
                    </a:cubicBezTo>
                    <a:cubicBezTo>
                      <a:pt x="26" y="20"/>
                      <a:pt x="29" y="23"/>
                      <a:pt x="29" y="27"/>
                    </a:cubicBezTo>
                    <a:cubicBezTo>
                      <a:pt x="29" y="30"/>
                      <a:pt x="27" y="32"/>
                      <a:pt x="24" y="3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3" y="36"/>
                      <a:pt x="22" y="36"/>
                    </a:cubicBezTo>
                    <a:cubicBezTo>
                      <a:pt x="21" y="36"/>
                      <a:pt x="20" y="35"/>
                      <a:pt x="20" y="3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17" y="32"/>
                      <a:pt x="15" y="30"/>
                      <a:pt x="15" y="27"/>
                    </a:cubicBezTo>
                    <a:cubicBezTo>
                      <a:pt x="15" y="26"/>
                      <a:pt x="16" y="25"/>
                      <a:pt x="17" y="25"/>
                    </a:cubicBezTo>
                    <a:cubicBezTo>
                      <a:pt x="18" y="25"/>
                      <a:pt x="19" y="26"/>
                      <a:pt x="19" y="27"/>
                    </a:cubicBezTo>
                    <a:cubicBezTo>
                      <a:pt x="19" y="28"/>
                      <a:pt x="21" y="29"/>
                      <a:pt x="22" y="29"/>
                    </a:cubicBezTo>
                    <a:cubicBezTo>
                      <a:pt x="23" y="29"/>
                      <a:pt x="25" y="28"/>
                      <a:pt x="25" y="27"/>
                    </a:cubicBezTo>
                    <a:cubicBezTo>
                      <a:pt x="25" y="25"/>
                      <a:pt x="23" y="24"/>
                      <a:pt x="2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" name="Oval 284">
                <a:extLst>
                  <a:ext uri="{FF2B5EF4-FFF2-40B4-BE49-F238E27FC236}">
                    <a16:creationId xmlns:a16="http://schemas.microsoft.com/office/drawing/2014/main" xmlns="" id="{76F2452E-EA8D-4DD3-892E-471F41FDBB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9476" y="1066800"/>
                <a:ext cx="106363" cy="10477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931083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:a16="http://schemas.microsoft.com/office/drawing/2014/main" xmlns="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pe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xmlns="" id="{91E2E712-4988-4AAA-ABCE-9284BF340745}"/>
              </a:ext>
            </a:extLst>
          </p:cNvPr>
          <p:cNvGrpSpPr/>
          <p:nvPr/>
        </p:nvGrpSpPr>
        <p:grpSpPr>
          <a:xfrm>
            <a:off x="156812" y="2118852"/>
            <a:ext cx="11734797" cy="3652777"/>
            <a:chOff x="156812" y="1966452"/>
            <a:chExt cx="11734797" cy="3652777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xmlns="" id="{7FAF28BD-610D-4629-A820-0010C0D22E67}"/>
                </a:ext>
              </a:extLst>
            </p:cNvPr>
            <p:cNvGrpSpPr/>
            <p:nvPr/>
          </p:nvGrpSpPr>
          <p:grpSpPr>
            <a:xfrm>
              <a:off x="1368770" y="3673761"/>
              <a:ext cx="9453220" cy="330671"/>
              <a:chOff x="1883972" y="3673761"/>
              <a:chExt cx="8422815" cy="330671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xmlns="" id="{1A292682-9A29-49B2-B131-FF27BFAEFD44}"/>
                  </a:ext>
                </a:extLst>
              </p:cNvPr>
              <p:cNvSpPr/>
              <p:nvPr/>
            </p:nvSpPr>
            <p:spPr>
              <a:xfrm>
                <a:off x="1883972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xmlns="" id="{BC09A654-E1A0-45EA-A62D-70984FC70115}"/>
                  </a:ext>
                </a:extLst>
              </p:cNvPr>
              <p:cNvSpPr/>
              <p:nvPr/>
            </p:nvSpPr>
            <p:spPr>
              <a:xfrm>
                <a:off x="3287774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xmlns="" id="{D77ECF71-62B7-4478-95FE-C550687016CC}"/>
                  </a:ext>
                </a:extLst>
              </p:cNvPr>
              <p:cNvSpPr/>
              <p:nvPr/>
            </p:nvSpPr>
            <p:spPr>
              <a:xfrm>
                <a:off x="4691577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xmlns="" id="{3CCD0EAD-CA59-4CFA-9798-81AE71EAFFEF}"/>
                  </a:ext>
                </a:extLst>
              </p:cNvPr>
              <p:cNvSpPr/>
              <p:nvPr/>
            </p:nvSpPr>
            <p:spPr>
              <a:xfrm>
                <a:off x="6095379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xmlns="" id="{724FD75A-4096-40F3-80C6-843D2DE2657D}"/>
                  </a:ext>
                </a:extLst>
              </p:cNvPr>
              <p:cNvSpPr/>
              <p:nvPr/>
            </p:nvSpPr>
            <p:spPr>
              <a:xfrm>
                <a:off x="7499183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xmlns="" id="{AD8E838D-2803-4BFE-A07A-09FBF640320A}"/>
                  </a:ext>
                </a:extLst>
              </p:cNvPr>
              <p:cNvSpPr/>
              <p:nvPr/>
            </p:nvSpPr>
            <p:spPr>
              <a:xfrm>
                <a:off x="8902985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xmlns="" id="{C3B9FE4F-1501-4E61-8835-914F6D97A73C}"/>
                </a:ext>
              </a:extLst>
            </p:cNvPr>
            <p:cNvGrpSpPr/>
            <p:nvPr/>
          </p:nvGrpSpPr>
          <p:grpSpPr>
            <a:xfrm>
              <a:off x="945013" y="3556426"/>
              <a:ext cx="565344" cy="565339"/>
              <a:chOff x="1601299" y="3556426"/>
              <a:chExt cx="565344" cy="565339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xmlns="" id="{5E9A8E9A-5449-4F64-A238-7D426B54CD22}"/>
                  </a:ext>
                </a:extLst>
              </p:cNvPr>
              <p:cNvSpPr/>
              <p:nvPr/>
            </p:nvSpPr>
            <p:spPr>
              <a:xfrm>
                <a:off x="1601299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xmlns="" id="{4C7201BE-F539-4E7C-9EF6-F92F03A1C4DA}"/>
                  </a:ext>
                </a:extLst>
              </p:cNvPr>
              <p:cNvSpPr/>
              <p:nvPr/>
            </p:nvSpPr>
            <p:spPr>
              <a:xfrm>
                <a:off x="1718636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1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xmlns="" id="{E49F16CB-6A96-4441-96D2-0847B502518F}"/>
                </a:ext>
              </a:extLst>
            </p:cNvPr>
            <p:cNvGrpSpPr/>
            <p:nvPr/>
          </p:nvGrpSpPr>
          <p:grpSpPr>
            <a:xfrm>
              <a:off x="2544064" y="3556426"/>
              <a:ext cx="565344" cy="565339"/>
              <a:chOff x="3005102" y="3556426"/>
              <a:chExt cx="565344" cy="565339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xmlns="" id="{F70BB886-9C0A-4ECC-8337-D8DEF6DC109C}"/>
                  </a:ext>
                </a:extLst>
              </p:cNvPr>
              <p:cNvSpPr/>
              <p:nvPr/>
            </p:nvSpPr>
            <p:spPr>
              <a:xfrm>
                <a:off x="3005102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xmlns="" id="{1BFA58F6-04E8-4B61-8583-EC7A9B018F2D}"/>
                  </a:ext>
                </a:extLst>
              </p:cNvPr>
              <p:cNvSpPr/>
              <p:nvPr/>
            </p:nvSpPr>
            <p:spPr>
              <a:xfrm>
                <a:off x="3122439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2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E73AE651-764C-4495-A35B-0E7144E8144B}"/>
                </a:ext>
              </a:extLst>
            </p:cNvPr>
            <p:cNvGrpSpPr/>
            <p:nvPr/>
          </p:nvGrpSpPr>
          <p:grpSpPr>
            <a:xfrm>
              <a:off x="4143115" y="3556426"/>
              <a:ext cx="565344" cy="565339"/>
              <a:chOff x="4404126" y="3556426"/>
              <a:chExt cx="565344" cy="565339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xmlns="" id="{159DEC6E-422F-4F0D-B04E-EF88EBF21AE8}"/>
                  </a:ext>
                </a:extLst>
              </p:cNvPr>
              <p:cNvSpPr/>
              <p:nvPr/>
            </p:nvSpPr>
            <p:spPr>
              <a:xfrm>
                <a:off x="4404126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xmlns="" id="{7FC61B0B-3959-4810-AC42-354FED05F7BB}"/>
                  </a:ext>
                </a:extLst>
              </p:cNvPr>
              <p:cNvSpPr/>
              <p:nvPr/>
            </p:nvSpPr>
            <p:spPr>
              <a:xfrm>
                <a:off x="4521463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3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xmlns="" id="{D497EBF3-A1BC-41A2-8FC3-00D8673913A0}"/>
                </a:ext>
              </a:extLst>
            </p:cNvPr>
            <p:cNvGrpSpPr/>
            <p:nvPr/>
          </p:nvGrpSpPr>
          <p:grpSpPr>
            <a:xfrm>
              <a:off x="5742166" y="3556426"/>
              <a:ext cx="565344" cy="565339"/>
              <a:chOff x="5812706" y="3556426"/>
              <a:chExt cx="565344" cy="565339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xmlns="" id="{4F963940-EFFC-4CEA-A2B1-F7FE5A225BF6}"/>
                  </a:ext>
                </a:extLst>
              </p:cNvPr>
              <p:cNvSpPr/>
              <p:nvPr/>
            </p:nvSpPr>
            <p:spPr>
              <a:xfrm>
                <a:off x="5812706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xmlns="" id="{28BCD415-1C93-47CF-87D6-D078DFF5522F}"/>
                  </a:ext>
                </a:extLst>
              </p:cNvPr>
              <p:cNvSpPr/>
              <p:nvPr/>
            </p:nvSpPr>
            <p:spPr>
              <a:xfrm>
                <a:off x="5930043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4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xmlns="" id="{536FD439-4D7D-42C5-ADF3-0BC3A226621B}"/>
                </a:ext>
              </a:extLst>
            </p:cNvPr>
            <p:cNvGrpSpPr/>
            <p:nvPr/>
          </p:nvGrpSpPr>
          <p:grpSpPr>
            <a:xfrm>
              <a:off x="7341217" y="3556426"/>
              <a:ext cx="565344" cy="565339"/>
              <a:chOff x="7211732" y="3556426"/>
              <a:chExt cx="565344" cy="565339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xmlns="" id="{9704DDEE-ADF6-49D9-B6EA-9CE489FFF2E4}"/>
                  </a:ext>
                </a:extLst>
              </p:cNvPr>
              <p:cNvSpPr/>
              <p:nvPr/>
            </p:nvSpPr>
            <p:spPr>
              <a:xfrm>
                <a:off x="7211732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xmlns="" id="{23F4F6EA-F614-4704-849A-41000F123666}"/>
                  </a:ext>
                </a:extLst>
              </p:cNvPr>
              <p:cNvSpPr/>
              <p:nvPr/>
            </p:nvSpPr>
            <p:spPr>
              <a:xfrm>
                <a:off x="7329069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5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xmlns="" id="{31411FAD-3A79-4E3A-B1E4-0ADD67D5B034}"/>
                </a:ext>
              </a:extLst>
            </p:cNvPr>
            <p:cNvGrpSpPr/>
            <p:nvPr/>
          </p:nvGrpSpPr>
          <p:grpSpPr>
            <a:xfrm>
              <a:off x="8940268" y="3556426"/>
              <a:ext cx="565344" cy="565339"/>
              <a:chOff x="8610757" y="3556426"/>
              <a:chExt cx="565344" cy="565339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xmlns="" id="{4E0A6358-FCC8-42E6-BD69-7FE7D29319B3}"/>
                  </a:ext>
                </a:extLst>
              </p:cNvPr>
              <p:cNvSpPr/>
              <p:nvPr/>
            </p:nvSpPr>
            <p:spPr>
              <a:xfrm>
                <a:off x="8610757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xmlns="" id="{F17617C7-096F-4181-9C5C-9D3EB466D65E}"/>
                  </a:ext>
                </a:extLst>
              </p:cNvPr>
              <p:cNvSpPr/>
              <p:nvPr/>
            </p:nvSpPr>
            <p:spPr>
              <a:xfrm>
                <a:off x="8728094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6</a:t>
                </a: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xmlns="" id="{E1A8774E-7E31-4ED9-A02C-E6BE77075CF7}"/>
                </a:ext>
              </a:extLst>
            </p:cNvPr>
            <p:cNvGrpSpPr/>
            <p:nvPr/>
          </p:nvGrpSpPr>
          <p:grpSpPr>
            <a:xfrm>
              <a:off x="10539320" y="3556426"/>
              <a:ext cx="565344" cy="565339"/>
              <a:chOff x="10018211" y="3556426"/>
              <a:chExt cx="565344" cy="565339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xmlns="" id="{5054E65C-D3EF-4A34-B7D3-C04C68C7B7B0}"/>
                  </a:ext>
                </a:extLst>
              </p:cNvPr>
              <p:cNvSpPr/>
              <p:nvPr/>
            </p:nvSpPr>
            <p:spPr>
              <a:xfrm>
                <a:off x="10018211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xmlns="" id="{44B14336-21C5-4DAF-848D-C3E7FD07F99A}"/>
                  </a:ext>
                </a:extLst>
              </p:cNvPr>
              <p:cNvSpPr/>
              <p:nvPr/>
            </p:nvSpPr>
            <p:spPr>
              <a:xfrm>
                <a:off x="10135548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7</a:t>
                </a: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xmlns="" id="{2B2A88DD-097A-49D3-BD99-3E5A8ED4FA15}"/>
                </a:ext>
              </a:extLst>
            </p:cNvPr>
            <p:cNvCxnSpPr/>
            <p:nvPr/>
          </p:nvCxnSpPr>
          <p:spPr>
            <a:xfrm>
              <a:off x="1227685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xmlns="" id="{E8A24795-E3AA-48FC-9B9A-EC4050556EFF}"/>
                </a:ext>
              </a:extLst>
            </p:cNvPr>
            <p:cNvCxnSpPr/>
            <p:nvPr/>
          </p:nvCxnSpPr>
          <p:spPr>
            <a:xfrm>
              <a:off x="4425787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xmlns="" id="{8AD20867-29C7-4C15-B5CF-020676BEF102}"/>
                </a:ext>
              </a:extLst>
            </p:cNvPr>
            <p:cNvCxnSpPr/>
            <p:nvPr/>
          </p:nvCxnSpPr>
          <p:spPr>
            <a:xfrm>
              <a:off x="7623889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xmlns="" id="{65A03593-3D9C-4876-9255-0FCE41632CCF}"/>
                </a:ext>
              </a:extLst>
            </p:cNvPr>
            <p:cNvCxnSpPr/>
            <p:nvPr/>
          </p:nvCxnSpPr>
          <p:spPr>
            <a:xfrm>
              <a:off x="10821992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xmlns="" id="{FAE29020-A7E2-408C-8E8E-55DC165F91F1}"/>
                </a:ext>
              </a:extLst>
            </p:cNvPr>
            <p:cNvCxnSpPr/>
            <p:nvPr/>
          </p:nvCxnSpPr>
          <p:spPr>
            <a:xfrm flipV="1">
              <a:off x="2826736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xmlns="" id="{60B01CBF-B77A-4C1E-8391-BE816606BF58}"/>
                </a:ext>
              </a:extLst>
            </p:cNvPr>
            <p:cNvCxnSpPr/>
            <p:nvPr/>
          </p:nvCxnSpPr>
          <p:spPr>
            <a:xfrm flipV="1">
              <a:off x="6024838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xmlns="" id="{A9D7D71F-2BD3-46B7-9055-B5216E236CAF}"/>
                </a:ext>
              </a:extLst>
            </p:cNvPr>
            <p:cNvCxnSpPr/>
            <p:nvPr/>
          </p:nvCxnSpPr>
          <p:spPr>
            <a:xfrm flipV="1">
              <a:off x="9222940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sp>
          <p:nvSpPr>
            <p:cNvPr id="33" name="Content Placeholder 2">
              <a:extLst>
                <a:ext uri="{FF2B5EF4-FFF2-40B4-BE49-F238E27FC236}">
                  <a16:creationId xmlns:a16="http://schemas.microsoft.com/office/drawing/2014/main" xmlns="" id="{DBDAC750-0091-44D6-8F6B-43F2DF67A8F4}"/>
                </a:ext>
              </a:extLst>
            </p:cNvPr>
            <p:cNvSpPr txBox="1">
              <a:spLocks/>
            </p:cNvSpPr>
            <p:nvPr/>
          </p:nvSpPr>
          <p:spPr>
            <a:xfrm>
              <a:off x="156812" y="2607095"/>
              <a:ext cx="2139238" cy="1938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orem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id-ID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psum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xmlns="" id="{46B7E22C-40BE-4D26-9440-E145F05713BC}"/>
                </a:ext>
              </a:extLst>
            </p:cNvPr>
            <p:cNvGrpSpPr/>
            <p:nvPr/>
          </p:nvGrpSpPr>
          <p:grpSpPr>
            <a:xfrm>
              <a:off x="1036794" y="1966452"/>
              <a:ext cx="379272" cy="360413"/>
              <a:chOff x="5465763" y="1358900"/>
              <a:chExt cx="287337" cy="273050"/>
            </a:xfrm>
            <a:solidFill>
              <a:schemeClr val="accent1"/>
            </a:solidFill>
          </p:grpSpPr>
          <p:sp>
            <p:nvSpPr>
              <p:cNvPr id="70" name="Freeform 567">
                <a:extLst>
                  <a:ext uri="{FF2B5EF4-FFF2-40B4-BE49-F238E27FC236}">
                    <a16:creationId xmlns:a16="http://schemas.microsoft.com/office/drawing/2014/main" xmlns="" id="{9FCD1C76-F33B-4CF0-A2F9-1AA257F102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86413" y="1446213"/>
                <a:ext cx="76200" cy="76200"/>
              </a:xfrm>
              <a:custGeom>
                <a:avLst/>
                <a:gdLst>
                  <a:gd name="T0" fmla="*/ 106 w 241"/>
                  <a:gd name="T1" fmla="*/ 72 h 241"/>
                  <a:gd name="T2" fmla="*/ 108 w 241"/>
                  <a:gd name="T3" fmla="*/ 66 h 241"/>
                  <a:gd name="T4" fmla="*/ 112 w 241"/>
                  <a:gd name="T5" fmla="*/ 63 h 241"/>
                  <a:gd name="T6" fmla="*/ 117 w 241"/>
                  <a:gd name="T7" fmla="*/ 61 h 241"/>
                  <a:gd name="T8" fmla="*/ 124 w 241"/>
                  <a:gd name="T9" fmla="*/ 60 h 241"/>
                  <a:gd name="T10" fmla="*/ 129 w 241"/>
                  <a:gd name="T11" fmla="*/ 63 h 241"/>
                  <a:gd name="T12" fmla="*/ 133 w 241"/>
                  <a:gd name="T13" fmla="*/ 66 h 241"/>
                  <a:gd name="T14" fmla="*/ 136 w 241"/>
                  <a:gd name="T15" fmla="*/ 72 h 241"/>
                  <a:gd name="T16" fmla="*/ 136 w 241"/>
                  <a:gd name="T17" fmla="*/ 165 h 241"/>
                  <a:gd name="T18" fmla="*/ 134 w 241"/>
                  <a:gd name="T19" fmla="*/ 171 h 241"/>
                  <a:gd name="T20" fmla="*/ 131 w 241"/>
                  <a:gd name="T21" fmla="*/ 176 h 241"/>
                  <a:gd name="T22" fmla="*/ 126 w 241"/>
                  <a:gd name="T23" fmla="*/ 179 h 241"/>
                  <a:gd name="T24" fmla="*/ 121 w 241"/>
                  <a:gd name="T25" fmla="*/ 180 h 241"/>
                  <a:gd name="T26" fmla="*/ 115 w 241"/>
                  <a:gd name="T27" fmla="*/ 179 h 241"/>
                  <a:gd name="T28" fmla="*/ 110 w 241"/>
                  <a:gd name="T29" fmla="*/ 176 h 241"/>
                  <a:gd name="T30" fmla="*/ 107 w 241"/>
                  <a:gd name="T31" fmla="*/ 171 h 241"/>
                  <a:gd name="T32" fmla="*/ 106 w 241"/>
                  <a:gd name="T33" fmla="*/ 165 h 241"/>
                  <a:gd name="T34" fmla="*/ 121 w 241"/>
                  <a:gd name="T35" fmla="*/ 241 h 241"/>
                  <a:gd name="T36" fmla="*/ 145 w 241"/>
                  <a:gd name="T37" fmla="*/ 238 h 241"/>
                  <a:gd name="T38" fmla="*/ 168 w 241"/>
                  <a:gd name="T39" fmla="*/ 232 h 241"/>
                  <a:gd name="T40" fmla="*/ 188 w 241"/>
                  <a:gd name="T41" fmla="*/ 220 h 241"/>
                  <a:gd name="T42" fmla="*/ 205 w 241"/>
                  <a:gd name="T43" fmla="*/ 206 h 241"/>
                  <a:gd name="T44" fmla="*/ 220 w 241"/>
                  <a:gd name="T45" fmla="*/ 188 h 241"/>
                  <a:gd name="T46" fmla="*/ 231 w 241"/>
                  <a:gd name="T47" fmla="*/ 167 h 241"/>
                  <a:gd name="T48" fmla="*/ 238 w 241"/>
                  <a:gd name="T49" fmla="*/ 145 h 241"/>
                  <a:gd name="T50" fmla="*/ 241 w 241"/>
                  <a:gd name="T51" fmla="*/ 120 h 241"/>
                  <a:gd name="T52" fmla="*/ 238 w 241"/>
                  <a:gd name="T53" fmla="*/ 96 h 241"/>
                  <a:gd name="T54" fmla="*/ 231 w 241"/>
                  <a:gd name="T55" fmla="*/ 74 h 241"/>
                  <a:gd name="T56" fmla="*/ 220 w 241"/>
                  <a:gd name="T57" fmla="*/ 53 h 241"/>
                  <a:gd name="T58" fmla="*/ 205 w 241"/>
                  <a:gd name="T59" fmla="*/ 35 h 241"/>
                  <a:gd name="T60" fmla="*/ 188 w 241"/>
                  <a:gd name="T61" fmla="*/ 20 h 241"/>
                  <a:gd name="T62" fmla="*/ 168 w 241"/>
                  <a:gd name="T63" fmla="*/ 9 h 241"/>
                  <a:gd name="T64" fmla="*/ 145 w 241"/>
                  <a:gd name="T65" fmla="*/ 2 h 241"/>
                  <a:gd name="T66" fmla="*/ 121 w 241"/>
                  <a:gd name="T67" fmla="*/ 0 h 241"/>
                  <a:gd name="T68" fmla="*/ 96 w 241"/>
                  <a:gd name="T69" fmla="*/ 2 h 241"/>
                  <a:gd name="T70" fmla="*/ 73 w 241"/>
                  <a:gd name="T71" fmla="*/ 9 h 241"/>
                  <a:gd name="T72" fmla="*/ 53 w 241"/>
                  <a:gd name="T73" fmla="*/ 20 h 241"/>
                  <a:gd name="T74" fmla="*/ 36 w 241"/>
                  <a:gd name="T75" fmla="*/ 35 h 241"/>
                  <a:gd name="T76" fmla="*/ 21 w 241"/>
                  <a:gd name="T77" fmla="*/ 53 h 241"/>
                  <a:gd name="T78" fmla="*/ 10 w 241"/>
                  <a:gd name="T79" fmla="*/ 74 h 241"/>
                  <a:gd name="T80" fmla="*/ 3 w 241"/>
                  <a:gd name="T81" fmla="*/ 96 h 241"/>
                  <a:gd name="T82" fmla="*/ 0 w 241"/>
                  <a:gd name="T83" fmla="*/ 120 h 241"/>
                  <a:gd name="T84" fmla="*/ 3 w 241"/>
                  <a:gd name="T85" fmla="*/ 145 h 241"/>
                  <a:gd name="T86" fmla="*/ 10 w 241"/>
                  <a:gd name="T87" fmla="*/ 167 h 241"/>
                  <a:gd name="T88" fmla="*/ 21 w 241"/>
                  <a:gd name="T89" fmla="*/ 188 h 241"/>
                  <a:gd name="T90" fmla="*/ 36 w 241"/>
                  <a:gd name="T91" fmla="*/ 206 h 241"/>
                  <a:gd name="T92" fmla="*/ 53 w 241"/>
                  <a:gd name="T93" fmla="*/ 220 h 241"/>
                  <a:gd name="T94" fmla="*/ 73 w 241"/>
                  <a:gd name="T95" fmla="*/ 232 h 241"/>
                  <a:gd name="T96" fmla="*/ 96 w 241"/>
                  <a:gd name="T97" fmla="*/ 238 h 241"/>
                  <a:gd name="T98" fmla="*/ 121 w 241"/>
                  <a:gd name="T99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" h="241">
                    <a:moveTo>
                      <a:pt x="106" y="75"/>
                    </a:moveTo>
                    <a:lnTo>
                      <a:pt x="106" y="72"/>
                    </a:lnTo>
                    <a:lnTo>
                      <a:pt x="107" y="70"/>
                    </a:lnTo>
                    <a:lnTo>
                      <a:pt x="108" y="66"/>
                    </a:lnTo>
                    <a:lnTo>
                      <a:pt x="110" y="64"/>
                    </a:lnTo>
                    <a:lnTo>
                      <a:pt x="112" y="63"/>
                    </a:lnTo>
                    <a:lnTo>
                      <a:pt x="115" y="61"/>
                    </a:lnTo>
                    <a:lnTo>
                      <a:pt x="117" y="61"/>
                    </a:lnTo>
                    <a:lnTo>
                      <a:pt x="121" y="60"/>
                    </a:lnTo>
                    <a:lnTo>
                      <a:pt x="124" y="60"/>
                    </a:lnTo>
                    <a:lnTo>
                      <a:pt x="126" y="61"/>
                    </a:lnTo>
                    <a:lnTo>
                      <a:pt x="129" y="63"/>
                    </a:lnTo>
                    <a:lnTo>
                      <a:pt x="131" y="64"/>
                    </a:lnTo>
                    <a:lnTo>
                      <a:pt x="133" y="66"/>
                    </a:lnTo>
                    <a:lnTo>
                      <a:pt x="134" y="70"/>
                    </a:lnTo>
                    <a:lnTo>
                      <a:pt x="136" y="72"/>
                    </a:lnTo>
                    <a:lnTo>
                      <a:pt x="136" y="75"/>
                    </a:lnTo>
                    <a:lnTo>
                      <a:pt x="136" y="165"/>
                    </a:lnTo>
                    <a:lnTo>
                      <a:pt x="136" y="168"/>
                    </a:lnTo>
                    <a:lnTo>
                      <a:pt x="134" y="171"/>
                    </a:lnTo>
                    <a:lnTo>
                      <a:pt x="133" y="174"/>
                    </a:lnTo>
                    <a:lnTo>
                      <a:pt x="131" y="176"/>
                    </a:lnTo>
                    <a:lnTo>
                      <a:pt x="129" y="178"/>
                    </a:lnTo>
                    <a:lnTo>
                      <a:pt x="126" y="179"/>
                    </a:lnTo>
                    <a:lnTo>
                      <a:pt x="124" y="180"/>
                    </a:lnTo>
                    <a:lnTo>
                      <a:pt x="121" y="180"/>
                    </a:lnTo>
                    <a:lnTo>
                      <a:pt x="117" y="180"/>
                    </a:lnTo>
                    <a:lnTo>
                      <a:pt x="115" y="179"/>
                    </a:lnTo>
                    <a:lnTo>
                      <a:pt x="112" y="178"/>
                    </a:lnTo>
                    <a:lnTo>
                      <a:pt x="110" y="176"/>
                    </a:lnTo>
                    <a:lnTo>
                      <a:pt x="108" y="174"/>
                    </a:lnTo>
                    <a:lnTo>
                      <a:pt x="107" y="171"/>
                    </a:lnTo>
                    <a:lnTo>
                      <a:pt x="106" y="168"/>
                    </a:lnTo>
                    <a:lnTo>
                      <a:pt x="106" y="165"/>
                    </a:lnTo>
                    <a:lnTo>
                      <a:pt x="106" y="75"/>
                    </a:lnTo>
                    <a:close/>
                    <a:moveTo>
                      <a:pt x="121" y="241"/>
                    </a:moveTo>
                    <a:lnTo>
                      <a:pt x="132" y="240"/>
                    </a:lnTo>
                    <a:lnTo>
                      <a:pt x="145" y="238"/>
                    </a:lnTo>
                    <a:lnTo>
                      <a:pt x="156" y="236"/>
                    </a:lnTo>
                    <a:lnTo>
                      <a:pt x="168" y="232"/>
                    </a:lnTo>
                    <a:lnTo>
                      <a:pt x="177" y="226"/>
                    </a:lnTo>
                    <a:lnTo>
                      <a:pt x="188" y="220"/>
                    </a:lnTo>
                    <a:lnTo>
                      <a:pt x="197" y="213"/>
                    </a:lnTo>
                    <a:lnTo>
                      <a:pt x="205" y="206"/>
                    </a:lnTo>
                    <a:lnTo>
                      <a:pt x="214" y="197"/>
                    </a:lnTo>
                    <a:lnTo>
                      <a:pt x="220" y="188"/>
                    </a:lnTo>
                    <a:lnTo>
                      <a:pt x="227" y="178"/>
                    </a:lnTo>
                    <a:lnTo>
                      <a:pt x="231" y="167"/>
                    </a:lnTo>
                    <a:lnTo>
                      <a:pt x="235" y="156"/>
                    </a:lnTo>
                    <a:lnTo>
                      <a:pt x="238" y="145"/>
                    </a:lnTo>
                    <a:lnTo>
                      <a:pt x="241" y="133"/>
                    </a:lnTo>
                    <a:lnTo>
                      <a:pt x="241" y="120"/>
                    </a:lnTo>
                    <a:lnTo>
                      <a:pt x="241" y="108"/>
                    </a:lnTo>
                    <a:lnTo>
                      <a:pt x="238" y="96"/>
                    </a:lnTo>
                    <a:lnTo>
                      <a:pt x="235" y="85"/>
                    </a:lnTo>
                    <a:lnTo>
                      <a:pt x="231" y="74"/>
                    </a:lnTo>
                    <a:lnTo>
                      <a:pt x="227" y="63"/>
                    </a:lnTo>
                    <a:lnTo>
                      <a:pt x="220" y="53"/>
                    </a:lnTo>
                    <a:lnTo>
                      <a:pt x="214" y="44"/>
                    </a:lnTo>
                    <a:lnTo>
                      <a:pt x="205" y="35"/>
                    </a:lnTo>
                    <a:lnTo>
                      <a:pt x="197" y="28"/>
                    </a:lnTo>
                    <a:lnTo>
                      <a:pt x="188" y="20"/>
                    </a:lnTo>
                    <a:lnTo>
                      <a:pt x="177" y="15"/>
                    </a:lnTo>
                    <a:lnTo>
                      <a:pt x="168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1"/>
                    </a:lnTo>
                    <a:lnTo>
                      <a:pt x="121" y="0"/>
                    </a:lnTo>
                    <a:lnTo>
                      <a:pt x="109" y="1"/>
                    </a:lnTo>
                    <a:lnTo>
                      <a:pt x="96" y="2"/>
                    </a:lnTo>
                    <a:lnTo>
                      <a:pt x="85" y="5"/>
                    </a:lnTo>
                    <a:lnTo>
                      <a:pt x="73" y="9"/>
                    </a:lnTo>
                    <a:lnTo>
                      <a:pt x="64" y="15"/>
                    </a:lnTo>
                    <a:lnTo>
                      <a:pt x="53" y="20"/>
                    </a:lnTo>
                    <a:lnTo>
                      <a:pt x="44" y="28"/>
                    </a:lnTo>
                    <a:lnTo>
                      <a:pt x="36" y="35"/>
                    </a:lnTo>
                    <a:lnTo>
                      <a:pt x="27" y="44"/>
                    </a:lnTo>
                    <a:lnTo>
                      <a:pt x="21" y="53"/>
                    </a:lnTo>
                    <a:lnTo>
                      <a:pt x="14" y="63"/>
                    </a:lnTo>
                    <a:lnTo>
                      <a:pt x="10" y="74"/>
                    </a:lnTo>
                    <a:lnTo>
                      <a:pt x="6" y="85"/>
                    </a:lnTo>
                    <a:lnTo>
                      <a:pt x="3" y="96"/>
                    </a:lnTo>
                    <a:lnTo>
                      <a:pt x="0" y="108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3" y="145"/>
                    </a:lnTo>
                    <a:lnTo>
                      <a:pt x="6" y="156"/>
                    </a:lnTo>
                    <a:lnTo>
                      <a:pt x="10" y="167"/>
                    </a:lnTo>
                    <a:lnTo>
                      <a:pt x="14" y="178"/>
                    </a:lnTo>
                    <a:lnTo>
                      <a:pt x="21" y="188"/>
                    </a:lnTo>
                    <a:lnTo>
                      <a:pt x="27" y="197"/>
                    </a:lnTo>
                    <a:lnTo>
                      <a:pt x="36" y="206"/>
                    </a:lnTo>
                    <a:lnTo>
                      <a:pt x="44" y="213"/>
                    </a:lnTo>
                    <a:lnTo>
                      <a:pt x="53" y="220"/>
                    </a:lnTo>
                    <a:lnTo>
                      <a:pt x="64" y="226"/>
                    </a:lnTo>
                    <a:lnTo>
                      <a:pt x="73" y="232"/>
                    </a:lnTo>
                    <a:lnTo>
                      <a:pt x="85" y="236"/>
                    </a:lnTo>
                    <a:lnTo>
                      <a:pt x="96" y="238"/>
                    </a:lnTo>
                    <a:lnTo>
                      <a:pt x="109" y="240"/>
                    </a:lnTo>
                    <a:lnTo>
                      <a:pt x="121" y="2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 568">
                <a:extLst>
                  <a:ext uri="{FF2B5EF4-FFF2-40B4-BE49-F238E27FC236}">
                    <a16:creationId xmlns:a16="http://schemas.microsoft.com/office/drawing/2014/main" xmlns="" id="{EF6D8185-A903-4049-94AB-4E103EE87C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43563" y="1358900"/>
                <a:ext cx="76200" cy="77788"/>
              </a:xfrm>
              <a:custGeom>
                <a:avLst/>
                <a:gdLst>
                  <a:gd name="T0" fmla="*/ 106 w 241"/>
                  <a:gd name="T1" fmla="*/ 73 h 242"/>
                  <a:gd name="T2" fmla="*/ 108 w 241"/>
                  <a:gd name="T3" fmla="*/ 68 h 242"/>
                  <a:gd name="T4" fmla="*/ 112 w 241"/>
                  <a:gd name="T5" fmla="*/ 64 h 242"/>
                  <a:gd name="T6" fmla="*/ 118 w 241"/>
                  <a:gd name="T7" fmla="*/ 62 h 242"/>
                  <a:gd name="T8" fmla="*/ 123 w 241"/>
                  <a:gd name="T9" fmla="*/ 62 h 242"/>
                  <a:gd name="T10" fmla="*/ 128 w 241"/>
                  <a:gd name="T11" fmla="*/ 64 h 242"/>
                  <a:gd name="T12" fmla="*/ 133 w 241"/>
                  <a:gd name="T13" fmla="*/ 68 h 242"/>
                  <a:gd name="T14" fmla="*/ 135 w 241"/>
                  <a:gd name="T15" fmla="*/ 73 h 242"/>
                  <a:gd name="T16" fmla="*/ 135 w 241"/>
                  <a:gd name="T17" fmla="*/ 167 h 242"/>
                  <a:gd name="T18" fmla="*/ 134 w 241"/>
                  <a:gd name="T19" fmla="*/ 172 h 242"/>
                  <a:gd name="T20" fmla="*/ 130 w 241"/>
                  <a:gd name="T21" fmla="*/ 177 h 242"/>
                  <a:gd name="T22" fmla="*/ 126 w 241"/>
                  <a:gd name="T23" fmla="*/ 181 h 242"/>
                  <a:gd name="T24" fmla="*/ 120 w 241"/>
                  <a:gd name="T25" fmla="*/ 182 h 242"/>
                  <a:gd name="T26" fmla="*/ 114 w 241"/>
                  <a:gd name="T27" fmla="*/ 181 h 242"/>
                  <a:gd name="T28" fmla="*/ 110 w 241"/>
                  <a:gd name="T29" fmla="*/ 177 h 242"/>
                  <a:gd name="T30" fmla="*/ 107 w 241"/>
                  <a:gd name="T31" fmla="*/ 172 h 242"/>
                  <a:gd name="T32" fmla="*/ 105 w 241"/>
                  <a:gd name="T33" fmla="*/ 167 h 242"/>
                  <a:gd name="T34" fmla="*/ 120 w 241"/>
                  <a:gd name="T35" fmla="*/ 242 h 242"/>
                  <a:gd name="T36" fmla="*/ 144 w 241"/>
                  <a:gd name="T37" fmla="*/ 240 h 242"/>
                  <a:gd name="T38" fmla="*/ 167 w 241"/>
                  <a:gd name="T39" fmla="*/ 232 h 242"/>
                  <a:gd name="T40" fmla="*/ 187 w 241"/>
                  <a:gd name="T41" fmla="*/ 221 h 242"/>
                  <a:gd name="T42" fmla="*/ 206 w 241"/>
                  <a:gd name="T43" fmla="*/ 206 h 242"/>
                  <a:gd name="T44" fmla="*/ 221 w 241"/>
                  <a:gd name="T45" fmla="*/ 188 h 242"/>
                  <a:gd name="T46" fmla="*/ 231 w 241"/>
                  <a:gd name="T47" fmla="*/ 168 h 242"/>
                  <a:gd name="T48" fmla="*/ 238 w 241"/>
                  <a:gd name="T49" fmla="*/ 145 h 242"/>
                  <a:gd name="T50" fmla="*/ 241 w 241"/>
                  <a:gd name="T51" fmla="*/ 122 h 242"/>
                  <a:gd name="T52" fmla="*/ 238 w 241"/>
                  <a:gd name="T53" fmla="*/ 97 h 242"/>
                  <a:gd name="T54" fmla="*/ 231 w 241"/>
                  <a:gd name="T55" fmla="*/ 74 h 242"/>
                  <a:gd name="T56" fmla="*/ 221 w 241"/>
                  <a:gd name="T57" fmla="*/ 54 h 242"/>
                  <a:gd name="T58" fmla="*/ 206 w 241"/>
                  <a:gd name="T59" fmla="*/ 36 h 242"/>
                  <a:gd name="T60" fmla="*/ 187 w 241"/>
                  <a:gd name="T61" fmla="*/ 22 h 242"/>
                  <a:gd name="T62" fmla="*/ 167 w 241"/>
                  <a:gd name="T63" fmla="*/ 10 h 242"/>
                  <a:gd name="T64" fmla="*/ 144 w 241"/>
                  <a:gd name="T65" fmla="*/ 4 h 242"/>
                  <a:gd name="T66" fmla="*/ 120 w 241"/>
                  <a:gd name="T67" fmla="*/ 0 h 242"/>
                  <a:gd name="T68" fmla="*/ 96 w 241"/>
                  <a:gd name="T69" fmla="*/ 4 h 242"/>
                  <a:gd name="T70" fmla="*/ 74 w 241"/>
                  <a:gd name="T71" fmla="*/ 10 h 242"/>
                  <a:gd name="T72" fmla="*/ 53 w 241"/>
                  <a:gd name="T73" fmla="*/ 22 h 242"/>
                  <a:gd name="T74" fmla="*/ 35 w 241"/>
                  <a:gd name="T75" fmla="*/ 36 h 242"/>
                  <a:gd name="T76" fmla="*/ 20 w 241"/>
                  <a:gd name="T77" fmla="*/ 54 h 242"/>
                  <a:gd name="T78" fmla="*/ 9 w 241"/>
                  <a:gd name="T79" fmla="*/ 74 h 242"/>
                  <a:gd name="T80" fmla="*/ 2 w 241"/>
                  <a:gd name="T81" fmla="*/ 97 h 242"/>
                  <a:gd name="T82" fmla="*/ 0 w 241"/>
                  <a:gd name="T83" fmla="*/ 122 h 242"/>
                  <a:gd name="T84" fmla="*/ 2 w 241"/>
                  <a:gd name="T85" fmla="*/ 145 h 242"/>
                  <a:gd name="T86" fmla="*/ 9 w 241"/>
                  <a:gd name="T87" fmla="*/ 168 h 242"/>
                  <a:gd name="T88" fmla="*/ 20 w 241"/>
                  <a:gd name="T89" fmla="*/ 188 h 242"/>
                  <a:gd name="T90" fmla="*/ 35 w 241"/>
                  <a:gd name="T91" fmla="*/ 206 h 242"/>
                  <a:gd name="T92" fmla="*/ 53 w 241"/>
                  <a:gd name="T93" fmla="*/ 221 h 242"/>
                  <a:gd name="T94" fmla="*/ 74 w 241"/>
                  <a:gd name="T95" fmla="*/ 232 h 242"/>
                  <a:gd name="T96" fmla="*/ 96 w 241"/>
                  <a:gd name="T97" fmla="*/ 240 h 242"/>
                  <a:gd name="T98" fmla="*/ 120 w 241"/>
                  <a:gd name="T99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" h="242">
                    <a:moveTo>
                      <a:pt x="105" y="77"/>
                    </a:moveTo>
                    <a:lnTo>
                      <a:pt x="106" y="73"/>
                    </a:lnTo>
                    <a:lnTo>
                      <a:pt x="107" y="70"/>
                    </a:lnTo>
                    <a:lnTo>
                      <a:pt x="108" y="68"/>
                    </a:lnTo>
                    <a:lnTo>
                      <a:pt x="110" y="66"/>
                    </a:lnTo>
                    <a:lnTo>
                      <a:pt x="112" y="64"/>
                    </a:lnTo>
                    <a:lnTo>
                      <a:pt x="114" y="63"/>
                    </a:lnTo>
                    <a:lnTo>
                      <a:pt x="118" y="62"/>
                    </a:lnTo>
                    <a:lnTo>
                      <a:pt x="120" y="62"/>
                    </a:lnTo>
                    <a:lnTo>
                      <a:pt x="123" y="62"/>
                    </a:lnTo>
                    <a:lnTo>
                      <a:pt x="126" y="63"/>
                    </a:lnTo>
                    <a:lnTo>
                      <a:pt x="128" y="64"/>
                    </a:lnTo>
                    <a:lnTo>
                      <a:pt x="130" y="66"/>
                    </a:lnTo>
                    <a:lnTo>
                      <a:pt x="133" y="68"/>
                    </a:lnTo>
                    <a:lnTo>
                      <a:pt x="134" y="70"/>
                    </a:lnTo>
                    <a:lnTo>
                      <a:pt x="135" y="73"/>
                    </a:lnTo>
                    <a:lnTo>
                      <a:pt x="135" y="77"/>
                    </a:lnTo>
                    <a:lnTo>
                      <a:pt x="135" y="167"/>
                    </a:lnTo>
                    <a:lnTo>
                      <a:pt x="135" y="170"/>
                    </a:lnTo>
                    <a:lnTo>
                      <a:pt x="134" y="172"/>
                    </a:lnTo>
                    <a:lnTo>
                      <a:pt x="133" y="175"/>
                    </a:lnTo>
                    <a:lnTo>
                      <a:pt x="130" y="177"/>
                    </a:lnTo>
                    <a:lnTo>
                      <a:pt x="128" y="178"/>
                    </a:lnTo>
                    <a:lnTo>
                      <a:pt x="126" y="181"/>
                    </a:lnTo>
                    <a:lnTo>
                      <a:pt x="123" y="182"/>
                    </a:lnTo>
                    <a:lnTo>
                      <a:pt x="120" y="182"/>
                    </a:lnTo>
                    <a:lnTo>
                      <a:pt x="118" y="182"/>
                    </a:lnTo>
                    <a:lnTo>
                      <a:pt x="114" y="181"/>
                    </a:lnTo>
                    <a:lnTo>
                      <a:pt x="112" y="178"/>
                    </a:lnTo>
                    <a:lnTo>
                      <a:pt x="110" y="177"/>
                    </a:lnTo>
                    <a:lnTo>
                      <a:pt x="108" y="175"/>
                    </a:lnTo>
                    <a:lnTo>
                      <a:pt x="107" y="172"/>
                    </a:lnTo>
                    <a:lnTo>
                      <a:pt x="106" y="170"/>
                    </a:lnTo>
                    <a:lnTo>
                      <a:pt x="105" y="167"/>
                    </a:lnTo>
                    <a:lnTo>
                      <a:pt x="105" y="77"/>
                    </a:lnTo>
                    <a:close/>
                    <a:moveTo>
                      <a:pt x="120" y="242"/>
                    </a:moveTo>
                    <a:lnTo>
                      <a:pt x="133" y="241"/>
                    </a:lnTo>
                    <a:lnTo>
                      <a:pt x="144" y="240"/>
                    </a:lnTo>
                    <a:lnTo>
                      <a:pt x="156" y="236"/>
                    </a:lnTo>
                    <a:lnTo>
                      <a:pt x="167" y="232"/>
                    </a:lnTo>
                    <a:lnTo>
                      <a:pt x="178" y="227"/>
                    </a:lnTo>
                    <a:lnTo>
                      <a:pt x="187" y="221"/>
                    </a:lnTo>
                    <a:lnTo>
                      <a:pt x="197" y="214"/>
                    </a:lnTo>
                    <a:lnTo>
                      <a:pt x="206" y="206"/>
                    </a:lnTo>
                    <a:lnTo>
                      <a:pt x="213" y="198"/>
                    </a:lnTo>
                    <a:lnTo>
                      <a:pt x="221" y="188"/>
                    </a:lnTo>
                    <a:lnTo>
                      <a:pt x="226" y="178"/>
                    </a:lnTo>
                    <a:lnTo>
                      <a:pt x="231" y="168"/>
                    </a:lnTo>
                    <a:lnTo>
                      <a:pt x="236" y="157"/>
                    </a:lnTo>
                    <a:lnTo>
                      <a:pt x="238" y="145"/>
                    </a:lnTo>
                    <a:lnTo>
                      <a:pt x="240" y="133"/>
                    </a:lnTo>
                    <a:lnTo>
                      <a:pt x="241" y="122"/>
                    </a:lnTo>
                    <a:lnTo>
                      <a:pt x="240" y="109"/>
                    </a:lnTo>
                    <a:lnTo>
                      <a:pt x="238" y="97"/>
                    </a:lnTo>
                    <a:lnTo>
                      <a:pt x="236" y="85"/>
                    </a:lnTo>
                    <a:lnTo>
                      <a:pt x="231" y="74"/>
                    </a:lnTo>
                    <a:lnTo>
                      <a:pt x="226" y="64"/>
                    </a:lnTo>
                    <a:lnTo>
                      <a:pt x="221" y="54"/>
                    </a:lnTo>
                    <a:lnTo>
                      <a:pt x="213" y="44"/>
                    </a:lnTo>
                    <a:lnTo>
                      <a:pt x="206" y="36"/>
                    </a:lnTo>
                    <a:lnTo>
                      <a:pt x="197" y="28"/>
                    </a:lnTo>
                    <a:lnTo>
                      <a:pt x="187" y="22"/>
                    </a:lnTo>
                    <a:lnTo>
                      <a:pt x="178" y="15"/>
                    </a:lnTo>
                    <a:lnTo>
                      <a:pt x="167" y="10"/>
                    </a:lnTo>
                    <a:lnTo>
                      <a:pt x="156" y="7"/>
                    </a:lnTo>
                    <a:lnTo>
                      <a:pt x="144" y="4"/>
                    </a:lnTo>
                    <a:lnTo>
                      <a:pt x="133" y="2"/>
                    </a:lnTo>
                    <a:lnTo>
                      <a:pt x="120" y="0"/>
                    </a:lnTo>
                    <a:lnTo>
                      <a:pt x="108" y="2"/>
                    </a:lnTo>
                    <a:lnTo>
                      <a:pt x="96" y="4"/>
                    </a:lnTo>
                    <a:lnTo>
                      <a:pt x="84" y="6"/>
                    </a:lnTo>
                    <a:lnTo>
                      <a:pt x="74" y="10"/>
                    </a:lnTo>
                    <a:lnTo>
                      <a:pt x="63" y="15"/>
                    </a:lnTo>
                    <a:lnTo>
                      <a:pt x="53" y="22"/>
                    </a:lnTo>
                    <a:lnTo>
                      <a:pt x="44" y="28"/>
                    </a:lnTo>
                    <a:lnTo>
                      <a:pt x="35" y="36"/>
                    </a:lnTo>
                    <a:lnTo>
                      <a:pt x="27" y="44"/>
                    </a:lnTo>
                    <a:lnTo>
                      <a:pt x="20" y="54"/>
                    </a:lnTo>
                    <a:lnTo>
                      <a:pt x="15" y="64"/>
                    </a:lnTo>
                    <a:lnTo>
                      <a:pt x="9" y="74"/>
                    </a:lnTo>
                    <a:lnTo>
                      <a:pt x="5" y="85"/>
                    </a:lnTo>
                    <a:lnTo>
                      <a:pt x="2" y="97"/>
                    </a:lnTo>
                    <a:lnTo>
                      <a:pt x="1" y="109"/>
                    </a:lnTo>
                    <a:lnTo>
                      <a:pt x="0" y="122"/>
                    </a:lnTo>
                    <a:lnTo>
                      <a:pt x="1" y="133"/>
                    </a:lnTo>
                    <a:lnTo>
                      <a:pt x="2" y="145"/>
                    </a:lnTo>
                    <a:lnTo>
                      <a:pt x="5" y="157"/>
                    </a:lnTo>
                    <a:lnTo>
                      <a:pt x="9" y="168"/>
                    </a:lnTo>
                    <a:lnTo>
                      <a:pt x="15" y="178"/>
                    </a:lnTo>
                    <a:lnTo>
                      <a:pt x="20" y="188"/>
                    </a:lnTo>
                    <a:lnTo>
                      <a:pt x="27" y="198"/>
                    </a:lnTo>
                    <a:lnTo>
                      <a:pt x="35" y="206"/>
                    </a:lnTo>
                    <a:lnTo>
                      <a:pt x="44" y="214"/>
                    </a:lnTo>
                    <a:lnTo>
                      <a:pt x="53" y="221"/>
                    </a:lnTo>
                    <a:lnTo>
                      <a:pt x="63" y="227"/>
                    </a:lnTo>
                    <a:lnTo>
                      <a:pt x="74" y="232"/>
                    </a:lnTo>
                    <a:lnTo>
                      <a:pt x="84" y="236"/>
                    </a:lnTo>
                    <a:lnTo>
                      <a:pt x="96" y="240"/>
                    </a:lnTo>
                    <a:lnTo>
                      <a:pt x="108" y="241"/>
                    </a:lnTo>
                    <a:lnTo>
                      <a:pt x="120" y="2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Freeform 569">
                <a:extLst>
                  <a:ext uri="{FF2B5EF4-FFF2-40B4-BE49-F238E27FC236}">
                    <a16:creationId xmlns:a16="http://schemas.microsoft.com/office/drawing/2014/main" xmlns="" id="{5446D7B6-8208-48C2-9958-A37755FFE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5763" y="1517650"/>
                <a:ext cx="57150" cy="95250"/>
              </a:xfrm>
              <a:custGeom>
                <a:avLst/>
                <a:gdLst>
                  <a:gd name="T0" fmla="*/ 165 w 180"/>
                  <a:gd name="T1" fmla="*/ 0 h 302"/>
                  <a:gd name="T2" fmla="*/ 15 w 180"/>
                  <a:gd name="T3" fmla="*/ 0 h 302"/>
                  <a:gd name="T4" fmla="*/ 12 w 180"/>
                  <a:gd name="T5" fmla="*/ 0 h 302"/>
                  <a:gd name="T6" fmla="*/ 9 w 180"/>
                  <a:gd name="T7" fmla="*/ 1 h 302"/>
                  <a:gd name="T8" fmla="*/ 6 w 180"/>
                  <a:gd name="T9" fmla="*/ 2 h 302"/>
                  <a:gd name="T10" fmla="*/ 4 w 180"/>
                  <a:gd name="T11" fmla="*/ 4 h 302"/>
                  <a:gd name="T12" fmla="*/ 2 w 180"/>
                  <a:gd name="T13" fmla="*/ 7 h 302"/>
                  <a:gd name="T14" fmla="*/ 1 w 180"/>
                  <a:gd name="T15" fmla="*/ 9 h 302"/>
                  <a:gd name="T16" fmla="*/ 0 w 180"/>
                  <a:gd name="T17" fmla="*/ 12 h 302"/>
                  <a:gd name="T18" fmla="*/ 0 w 180"/>
                  <a:gd name="T19" fmla="*/ 15 h 302"/>
                  <a:gd name="T20" fmla="*/ 0 w 180"/>
                  <a:gd name="T21" fmla="*/ 287 h 302"/>
                  <a:gd name="T22" fmla="*/ 0 w 180"/>
                  <a:gd name="T23" fmla="*/ 289 h 302"/>
                  <a:gd name="T24" fmla="*/ 1 w 180"/>
                  <a:gd name="T25" fmla="*/ 292 h 302"/>
                  <a:gd name="T26" fmla="*/ 2 w 180"/>
                  <a:gd name="T27" fmla="*/ 294 h 302"/>
                  <a:gd name="T28" fmla="*/ 4 w 180"/>
                  <a:gd name="T29" fmla="*/ 296 h 302"/>
                  <a:gd name="T30" fmla="*/ 6 w 180"/>
                  <a:gd name="T31" fmla="*/ 298 h 302"/>
                  <a:gd name="T32" fmla="*/ 9 w 180"/>
                  <a:gd name="T33" fmla="*/ 299 h 302"/>
                  <a:gd name="T34" fmla="*/ 12 w 180"/>
                  <a:gd name="T35" fmla="*/ 301 h 302"/>
                  <a:gd name="T36" fmla="*/ 15 w 180"/>
                  <a:gd name="T37" fmla="*/ 302 h 302"/>
                  <a:gd name="T38" fmla="*/ 165 w 180"/>
                  <a:gd name="T39" fmla="*/ 302 h 302"/>
                  <a:gd name="T40" fmla="*/ 168 w 180"/>
                  <a:gd name="T41" fmla="*/ 301 h 302"/>
                  <a:gd name="T42" fmla="*/ 172 w 180"/>
                  <a:gd name="T43" fmla="*/ 299 h 302"/>
                  <a:gd name="T44" fmla="*/ 174 w 180"/>
                  <a:gd name="T45" fmla="*/ 298 h 302"/>
                  <a:gd name="T46" fmla="*/ 176 w 180"/>
                  <a:gd name="T47" fmla="*/ 296 h 302"/>
                  <a:gd name="T48" fmla="*/ 178 w 180"/>
                  <a:gd name="T49" fmla="*/ 294 h 302"/>
                  <a:gd name="T50" fmla="*/ 179 w 180"/>
                  <a:gd name="T51" fmla="*/ 292 h 302"/>
                  <a:gd name="T52" fmla="*/ 180 w 180"/>
                  <a:gd name="T53" fmla="*/ 289 h 302"/>
                  <a:gd name="T54" fmla="*/ 180 w 180"/>
                  <a:gd name="T55" fmla="*/ 287 h 302"/>
                  <a:gd name="T56" fmla="*/ 180 w 180"/>
                  <a:gd name="T57" fmla="*/ 15 h 302"/>
                  <a:gd name="T58" fmla="*/ 180 w 180"/>
                  <a:gd name="T59" fmla="*/ 12 h 302"/>
                  <a:gd name="T60" fmla="*/ 179 w 180"/>
                  <a:gd name="T61" fmla="*/ 9 h 302"/>
                  <a:gd name="T62" fmla="*/ 178 w 180"/>
                  <a:gd name="T63" fmla="*/ 7 h 302"/>
                  <a:gd name="T64" fmla="*/ 176 w 180"/>
                  <a:gd name="T65" fmla="*/ 4 h 302"/>
                  <a:gd name="T66" fmla="*/ 174 w 180"/>
                  <a:gd name="T67" fmla="*/ 2 h 302"/>
                  <a:gd name="T68" fmla="*/ 172 w 180"/>
                  <a:gd name="T69" fmla="*/ 1 h 302"/>
                  <a:gd name="T70" fmla="*/ 168 w 180"/>
                  <a:gd name="T71" fmla="*/ 0 h 302"/>
                  <a:gd name="T72" fmla="*/ 165 w 180"/>
                  <a:gd name="T73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0" h="302">
                    <a:moveTo>
                      <a:pt x="16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287"/>
                    </a:lnTo>
                    <a:lnTo>
                      <a:pt x="0" y="289"/>
                    </a:lnTo>
                    <a:lnTo>
                      <a:pt x="1" y="292"/>
                    </a:lnTo>
                    <a:lnTo>
                      <a:pt x="2" y="294"/>
                    </a:lnTo>
                    <a:lnTo>
                      <a:pt x="4" y="296"/>
                    </a:lnTo>
                    <a:lnTo>
                      <a:pt x="6" y="298"/>
                    </a:lnTo>
                    <a:lnTo>
                      <a:pt x="9" y="299"/>
                    </a:lnTo>
                    <a:lnTo>
                      <a:pt x="12" y="301"/>
                    </a:lnTo>
                    <a:lnTo>
                      <a:pt x="15" y="302"/>
                    </a:lnTo>
                    <a:lnTo>
                      <a:pt x="165" y="302"/>
                    </a:lnTo>
                    <a:lnTo>
                      <a:pt x="168" y="301"/>
                    </a:lnTo>
                    <a:lnTo>
                      <a:pt x="172" y="299"/>
                    </a:lnTo>
                    <a:lnTo>
                      <a:pt x="174" y="298"/>
                    </a:lnTo>
                    <a:lnTo>
                      <a:pt x="176" y="296"/>
                    </a:lnTo>
                    <a:lnTo>
                      <a:pt x="178" y="294"/>
                    </a:lnTo>
                    <a:lnTo>
                      <a:pt x="179" y="292"/>
                    </a:lnTo>
                    <a:lnTo>
                      <a:pt x="180" y="289"/>
                    </a:lnTo>
                    <a:lnTo>
                      <a:pt x="180" y="287"/>
                    </a:lnTo>
                    <a:lnTo>
                      <a:pt x="180" y="15"/>
                    </a:lnTo>
                    <a:lnTo>
                      <a:pt x="180" y="12"/>
                    </a:lnTo>
                    <a:lnTo>
                      <a:pt x="179" y="9"/>
                    </a:lnTo>
                    <a:lnTo>
                      <a:pt x="178" y="7"/>
                    </a:lnTo>
                    <a:lnTo>
                      <a:pt x="176" y="4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8" y="0"/>
                    </a:lnTo>
                    <a:lnTo>
                      <a:pt x="1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 570">
                <a:extLst>
                  <a:ext uri="{FF2B5EF4-FFF2-40B4-BE49-F238E27FC236}">
                    <a16:creationId xmlns:a16="http://schemas.microsoft.com/office/drawing/2014/main" xmlns="" id="{B37A71C9-B99B-4829-84B1-46806FD3F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7675" y="1527175"/>
                <a:ext cx="225425" cy="104775"/>
              </a:xfrm>
              <a:custGeom>
                <a:avLst/>
                <a:gdLst>
                  <a:gd name="T0" fmla="*/ 688 w 708"/>
                  <a:gd name="T1" fmla="*/ 110 h 331"/>
                  <a:gd name="T2" fmla="*/ 665 w 708"/>
                  <a:gd name="T3" fmla="*/ 95 h 331"/>
                  <a:gd name="T4" fmla="*/ 644 w 708"/>
                  <a:gd name="T5" fmla="*/ 87 h 331"/>
                  <a:gd name="T6" fmla="*/ 622 w 708"/>
                  <a:gd name="T7" fmla="*/ 85 h 331"/>
                  <a:gd name="T8" fmla="*/ 583 w 708"/>
                  <a:gd name="T9" fmla="*/ 91 h 331"/>
                  <a:gd name="T10" fmla="*/ 502 w 708"/>
                  <a:gd name="T11" fmla="*/ 137 h 331"/>
                  <a:gd name="T12" fmla="*/ 486 w 708"/>
                  <a:gd name="T13" fmla="*/ 162 h 331"/>
                  <a:gd name="T14" fmla="*/ 468 w 708"/>
                  <a:gd name="T15" fmla="*/ 175 h 331"/>
                  <a:gd name="T16" fmla="*/ 445 w 708"/>
                  <a:gd name="T17" fmla="*/ 180 h 331"/>
                  <a:gd name="T18" fmla="*/ 226 w 708"/>
                  <a:gd name="T19" fmla="*/ 180 h 331"/>
                  <a:gd name="T20" fmla="*/ 218 w 708"/>
                  <a:gd name="T21" fmla="*/ 178 h 331"/>
                  <a:gd name="T22" fmla="*/ 213 w 708"/>
                  <a:gd name="T23" fmla="*/ 172 h 331"/>
                  <a:gd name="T24" fmla="*/ 211 w 708"/>
                  <a:gd name="T25" fmla="*/ 162 h 331"/>
                  <a:gd name="T26" fmla="*/ 216 w 708"/>
                  <a:gd name="T27" fmla="*/ 155 h 331"/>
                  <a:gd name="T28" fmla="*/ 223 w 708"/>
                  <a:gd name="T29" fmla="*/ 151 h 331"/>
                  <a:gd name="T30" fmla="*/ 437 w 708"/>
                  <a:gd name="T31" fmla="*/ 150 h 331"/>
                  <a:gd name="T32" fmla="*/ 461 w 708"/>
                  <a:gd name="T33" fmla="*/ 143 h 331"/>
                  <a:gd name="T34" fmla="*/ 475 w 708"/>
                  <a:gd name="T35" fmla="*/ 122 h 331"/>
                  <a:gd name="T36" fmla="*/ 478 w 708"/>
                  <a:gd name="T37" fmla="*/ 102 h 331"/>
                  <a:gd name="T38" fmla="*/ 470 w 708"/>
                  <a:gd name="T39" fmla="*/ 84 h 331"/>
                  <a:gd name="T40" fmla="*/ 451 w 708"/>
                  <a:gd name="T41" fmla="*/ 67 h 331"/>
                  <a:gd name="T42" fmla="*/ 422 w 708"/>
                  <a:gd name="T43" fmla="*/ 60 h 331"/>
                  <a:gd name="T44" fmla="*/ 389 w 708"/>
                  <a:gd name="T45" fmla="*/ 60 h 331"/>
                  <a:gd name="T46" fmla="*/ 365 w 708"/>
                  <a:gd name="T47" fmla="*/ 60 h 331"/>
                  <a:gd name="T48" fmla="*/ 339 w 708"/>
                  <a:gd name="T49" fmla="*/ 60 h 331"/>
                  <a:gd name="T50" fmla="*/ 307 w 708"/>
                  <a:gd name="T51" fmla="*/ 60 h 331"/>
                  <a:gd name="T52" fmla="*/ 246 w 708"/>
                  <a:gd name="T53" fmla="*/ 24 h 331"/>
                  <a:gd name="T54" fmla="*/ 181 w 708"/>
                  <a:gd name="T55" fmla="*/ 3 h 331"/>
                  <a:gd name="T56" fmla="*/ 15 w 708"/>
                  <a:gd name="T57" fmla="*/ 0 h 331"/>
                  <a:gd name="T58" fmla="*/ 8 w 708"/>
                  <a:gd name="T59" fmla="*/ 2 h 331"/>
                  <a:gd name="T60" fmla="*/ 1 w 708"/>
                  <a:gd name="T61" fmla="*/ 10 h 331"/>
                  <a:gd name="T62" fmla="*/ 0 w 708"/>
                  <a:gd name="T63" fmla="*/ 223 h 331"/>
                  <a:gd name="T64" fmla="*/ 7 w 708"/>
                  <a:gd name="T65" fmla="*/ 236 h 331"/>
                  <a:gd name="T66" fmla="*/ 90 w 708"/>
                  <a:gd name="T67" fmla="*/ 265 h 331"/>
                  <a:gd name="T68" fmla="*/ 205 w 708"/>
                  <a:gd name="T69" fmla="*/ 306 h 331"/>
                  <a:gd name="T70" fmla="*/ 281 w 708"/>
                  <a:gd name="T71" fmla="*/ 328 h 331"/>
                  <a:gd name="T72" fmla="*/ 321 w 708"/>
                  <a:gd name="T73" fmla="*/ 331 h 331"/>
                  <a:gd name="T74" fmla="*/ 348 w 708"/>
                  <a:gd name="T75" fmla="*/ 326 h 331"/>
                  <a:gd name="T76" fmla="*/ 408 w 708"/>
                  <a:gd name="T77" fmla="*/ 303 h 331"/>
                  <a:gd name="T78" fmla="*/ 494 w 708"/>
                  <a:gd name="T79" fmla="*/ 258 h 331"/>
                  <a:gd name="T80" fmla="*/ 557 w 708"/>
                  <a:gd name="T81" fmla="*/ 223 h 331"/>
                  <a:gd name="T82" fmla="*/ 636 w 708"/>
                  <a:gd name="T83" fmla="*/ 181 h 331"/>
                  <a:gd name="T84" fmla="*/ 703 w 708"/>
                  <a:gd name="T85" fmla="*/ 147 h 331"/>
                  <a:gd name="T86" fmla="*/ 708 w 708"/>
                  <a:gd name="T87" fmla="*/ 139 h 331"/>
                  <a:gd name="T88" fmla="*/ 706 w 708"/>
                  <a:gd name="T89" fmla="*/ 128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08" h="331">
                    <a:moveTo>
                      <a:pt x="704" y="125"/>
                    </a:moveTo>
                    <a:lnTo>
                      <a:pt x="695" y="117"/>
                    </a:lnTo>
                    <a:lnTo>
                      <a:pt x="688" y="110"/>
                    </a:lnTo>
                    <a:lnTo>
                      <a:pt x="680" y="104"/>
                    </a:lnTo>
                    <a:lnTo>
                      <a:pt x="673" y="99"/>
                    </a:lnTo>
                    <a:lnTo>
                      <a:pt x="665" y="95"/>
                    </a:lnTo>
                    <a:lnTo>
                      <a:pt x="658" y="91"/>
                    </a:lnTo>
                    <a:lnTo>
                      <a:pt x="650" y="89"/>
                    </a:lnTo>
                    <a:lnTo>
                      <a:pt x="644" y="87"/>
                    </a:lnTo>
                    <a:lnTo>
                      <a:pt x="636" y="85"/>
                    </a:lnTo>
                    <a:lnTo>
                      <a:pt x="629" y="85"/>
                    </a:lnTo>
                    <a:lnTo>
                      <a:pt x="622" y="85"/>
                    </a:lnTo>
                    <a:lnTo>
                      <a:pt x="615" y="85"/>
                    </a:lnTo>
                    <a:lnTo>
                      <a:pt x="599" y="88"/>
                    </a:lnTo>
                    <a:lnTo>
                      <a:pt x="583" y="91"/>
                    </a:lnTo>
                    <a:lnTo>
                      <a:pt x="507" y="115"/>
                    </a:lnTo>
                    <a:lnTo>
                      <a:pt x="505" y="127"/>
                    </a:lnTo>
                    <a:lnTo>
                      <a:pt x="502" y="137"/>
                    </a:lnTo>
                    <a:lnTo>
                      <a:pt x="497" y="147"/>
                    </a:lnTo>
                    <a:lnTo>
                      <a:pt x="491" y="157"/>
                    </a:lnTo>
                    <a:lnTo>
                      <a:pt x="486" y="162"/>
                    </a:lnTo>
                    <a:lnTo>
                      <a:pt x="480" y="166"/>
                    </a:lnTo>
                    <a:lnTo>
                      <a:pt x="474" y="171"/>
                    </a:lnTo>
                    <a:lnTo>
                      <a:pt x="468" y="175"/>
                    </a:lnTo>
                    <a:lnTo>
                      <a:pt x="460" y="177"/>
                    </a:lnTo>
                    <a:lnTo>
                      <a:pt x="453" y="179"/>
                    </a:lnTo>
                    <a:lnTo>
                      <a:pt x="445" y="180"/>
                    </a:lnTo>
                    <a:lnTo>
                      <a:pt x="437" y="180"/>
                    </a:lnTo>
                    <a:lnTo>
                      <a:pt x="422" y="180"/>
                    </a:lnTo>
                    <a:lnTo>
                      <a:pt x="226" y="180"/>
                    </a:lnTo>
                    <a:lnTo>
                      <a:pt x="223" y="180"/>
                    </a:lnTo>
                    <a:lnTo>
                      <a:pt x="220" y="179"/>
                    </a:lnTo>
                    <a:lnTo>
                      <a:pt x="218" y="178"/>
                    </a:lnTo>
                    <a:lnTo>
                      <a:pt x="216" y="176"/>
                    </a:lnTo>
                    <a:lnTo>
                      <a:pt x="214" y="174"/>
                    </a:lnTo>
                    <a:lnTo>
                      <a:pt x="213" y="172"/>
                    </a:lnTo>
                    <a:lnTo>
                      <a:pt x="211" y="169"/>
                    </a:lnTo>
                    <a:lnTo>
                      <a:pt x="211" y="165"/>
                    </a:lnTo>
                    <a:lnTo>
                      <a:pt x="211" y="162"/>
                    </a:lnTo>
                    <a:lnTo>
                      <a:pt x="213" y="160"/>
                    </a:lnTo>
                    <a:lnTo>
                      <a:pt x="214" y="157"/>
                    </a:lnTo>
                    <a:lnTo>
                      <a:pt x="216" y="155"/>
                    </a:lnTo>
                    <a:lnTo>
                      <a:pt x="218" y="154"/>
                    </a:lnTo>
                    <a:lnTo>
                      <a:pt x="220" y="151"/>
                    </a:lnTo>
                    <a:lnTo>
                      <a:pt x="223" y="151"/>
                    </a:lnTo>
                    <a:lnTo>
                      <a:pt x="226" y="150"/>
                    </a:lnTo>
                    <a:lnTo>
                      <a:pt x="422" y="150"/>
                    </a:lnTo>
                    <a:lnTo>
                      <a:pt x="437" y="150"/>
                    </a:lnTo>
                    <a:lnTo>
                      <a:pt x="446" y="149"/>
                    </a:lnTo>
                    <a:lnTo>
                      <a:pt x="455" y="147"/>
                    </a:lnTo>
                    <a:lnTo>
                      <a:pt x="461" y="143"/>
                    </a:lnTo>
                    <a:lnTo>
                      <a:pt x="468" y="137"/>
                    </a:lnTo>
                    <a:lnTo>
                      <a:pt x="472" y="130"/>
                    </a:lnTo>
                    <a:lnTo>
                      <a:pt x="475" y="122"/>
                    </a:lnTo>
                    <a:lnTo>
                      <a:pt x="477" y="114"/>
                    </a:lnTo>
                    <a:lnTo>
                      <a:pt x="478" y="105"/>
                    </a:lnTo>
                    <a:lnTo>
                      <a:pt x="478" y="102"/>
                    </a:lnTo>
                    <a:lnTo>
                      <a:pt x="478" y="98"/>
                    </a:lnTo>
                    <a:lnTo>
                      <a:pt x="474" y="90"/>
                    </a:lnTo>
                    <a:lnTo>
                      <a:pt x="470" y="84"/>
                    </a:lnTo>
                    <a:lnTo>
                      <a:pt x="465" y="76"/>
                    </a:lnTo>
                    <a:lnTo>
                      <a:pt x="458" y="71"/>
                    </a:lnTo>
                    <a:lnTo>
                      <a:pt x="451" y="67"/>
                    </a:lnTo>
                    <a:lnTo>
                      <a:pt x="442" y="63"/>
                    </a:lnTo>
                    <a:lnTo>
                      <a:pt x="432" y="61"/>
                    </a:lnTo>
                    <a:lnTo>
                      <a:pt x="422" y="60"/>
                    </a:lnTo>
                    <a:lnTo>
                      <a:pt x="410" y="60"/>
                    </a:lnTo>
                    <a:lnTo>
                      <a:pt x="399" y="60"/>
                    </a:lnTo>
                    <a:lnTo>
                      <a:pt x="389" y="60"/>
                    </a:lnTo>
                    <a:lnTo>
                      <a:pt x="381" y="60"/>
                    </a:lnTo>
                    <a:lnTo>
                      <a:pt x="373" y="60"/>
                    </a:lnTo>
                    <a:lnTo>
                      <a:pt x="365" y="60"/>
                    </a:lnTo>
                    <a:lnTo>
                      <a:pt x="356" y="60"/>
                    </a:lnTo>
                    <a:lnTo>
                      <a:pt x="349" y="60"/>
                    </a:lnTo>
                    <a:lnTo>
                      <a:pt x="339" y="60"/>
                    </a:lnTo>
                    <a:lnTo>
                      <a:pt x="330" y="60"/>
                    </a:lnTo>
                    <a:lnTo>
                      <a:pt x="320" y="60"/>
                    </a:lnTo>
                    <a:lnTo>
                      <a:pt x="307" y="60"/>
                    </a:lnTo>
                    <a:lnTo>
                      <a:pt x="288" y="46"/>
                    </a:lnTo>
                    <a:lnTo>
                      <a:pt x="267" y="33"/>
                    </a:lnTo>
                    <a:lnTo>
                      <a:pt x="246" y="24"/>
                    </a:lnTo>
                    <a:lnTo>
                      <a:pt x="225" y="15"/>
                    </a:lnTo>
                    <a:lnTo>
                      <a:pt x="204" y="9"/>
                    </a:lnTo>
                    <a:lnTo>
                      <a:pt x="181" y="3"/>
                    </a:lnTo>
                    <a:lnTo>
                      <a:pt x="159" y="1"/>
                    </a:lnTo>
                    <a:lnTo>
                      <a:pt x="136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223"/>
                    </a:lnTo>
                    <a:lnTo>
                      <a:pt x="1" y="229"/>
                    </a:lnTo>
                    <a:lnTo>
                      <a:pt x="3" y="232"/>
                    </a:lnTo>
                    <a:lnTo>
                      <a:pt x="7" y="236"/>
                    </a:lnTo>
                    <a:lnTo>
                      <a:pt x="11" y="238"/>
                    </a:lnTo>
                    <a:lnTo>
                      <a:pt x="53" y="252"/>
                    </a:lnTo>
                    <a:lnTo>
                      <a:pt x="90" y="265"/>
                    </a:lnTo>
                    <a:lnTo>
                      <a:pt x="123" y="277"/>
                    </a:lnTo>
                    <a:lnTo>
                      <a:pt x="154" y="288"/>
                    </a:lnTo>
                    <a:lnTo>
                      <a:pt x="205" y="306"/>
                    </a:lnTo>
                    <a:lnTo>
                      <a:pt x="247" y="320"/>
                    </a:lnTo>
                    <a:lnTo>
                      <a:pt x="264" y="325"/>
                    </a:lnTo>
                    <a:lnTo>
                      <a:pt x="281" y="328"/>
                    </a:lnTo>
                    <a:lnTo>
                      <a:pt x="296" y="331"/>
                    </a:lnTo>
                    <a:lnTo>
                      <a:pt x="311" y="331"/>
                    </a:lnTo>
                    <a:lnTo>
                      <a:pt x="321" y="331"/>
                    </a:lnTo>
                    <a:lnTo>
                      <a:pt x="329" y="329"/>
                    </a:lnTo>
                    <a:lnTo>
                      <a:pt x="338" y="328"/>
                    </a:lnTo>
                    <a:lnTo>
                      <a:pt x="348" y="326"/>
                    </a:lnTo>
                    <a:lnTo>
                      <a:pt x="366" y="321"/>
                    </a:lnTo>
                    <a:lnTo>
                      <a:pt x="386" y="313"/>
                    </a:lnTo>
                    <a:lnTo>
                      <a:pt x="408" y="303"/>
                    </a:lnTo>
                    <a:lnTo>
                      <a:pt x="433" y="291"/>
                    </a:lnTo>
                    <a:lnTo>
                      <a:pt x="461" y="276"/>
                    </a:lnTo>
                    <a:lnTo>
                      <a:pt x="494" y="258"/>
                    </a:lnTo>
                    <a:lnTo>
                      <a:pt x="513" y="247"/>
                    </a:lnTo>
                    <a:lnTo>
                      <a:pt x="533" y="236"/>
                    </a:lnTo>
                    <a:lnTo>
                      <a:pt x="557" y="223"/>
                    </a:lnTo>
                    <a:lnTo>
                      <a:pt x="581" y="210"/>
                    </a:lnTo>
                    <a:lnTo>
                      <a:pt x="607" y="196"/>
                    </a:lnTo>
                    <a:lnTo>
                      <a:pt x="636" y="181"/>
                    </a:lnTo>
                    <a:lnTo>
                      <a:pt x="667" y="165"/>
                    </a:lnTo>
                    <a:lnTo>
                      <a:pt x="699" y="149"/>
                    </a:lnTo>
                    <a:lnTo>
                      <a:pt x="703" y="147"/>
                    </a:lnTo>
                    <a:lnTo>
                      <a:pt x="705" y="145"/>
                    </a:lnTo>
                    <a:lnTo>
                      <a:pt x="707" y="142"/>
                    </a:lnTo>
                    <a:lnTo>
                      <a:pt x="708" y="139"/>
                    </a:lnTo>
                    <a:lnTo>
                      <a:pt x="708" y="134"/>
                    </a:lnTo>
                    <a:lnTo>
                      <a:pt x="707" y="131"/>
                    </a:lnTo>
                    <a:lnTo>
                      <a:pt x="706" y="128"/>
                    </a:lnTo>
                    <a:lnTo>
                      <a:pt x="704" y="125"/>
                    </a:lnTo>
                    <a:lnTo>
                      <a:pt x="704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5" name="Content Placeholder 2">
              <a:extLst>
                <a:ext uri="{FF2B5EF4-FFF2-40B4-BE49-F238E27FC236}">
                  <a16:creationId xmlns:a16="http://schemas.microsoft.com/office/drawing/2014/main" xmlns="" id="{C5361F62-1898-4B21-A330-D229A29302FF}"/>
                </a:ext>
              </a:extLst>
            </p:cNvPr>
            <p:cNvSpPr txBox="1">
              <a:spLocks/>
            </p:cNvSpPr>
            <p:nvPr/>
          </p:nvSpPr>
          <p:spPr>
            <a:xfrm>
              <a:off x="6553852" y="2607095"/>
              <a:ext cx="2139238" cy="1938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orem Ipsum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5" name="Group 4">
              <a:extLst>
                <a:ext uri="{FF2B5EF4-FFF2-40B4-BE49-F238E27FC236}">
                  <a16:creationId xmlns:a16="http://schemas.microsoft.com/office/drawing/2014/main" xmlns="" id="{B3588636-BD99-4376-BE71-7D5AE32250A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363770" y="1992335"/>
              <a:ext cx="519402" cy="308648"/>
              <a:chOff x="1792" y="943"/>
              <a:chExt cx="4096" cy="2434"/>
            </a:xfrm>
            <a:solidFill>
              <a:schemeClr val="accent1"/>
            </a:solidFill>
          </p:grpSpPr>
          <p:sp>
            <p:nvSpPr>
              <p:cNvPr id="66" name="Freeform 5">
                <a:extLst>
                  <a:ext uri="{FF2B5EF4-FFF2-40B4-BE49-F238E27FC236}">
                    <a16:creationId xmlns:a16="http://schemas.microsoft.com/office/drawing/2014/main" xmlns="" id="{BA895A8B-6F37-4465-95CD-F98C62BF5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943"/>
                <a:ext cx="2172" cy="1666"/>
              </a:xfrm>
              <a:custGeom>
                <a:avLst/>
                <a:gdLst>
                  <a:gd name="T0" fmla="*/ 2172 w 2172"/>
                  <a:gd name="T1" fmla="*/ 1666 h 1666"/>
                  <a:gd name="T2" fmla="*/ 1908 w 2172"/>
                  <a:gd name="T3" fmla="*/ 1666 h 1666"/>
                  <a:gd name="T4" fmla="*/ 1888 w 2172"/>
                  <a:gd name="T5" fmla="*/ 1662 h 1666"/>
                  <a:gd name="T6" fmla="*/ 1854 w 2172"/>
                  <a:gd name="T7" fmla="*/ 1648 h 1666"/>
                  <a:gd name="T8" fmla="*/ 1810 w 2172"/>
                  <a:gd name="T9" fmla="*/ 1616 h 1666"/>
                  <a:gd name="T10" fmla="*/ 1784 w 2172"/>
                  <a:gd name="T11" fmla="*/ 1588 h 1666"/>
                  <a:gd name="T12" fmla="*/ 1320 w 2172"/>
                  <a:gd name="T13" fmla="*/ 1086 h 1666"/>
                  <a:gd name="T14" fmla="*/ 912 w 2172"/>
                  <a:gd name="T15" fmla="*/ 646 h 1666"/>
                  <a:gd name="T16" fmla="*/ 898 w 2172"/>
                  <a:gd name="T17" fmla="*/ 640 h 1666"/>
                  <a:gd name="T18" fmla="*/ 880 w 2172"/>
                  <a:gd name="T19" fmla="*/ 638 h 1666"/>
                  <a:gd name="T20" fmla="*/ 858 w 2172"/>
                  <a:gd name="T21" fmla="*/ 646 h 1666"/>
                  <a:gd name="T22" fmla="*/ 548 w 2172"/>
                  <a:gd name="T23" fmla="*/ 824 h 1666"/>
                  <a:gd name="T24" fmla="*/ 264 w 2172"/>
                  <a:gd name="T25" fmla="*/ 990 h 1666"/>
                  <a:gd name="T26" fmla="*/ 230 w 2172"/>
                  <a:gd name="T27" fmla="*/ 1004 h 1666"/>
                  <a:gd name="T28" fmla="*/ 194 w 2172"/>
                  <a:gd name="T29" fmla="*/ 1012 h 1666"/>
                  <a:gd name="T30" fmla="*/ 166 w 2172"/>
                  <a:gd name="T31" fmla="*/ 1010 h 1666"/>
                  <a:gd name="T32" fmla="*/ 138 w 2172"/>
                  <a:gd name="T33" fmla="*/ 1002 h 1666"/>
                  <a:gd name="T34" fmla="*/ 110 w 2172"/>
                  <a:gd name="T35" fmla="*/ 982 h 1666"/>
                  <a:gd name="T36" fmla="*/ 96 w 2172"/>
                  <a:gd name="T37" fmla="*/ 968 h 1666"/>
                  <a:gd name="T38" fmla="*/ 50 w 2172"/>
                  <a:gd name="T39" fmla="*/ 906 h 1666"/>
                  <a:gd name="T40" fmla="*/ 16 w 2172"/>
                  <a:gd name="T41" fmla="*/ 850 h 1666"/>
                  <a:gd name="T42" fmla="*/ 0 w 2172"/>
                  <a:gd name="T43" fmla="*/ 802 h 1666"/>
                  <a:gd name="T44" fmla="*/ 0 w 2172"/>
                  <a:gd name="T45" fmla="*/ 782 h 1666"/>
                  <a:gd name="T46" fmla="*/ 4 w 2172"/>
                  <a:gd name="T47" fmla="*/ 766 h 1666"/>
                  <a:gd name="T48" fmla="*/ 12 w 2172"/>
                  <a:gd name="T49" fmla="*/ 754 h 1666"/>
                  <a:gd name="T50" fmla="*/ 88 w 2172"/>
                  <a:gd name="T51" fmla="*/ 678 h 1666"/>
                  <a:gd name="T52" fmla="*/ 262 w 2172"/>
                  <a:gd name="T53" fmla="*/ 520 h 1666"/>
                  <a:gd name="T54" fmla="*/ 592 w 2172"/>
                  <a:gd name="T55" fmla="*/ 222 h 1666"/>
                  <a:gd name="T56" fmla="*/ 680 w 2172"/>
                  <a:gd name="T57" fmla="*/ 146 h 1666"/>
                  <a:gd name="T58" fmla="*/ 830 w 2172"/>
                  <a:gd name="T59" fmla="*/ 34 h 1666"/>
                  <a:gd name="T60" fmla="*/ 866 w 2172"/>
                  <a:gd name="T61" fmla="*/ 10 h 1666"/>
                  <a:gd name="T62" fmla="*/ 884 w 2172"/>
                  <a:gd name="T63" fmla="*/ 2 h 1666"/>
                  <a:gd name="T64" fmla="*/ 906 w 2172"/>
                  <a:gd name="T65" fmla="*/ 2 h 1666"/>
                  <a:gd name="T66" fmla="*/ 934 w 2172"/>
                  <a:gd name="T67" fmla="*/ 10 h 1666"/>
                  <a:gd name="T68" fmla="*/ 966 w 2172"/>
                  <a:gd name="T69" fmla="*/ 26 h 1666"/>
                  <a:gd name="T70" fmla="*/ 1354 w 2172"/>
                  <a:gd name="T71" fmla="*/ 248 h 1666"/>
                  <a:gd name="T72" fmla="*/ 1720 w 2172"/>
                  <a:gd name="T73" fmla="*/ 464 h 1666"/>
                  <a:gd name="T74" fmla="*/ 1784 w 2172"/>
                  <a:gd name="T75" fmla="*/ 502 h 1666"/>
                  <a:gd name="T76" fmla="*/ 1926 w 2172"/>
                  <a:gd name="T77" fmla="*/ 594 h 1666"/>
                  <a:gd name="T78" fmla="*/ 1984 w 2172"/>
                  <a:gd name="T79" fmla="*/ 626 h 1666"/>
                  <a:gd name="T80" fmla="*/ 2026 w 2172"/>
                  <a:gd name="T81" fmla="*/ 640 h 1666"/>
                  <a:gd name="T82" fmla="*/ 2066 w 2172"/>
                  <a:gd name="T83" fmla="*/ 644 h 1666"/>
                  <a:gd name="T84" fmla="*/ 2172 w 2172"/>
                  <a:gd name="T85" fmla="*/ 646 h 1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72" h="1666">
                    <a:moveTo>
                      <a:pt x="2172" y="646"/>
                    </a:moveTo>
                    <a:lnTo>
                      <a:pt x="2172" y="1666"/>
                    </a:lnTo>
                    <a:lnTo>
                      <a:pt x="1908" y="1666"/>
                    </a:lnTo>
                    <a:lnTo>
                      <a:pt x="1908" y="1666"/>
                    </a:lnTo>
                    <a:lnTo>
                      <a:pt x="1900" y="1664"/>
                    </a:lnTo>
                    <a:lnTo>
                      <a:pt x="1888" y="1662"/>
                    </a:lnTo>
                    <a:lnTo>
                      <a:pt x="1874" y="1658"/>
                    </a:lnTo>
                    <a:lnTo>
                      <a:pt x="1854" y="1648"/>
                    </a:lnTo>
                    <a:lnTo>
                      <a:pt x="1834" y="1634"/>
                    </a:lnTo>
                    <a:lnTo>
                      <a:pt x="1810" y="1616"/>
                    </a:lnTo>
                    <a:lnTo>
                      <a:pt x="1784" y="1588"/>
                    </a:lnTo>
                    <a:lnTo>
                      <a:pt x="1784" y="1588"/>
                    </a:lnTo>
                    <a:lnTo>
                      <a:pt x="1616" y="1406"/>
                    </a:lnTo>
                    <a:lnTo>
                      <a:pt x="1320" y="1086"/>
                    </a:lnTo>
                    <a:lnTo>
                      <a:pt x="912" y="646"/>
                    </a:lnTo>
                    <a:lnTo>
                      <a:pt x="912" y="646"/>
                    </a:lnTo>
                    <a:lnTo>
                      <a:pt x="908" y="644"/>
                    </a:lnTo>
                    <a:lnTo>
                      <a:pt x="898" y="640"/>
                    </a:lnTo>
                    <a:lnTo>
                      <a:pt x="890" y="638"/>
                    </a:lnTo>
                    <a:lnTo>
                      <a:pt x="880" y="638"/>
                    </a:lnTo>
                    <a:lnTo>
                      <a:pt x="870" y="642"/>
                    </a:lnTo>
                    <a:lnTo>
                      <a:pt x="858" y="646"/>
                    </a:lnTo>
                    <a:lnTo>
                      <a:pt x="858" y="646"/>
                    </a:lnTo>
                    <a:lnTo>
                      <a:pt x="548" y="824"/>
                    </a:lnTo>
                    <a:lnTo>
                      <a:pt x="264" y="990"/>
                    </a:lnTo>
                    <a:lnTo>
                      <a:pt x="264" y="990"/>
                    </a:lnTo>
                    <a:lnTo>
                      <a:pt x="248" y="998"/>
                    </a:lnTo>
                    <a:lnTo>
                      <a:pt x="230" y="1004"/>
                    </a:lnTo>
                    <a:lnTo>
                      <a:pt x="206" y="1010"/>
                    </a:lnTo>
                    <a:lnTo>
                      <a:pt x="194" y="1012"/>
                    </a:lnTo>
                    <a:lnTo>
                      <a:pt x="180" y="1012"/>
                    </a:lnTo>
                    <a:lnTo>
                      <a:pt x="166" y="1010"/>
                    </a:lnTo>
                    <a:lnTo>
                      <a:pt x="152" y="1006"/>
                    </a:lnTo>
                    <a:lnTo>
                      <a:pt x="138" y="1002"/>
                    </a:lnTo>
                    <a:lnTo>
                      <a:pt x="124" y="994"/>
                    </a:lnTo>
                    <a:lnTo>
                      <a:pt x="110" y="982"/>
                    </a:lnTo>
                    <a:lnTo>
                      <a:pt x="96" y="968"/>
                    </a:lnTo>
                    <a:lnTo>
                      <a:pt x="96" y="968"/>
                    </a:lnTo>
                    <a:lnTo>
                      <a:pt x="70" y="936"/>
                    </a:lnTo>
                    <a:lnTo>
                      <a:pt x="50" y="906"/>
                    </a:lnTo>
                    <a:lnTo>
                      <a:pt x="30" y="878"/>
                    </a:lnTo>
                    <a:lnTo>
                      <a:pt x="16" y="850"/>
                    </a:lnTo>
                    <a:lnTo>
                      <a:pt x="6" y="824"/>
                    </a:lnTo>
                    <a:lnTo>
                      <a:pt x="0" y="802"/>
                    </a:lnTo>
                    <a:lnTo>
                      <a:pt x="0" y="792"/>
                    </a:lnTo>
                    <a:lnTo>
                      <a:pt x="0" y="782"/>
                    </a:lnTo>
                    <a:lnTo>
                      <a:pt x="2" y="772"/>
                    </a:lnTo>
                    <a:lnTo>
                      <a:pt x="4" y="766"/>
                    </a:lnTo>
                    <a:lnTo>
                      <a:pt x="4" y="766"/>
                    </a:lnTo>
                    <a:lnTo>
                      <a:pt x="12" y="754"/>
                    </a:lnTo>
                    <a:lnTo>
                      <a:pt x="30" y="734"/>
                    </a:lnTo>
                    <a:lnTo>
                      <a:pt x="88" y="678"/>
                    </a:lnTo>
                    <a:lnTo>
                      <a:pt x="168" y="604"/>
                    </a:lnTo>
                    <a:lnTo>
                      <a:pt x="262" y="520"/>
                    </a:lnTo>
                    <a:lnTo>
                      <a:pt x="592" y="222"/>
                    </a:lnTo>
                    <a:lnTo>
                      <a:pt x="592" y="222"/>
                    </a:lnTo>
                    <a:lnTo>
                      <a:pt x="636" y="182"/>
                    </a:lnTo>
                    <a:lnTo>
                      <a:pt x="680" y="146"/>
                    </a:lnTo>
                    <a:lnTo>
                      <a:pt x="764" y="82"/>
                    </a:lnTo>
                    <a:lnTo>
                      <a:pt x="830" y="34"/>
                    </a:lnTo>
                    <a:lnTo>
                      <a:pt x="866" y="10"/>
                    </a:lnTo>
                    <a:lnTo>
                      <a:pt x="866" y="10"/>
                    </a:lnTo>
                    <a:lnTo>
                      <a:pt x="874" y="4"/>
                    </a:lnTo>
                    <a:lnTo>
                      <a:pt x="884" y="2"/>
                    </a:lnTo>
                    <a:lnTo>
                      <a:pt x="896" y="0"/>
                    </a:lnTo>
                    <a:lnTo>
                      <a:pt x="906" y="2"/>
                    </a:lnTo>
                    <a:lnTo>
                      <a:pt x="920" y="6"/>
                    </a:lnTo>
                    <a:lnTo>
                      <a:pt x="934" y="10"/>
                    </a:lnTo>
                    <a:lnTo>
                      <a:pt x="966" y="26"/>
                    </a:lnTo>
                    <a:lnTo>
                      <a:pt x="966" y="26"/>
                    </a:lnTo>
                    <a:lnTo>
                      <a:pt x="1098" y="102"/>
                    </a:lnTo>
                    <a:lnTo>
                      <a:pt x="1354" y="248"/>
                    </a:lnTo>
                    <a:lnTo>
                      <a:pt x="1618" y="402"/>
                    </a:lnTo>
                    <a:lnTo>
                      <a:pt x="1720" y="464"/>
                    </a:lnTo>
                    <a:lnTo>
                      <a:pt x="1784" y="502"/>
                    </a:lnTo>
                    <a:lnTo>
                      <a:pt x="1784" y="502"/>
                    </a:lnTo>
                    <a:lnTo>
                      <a:pt x="1858" y="552"/>
                    </a:lnTo>
                    <a:lnTo>
                      <a:pt x="1926" y="594"/>
                    </a:lnTo>
                    <a:lnTo>
                      <a:pt x="1958" y="612"/>
                    </a:lnTo>
                    <a:lnTo>
                      <a:pt x="1984" y="626"/>
                    </a:lnTo>
                    <a:lnTo>
                      <a:pt x="2008" y="636"/>
                    </a:lnTo>
                    <a:lnTo>
                      <a:pt x="2026" y="640"/>
                    </a:lnTo>
                    <a:lnTo>
                      <a:pt x="2026" y="640"/>
                    </a:lnTo>
                    <a:lnTo>
                      <a:pt x="2066" y="644"/>
                    </a:lnTo>
                    <a:lnTo>
                      <a:pt x="2114" y="646"/>
                    </a:lnTo>
                    <a:lnTo>
                      <a:pt x="2172" y="646"/>
                    </a:lnTo>
                    <a:lnTo>
                      <a:pt x="2172" y="6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6">
                <a:extLst>
                  <a:ext uri="{FF2B5EF4-FFF2-40B4-BE49-F238E27FC236}">
                    <a16:creationId xmlns:a16="http://schemas.microsoft.com/office/drawing/2014/main" xmlns="" id="{425A494A-EE2F-4107-ACD9-8DA90E5DD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6" y="1201"/>
                <a:ext cx="2302" cy="2176"/>
              </a:xfrm>
              <a:custGeom>
                <a:avLst/>
                <a:gdLst>
                  <a:gd name="T0" fmla="*/ 100 w 2302"/>
                  <a:gd name="T1" fmla="*/ 388 h 2176"/>
                  <a:gd name="T2" fmla="*/ 356 w 2302"/>
                  <a:gd name="T3" fmla="*/ 218 h 2176"/>
                  <a:gd name="T4" fmla="*/ 574 w 2302"/>
                  <a:gd name="T5" fmla="*/ 88 h 2176"/>
                  <a:gd name="T6" fmla="*/ 672 w 2302"/>
                  <a:gd name="T7" fmla="*/ 38 h 2176"/>
                  <a:gd name="T8" fmla="*/ 770 w 2302"/>
                  <a:gd name="T9" fmla="*/ 2 h 2176"/>
                  <a:gd name="T10" fmla="*/ 828 w 2302"/>
                  <a:gd name="T11" fmla="*/ 8 h 2176"/>
                  <a:gd name="T12" fmla="*/ 610 w 2302"/>
                  <a:gd name="T13" fmla="*/ 198 h 2176"/>
                  <a:gd name="T14" fmla="*/ 418 w 2302"/>
                  <a:gd name="T15" fmla="*/ 376 h 2176"/>
                  <a:gd name="T16" fmla="*/ 358 w 2302"/>
                  <a:gd name="T17" fmla="*/ 446 h 2176"/>
                  <a:gd name="T18" fmla="*/ 336 w 2302"/>
                  <a:gd name="T19" fmla="*/ 504 h 2176"/>
                  <a:gd name="T20" fmla="*/ 332 w 2302"/>
                  <a:gd name="T21" fmla="*/ 546 h 2176"/>
                  <a:gd name="T22" fmla="*/ 340 w 2302"/>
                  <a:gd name="T23" fmla="*/ 590 h 2176"/>
                  <a:gd name="T24" fmla="*/ 394 w 2302"/>
                  <a:gd name="T25" fmla="*/ 690 h 2176"/>
                  <a:gd name="T26" fmla="*/ 448 w 2302"/>
                  <a:gd name="T27" fmla="*/ 756 h 2176"/>
                  <a:gd name="T28" fmla="*/ 508 w 2302"/>
                  <a:gd name="T29" fmla="*/ 804 h 2176"/>
                  <a:gd name="T30" fmla="*/ 554 w 2302"/>
                  <a:gd name="T31" fmla="*/ 824 h 2176"/>
                  <a:gd name="T32" fmla="*/ 604 w 2302"/>
                  <a:gd name="T33" fmla="*/ 826 h 2176"/>
                  <a:gd name="T34" fmla="*/ 640 w 2302"/>
                  <a:gd name="T35" fmla="*/ 816 h 2176"/>
                  <a:gd name="T36" fmla="*/ 778 w 2302"/>
                  <a:gd name="T37" fmla="*/ 742 h 2176"/>
                  <a:gd name="T38" fmla="*/ 1182 w 2302"/>
                  <a:gd name="T39" fmla="*/ 502 h 2176"/>
                  <a:gd name="T40" fmla="*/ 2200 w 2302"/>
                  <a:gd name="T41" fmla="*/ 1442 h 2176"/>
                  <a:gd name="T42" fmla="*/ 2242 w 2302"/>
                  <a:gd name="T43" fmla="*/ 1508 h 2176"/>
                  <a:gd name="T44" fmla="*/ 2284 w 2302"/>
                  <a:gd name="T45" fmla="*/ 1604 h 2176"/>
                  <a:gd name="T46" fmla="*/ 2302 w 2302"/>
                  <a:gd name="T47" fmla="*/ 1688 h 2176"/>
                  <a:gd name="T48" fmla="*/ 2290 w 2302"/>
                  <a:gd name="T49" fmla="*/ 1776 h 2176"/>
                  <a:gd name="T50" fmla="*/ 2266 w 2302"/>
                  <a:gd name="T51" fmla="*/ 1826 h 2176"/>
                  <a:gd name="T52" fmla="*/ 2216 w 2302"/>
                  <a:gd name="T53" fmla="*/ 1876 h 2176"/>
                  <a:gd name="T54" fmla="*/ 2154 w 2302"/>
                  <a:gd name="T55" fmla="*/ 1900 h 2176"/>
                  <a:gd name="T56" fmla="*/ 2088 w 2302"/>
                  <a:gd name="T57" fmla="*/ 1902 h 2176"/>
                  <a:gd name="T58" fmla="*/ 2028 w 2302"/>
                  <a:gd name="T59" fmla="*/ 1882 h 2176"/>
                  <a:gd name="T60" fmla="*/ 1992 w 2302"/>
                  <a:gd name="T61" fmla="*/ 1860 h 2176"/>
                  <a:gd name="T62" fmla="*/ 1968 w 2302"/>
                  <a:gd name="T63" fmla="*/ 1938 h 2176"/>
                  <a:gd name="T64" fmla="*/ 1938 w 2302"/>
                  <a:gd name="T65" fmla="*/ 1984 h 2176"/>
                  <a:gd name="T66" fmla="*/ 1888 w 2302"/>
                  <a:gd name="T67" fmla="*/ 2020 h 2176"/>
                  <a:gd name="T68" fmla="*/ 1844 w 2302"/>
                  <a:gd name="T69" fmla="*/ 2034 h 2176"/>
                  <a:gd name="T70" fmla="*/ 1776 w 2302"/>
                  <a:gd name="T71" fmla="*/ 2040 h 2176"/>
                  <a:gd name="T72" fmla="*/ 1690 w 2302"/>
                  <a:gd name="T73" fmla="*/ 2030 h 2176"/>
                  <a:gd name="T74" fmla="*/ 1638 w 2302"/>
                  <a:gd name="T75" fmla="*/ 2008 h 2176"/>
                  <a:gd name="T76" fmla="*/ 1614 w 2302"/>
                  <a:gd name="T77" fmla="*/ 2056 h 2176"/>
                  <a:gd name="T78" fmla="*/ 1566 w 2302"/>
                  <a:gd name="T79" fmla="*/ 2112 h 2176"/>
                  <a:gd name="T80" fmla="*/ 1512 w 2302"/>
                  <a:gd name="T81" fmla="*/ 2148 h 2176"/>
                  <a:gd name="T82" fmla="*/ 1440 w 2302"/>
                  <a:gd name="T83" fmla="*/ 2168 h 2176"/>
                  <a:gd name="T84" fmla="*/ 1388 w 2302"/>
                  <a:gd name="T85" fmla="*/ 2168 h 2176"/>
                  <a:gd name="T86" fmla="*/ 1324 w 2302"/>
                  <a:gd name="T87" fmla="*/ 2154 h 2176"/>
                  <a:gd name="T88" fmla="*/ 1274 w 2302"/>
                  <a:gd name="T89" fmla="*/ 2130 h 2176"/>
                  <a:gd name="T90" fmla="*/ 1214 w 2302"/>
                  <a:gd name="T91" fmla="*/ 2082 h 2176"/>
                  <a:gd name="T92" fmla="*/ 1196 w 2302"/>
                  <a:gd name="T93" fmla="*/ 2102 h 2176"/>
                  <a:gd name="T94" fmla="*/ 1142 w 2302"/>
                  <a:gd name="T95" fmla="*/ 2144 h 2176"/>
                  <a:gd name="T96" fmla="*/ 1080 w 2302"/>
                  <a:gd name="T97" fmla="*/ 2170 h 2176"/>
                  <a:gd name="T98" fmla="*/ 1004 w 2302"/>
                  <a:gd name="T99" fmla="*/ 2174 h 2176"/>
                  <a:gd name="T100" fmla="*/ 944 w 2302"/>
                  <a:gd name="T101" fmla="*/ 2160 h 2176"/>
                  <a:gd name="T102" fmla="*/ 870 w 2302"/>
                  <a:gd name="T103" fmla="*/ 2118 h 2176"/>
                  <a:gd name="T104" fmla="*/ 724 w 2302"/>
                  <a:gd name="T105" fmla="*/ 2002 h 2176"/>
                  <a:gd name="T106" fmla="*/ 466 w 2302"/>
                  <a:gd name="T107" fmla="*/ 1760 h 2176"/>
                  <a:gd name="T108" fmla="*/ 310 w 2302"/>
                  <a:gd name="T109" fmla="*/ 1598 h 2176"/>
                  <a:gd name="T110" fmla="*/ 232 w 2302"/>
                  <a:gd name="T111" fmla="*/ 1506 h 2176"/>
                  <a:gd name="T112" fmla="*/ 148 w 2302"/>
                  <a:gd name="T113" fmla="*/ 1428 h 2176"/>
                  <a:gd name="T114" fmla="*/ 102 w 2302"/>
                  <a:gd name="T115" fmla="*/ 1408 h 2176"/>
                  <a:gd name="T116" fmla="*/ 28 w 2302"/>
                  <a:gd name="T117" fmla="*/ 1404 h 2176"/>
                  <a:gd name="T118" fmla="*/ 0 w 2302"/>
                  <a:gd name="T119" fmla="*/ 388 h 2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02" h="2176">
                    <a:moveTo>
                      <a:pt x="0" y="388"/>
                    </a:moveTo>
                    <a:lnTo>
                      <a:pt x="100" y="388"/>
                    </a:lnTo>
                    <a:lnTo>
                      <a:pt x="100" y="388"/>
                    </a:lnTo>
                    <a:lnTo>
                      <a:pt x="152" y="352"/>
                    </a:lnTo>
                    <a:lnTo>
                      <a:pt x="280" y="268"/>
                    </a:lnTo>
                    <a:lnTo>
                      <a:pt x="356" y="218"/>
                    </a:lnTo>
                    <a:lnTo>
                      <a:pt x="434" y="170"/>
                    </a:lnTo>
                    <a:lnTo>
                      <a:pt x="510" y="124"/>
                    </a:lnTo>
                    <a:lnTo>
                      <a:pt x="574" y="88"/>
                    </a:lnTo>
                    <a:lnTo>
                      <a:pt x="574" y="88"/>
                    </a:lnTo>
                    <a:lnTo>
                      <a:pt x="628" y="60"/>
                    </a:lnTo>
                    <a:lnTo>
                      <a:pt x="672" y="38"/>
                    </a:lnTo>
                    <a:lnTo>
                      <a:pt x="712" y="22"/>
                    </a:lnTo>
                    <a:lnTo>
                      <a:pt x="744" y="10"/>
                    </a:lnTo>
                    <a:lnTo>
                      <a:pt x="770" y="2"/>
                    </a:lnTo>
                    <a:lnTo>
                      <a:pt x="792" y="0"/>
                    </a:lnTo>
                    <a:lnTo>
                      <a:pt x="812" y="2"/>
                    </a:lnTo>
                    <a:lnTo>
                      <a:pt x="828" y="8"/>
                    </a:lnTo>
                    <a:lnTo>
                      <a:pt x="828" y="8"/>
                    </a:lnTo>
                    <a:lnTo>
                      <a:pt x="760" y="66"/>
                    </a:lnTo>
                    <a:lnTo>
                      <a:pt x="610" y="198"/>
                    </a:lnTo>
                    <a:lnTo>
                      <a:pt x="526" y="272"/>
                    </a:lnTo>
                    <a:lnTo>
                      <a:pt x="450" y="344"/>
                    </a:lnTo>
                    <a:lnTo>
                      <a:pt x="418" y="376"/>
                    </a:lnTo>
                    <a:lnTo>
                      <a:pt x="390" y="404"/>
                    </a:lnTo>
                    <a:lnTo>
                      <a:pt x="370" y="428"/>
                    </a:lnTo>
                    <a:lnTo>
                      <a:pt x="358" y="446"/>
                    </a:lnTo>
                    <a:lnTo>
                      <a:pt x="358" y="446"/>
                    </a:lnTo>
                    <a:lnTo>
                      <a:pt x="344" y="476"/>
                    </a:lnTo>
                    <a:lnTo>
                      <a:pt x="336" y="504"/>
                    </a:lnTo>
                    <a:lnTo>
                      <a:pt x="332" y="518"/>
                    </a:lnTo>
                    <a:lnTo>
                      <a:pt x="332" y="532"/>
                    </a:lnTo>
                    <a:lnTo>
                      <a:pt x="332" y="546"/>
                    </a:lnTo>
                    <a:lnTo>
                      <a:pt x="332" y="562"/>
                    </a:lnTo>
                    <a:lnTo>
                      <a:pt x="336" y="576"/>
                    </a:lnTo>
                    <a:lnTo>
                      <a:pt x="340" y="590"/>
                    </a:lnTo>
                    <a:lnTo>
                      <a:pt x="352" y="622"/>
                    </a:lnTo>
                    <a:lnTo>
                      <a:pt x="370" y="654"/>
                    </a:lnTo>
                    <a:lnTo>
                      <a:pt x="394" y="690"/>
                    </a:lnTo>
                    <a:lnTo>
                      <a:pt x="394" y="690"/>
                    </a:lnTo>
                    <a:lnTo>
                      <a:pt x="420" y="726"/>
                    </a:lnTo>
                    <a:lnTo>
                      <a:pt x="448" y="756"/>
                    </a:lnTo>
                    <a:lnTo>
                      <a:pt x="478" y="782"/>
                    </a:lnTo>
                    <a:lnTo>
                      <a:pt x="492" y="794"/>
                    </a:lnTo>
                    <a:lnTo>
                      <a:pt x="508" y="804"/>
                    </a:lnTo>
                    <a:lnTo>
                      <a:pt x="522" y="812"/>
                    </a:lnTo>
                    <a:lnTo>
                      <a:pt x="538" y="818"/>
                    </a:lnTo>
                    <a:lnTo>
                      <a:pt x="554" y="824"/>
                    </a:lnTo>
                    <a:lnTo>
                      <a:pt x="570" y="826"/>
                    </a:lnTo>
                    <a:lnTo>
                      <a:pt x="588" y="826"/>
                    </a:lnTo>
                    <a:lnTo>
                      <a:pt x="604" y="826"/>
                    </a:lnTo>
                    <a:lnTo>
                      <a:pt x="622" y="822"/>
                    </a:lnTo>
                    <a:lnTo>
                      <a:pt x="640" y="816"/>
                    </a:lnTo>
                    <a:lnTo>
                      <a:pt x="640" y="816"/>
                    </a:lnTo>
                    <a:lnTo>
                      <a:pt x="662" y="806"/>
                    </a:lnTo>
                    <a:lnTo>
                      <a:pt x="694" y="790"/>
                    </a:lnTo>
                    <a:lnTo>
                      <a:pt x="778" y="742"/>
                    </a:lnTo>
                    <a:lnTo>
                      <a:pt x="880" y="684"/>
                    </a:lnTo>
                    <a:lnTo>
                      <a:pt x="990" y="618"/>
                    </a:lnTo>
                    <a:lnTo>
                      <a:pt x="1182" y="502"/>
                    </a:lnTo>
                    <a:lnTo>
                      <a:pt x="1266" y="450"/>
                    </a:lnTo>
                    <a:lnTo>
                      <a:pt x="2200" y="1442"/>
                    </a:lnTo>
                    <a:lnTo>
                      <a:pt x="2200" y="1442"/>
                    </a:lnTo>
                    <a:lnTo>
                      <a:pt x="2206" y="1450"/>
                    </a:lnTo>
                    <a:lnTo>
                      <a:pt x="2222" y="1472"/>
                    </a:lnTo>
                    <a:lnTo>
                      <a:pt x="2242" y="1508"/>
                    </a:lnTo>
                    <a:lnTo>
                      <a:pt x="2264" y="1552"/>
                    </a:lnTo>
                    <a:lnTo>
                      <a:pt x="2274" y="1578"/>
                    </a:lnTo>
                    <a:lnTo>
                      <a:pt x="2284" y="1604"/>
                    </a:lnTo>
                    <a:lnTo>
                      <a:pt x="2292" y="1632"/>
                    </a:lnTo>
                    <a:lnTo>
                      <a:pt x="2298" y="1660"/>
                    </a:lnTo>
                    <a:lnTo>
                      <a:pt x="2302" y="1688"/>
                    </a:lnTo>
                    <a:lnTo>
                      <a:pt x="2302" y="1718"/>
                    </a:lnTo>
                    <a:lnTo>
                      <a:pt x="2298" y="1748"/>
                    </a:lnTo>
                    <a:lnTo>
                      <a:pt x="2290" y="1776"/>
                    </a:lnTo>
                    <a:lnTo>
                      <a:pt x="2290" y="1776"/>
                    </a:lnTo>
                    <a:lnTo>
                      <a:pt x="2280" y="1802"/>
                    </a:lnTo>
                    <a:lnTo>
                      <a:pt x="2266" y="1826"/>
                    </a:lnTo>
                    <a:lnTo>
                      <a:pt x="2250" y="1846"/>
                    </a:lnTo>
                    <a:lnTo>
                      <a:pt x="2234" y="1862"/>
                    </a:lnTo>
                    <a:lnTo>
                      <a:pt x="2216" y="1876"/>
                    </a:lnTo>
                    <a:lnTo>
                      <a:pt x="2196" y="1888"/>
                    </a:lnTo>
                    <a:lnTo>
                      <a:pt x="2174" y="1896"/>
                    </a:lnTo>
                    <a:lnTo>
                      <a:pt x="2154" y="1900"/>
                    </a:lnTo>
                    <a:lnTo>
                      <a:pt x="2132" y="1904"/>
                    </a:lnTo>
                    <a:lnTo>
                      <a:pt x="2110" y="1904"/>
                    </a:lnTo>
                    <a:lnTo>
                      <a:pt x="2088" y="1902"/>
                    </a:lnTo>
                    <a:lnTo>
                      <a:pt x="2068" y="1896"/>
                    </a:lnTo>
                    <a:lnTo>
                      <a:pt x="2046" y="1890"/>
                    </a:lnTo>
                    <a:lnTo>
                      <a:pt x="2028" y="1882"/>
                    </a:lnTo>
                    <a:lnTo>
                      <a:pt x="2008" y="1872"/>
                    </a:lnTo>
                    <a:lnTo>
                      <a:pt x="1992" y="1860"/>
                    </a:lnTo>
                    <a:lnTo>
                      <a:pt x="1992" y="1860"/>
                    </a:lnTo>
                    <a:lnTo>
                      <a:pt x="1988" y="1884"/>
                    </a:lnTo>
                    <a:lnTo>
                      <a:pt x="1980" y="1908"/>
                    </a:lnTo>
                    <a:lnTo>
                      <a:pt x="1968" y="1938"/>
                    </a:lnTo>
                    <a:lnTo>
                      <a:pt x="1960" y="1954"/>
                    </a:lnTo>
                    <a:lnTo>
                      <a:pt x="1950" y="1968"/>
                    </a:lnTo>
                    <a:lnTo>
                      <a:pt x="1938" y="1984"/>
                    </a:lnTo>
                    <a:lnTo>
                      <a:pt x="1924" y="1996"/>
                    </a:lnTo>
                    <a:lnTo>
                      <a:pt x="1908" y="2010"/>
                    </a:lnTo>
                    <a:lnTo>
                      <a:pt x="1888" y="2020"/>
                    </a:lnTo>
                    <a:lnTo>
                      <a:pt x="1868" y="2028"/>
                    </a:lnTo>
                    <a:lnTo>
                      <a:pt x="1844" y="2034"/>
                    </a:lnTo>
                    <a:lnTo>
                      <a:pt x="1844" y="2034"/>
                    </a:lnTo>
                    <a:lnTo>
                      <a:pt x="1820" y="2038"/>
                    </a:lnTo>
                    <a:lnTo>
                      <a:pt x="1796" y="2040"/>
                    </a:lnTo>
                    <a:lnTo>
                      <a:pt x="1776" y="2040"/>
                    </a:lnTo>
                    <a:lnTo>
                      <a:pt x="1756" y="2040"/>
                    </a:lnTo>
                    <a:lnTo>
                      <a:pt x="1720" y="2036"/>
                    </a:lnTo>
                    <a:lnTo>
                      <a:pt x="1690" y="2030"/>
                    </a:lnTo>
                    <a:lnTo>
                      <a:pt x="1668" y="2022"/>
                    </a:lnTo>
                    <a:lnTo>
                      <a:pt x="1652" y="2016"/>
                    </a:lnTo>
                    <a:lnTo>
                      <a:pt x="1638" y="2008"/>
                    </a:lnTo>
                    <a:lnTo>
                      <a:pt x="1638" y="2008"/>
                    </a:lnTo>
                    <a:lnTo>
                      <a:pt x="1628" y="2032"/>
                    </a:lnTo>
                    <a:lnTo>
                      <a:pt x="1614" y="2056"/>
                    </a:lnTo>
                    <a:lnTo>
                      <a:pt x="1594" y="2084"/>
                    </a:lnTo>
                    <a:lnTo>
                      <a:pt x="1580" y="2098"/>
                    </a:lnTo>
                    <a:lnTo>
                      <a:pt x="1566" y="2112"/>
                    </a:lnTo>
                    <a:lnTo>
                      <a:pt x="1550" y="2126"/>
                    </a:lnTo>
                    <a:lnTo>
                      <a:pt x="1532" y="2138"/>
                    </a:lnTo>
                    <a:lnTo>
                      <a:pt x="1512" y="2148"/>
                    </a:lnTo>
                    <a:lnTo>
                      <a:pt x="1490" y="2158"/>
                    </a:lnTo>
                    <a:lnTo>
                      <a:pt x="1466" y="2164"/>
                    </a:lnTo>
                    <a:lnTo>
                      <a:pt x="1440" y="2168"/>
                    </a:lnTo>
                    <a:lnTo>
                      <a:pt x="1440" y="2168"/>
                    </a:lnTo>
                    <a:lnTo>
                      <a:pt x="1414" y="2170"/>
                    </a:lnTo>
                    <a:lnTo>
                      <a:pt x="1388" y="2168"/>
                    </a:lnTo>
                    <a:lnTo>
                      <a:pt x="1366" y="2164"/>
                    </a:lnTo>
                    <a:lnTo>
                      <a:pt x="1344" y="2160"/>
                    </a:lnTo>
                    <a:lnTo>
                      <a:pt x="1324" y="2154"/>
                    </a:lnTo>
                    <a:lnTo>
                      <a:pt x="1306" y="2146"/>
                    </a:lnTo>
                    <a:lnTo>
                      <a:pt x="1288" y="2138"/>
                    </a:lnTo>
                    <a:lnTo>
                      <a:pt x="1274" y="2130"/>
                    </a:lnTo>
                    <a:lnTo>
                      <a:pt x="1248" y="2112"/>
                    </a:lnTo>
                    <a:lnTo>
                      <a:pt x="1230" y="2098"/>
                    </a:lnTo>
                    <a:lnTo>
                      <a:pt x="1214" y="2082"/>
                    </a:lnTo>
                    <a:lnTo>
                      <a:pt x="1214" y="2082"/>
                    </a:lnTo>
                    <a:lnTo>
                      <a:pt x="1210" y="2088"/>
                    </a:lnTo>
                    <a:lnTo>
                      <a:pt x="1196" y="2102"/>
                    </a:lnTo>
                    <a:lnTo>
                      <a:pt x="1172" y="2124"/>
                    </a:lnTo>
                    <a:lnTo>
                      <a:pt x="1158" y="2134"/>
                    </a:lnTo>
                    <a:lnTo>
                      <a:pt x="1142" y="2144"/>
                    </a:lnTo>
                    <a:lnTo>
                      <a:pt x="1122" y="2154"/>
                    </a:lnTo>
                    <a:lnTo>
                      <a:pt x="1102" y="2162"/>
                    </a:lnTo>
                    <a:lnTo>
                      <a:pt x="1080" y="2170"/>
                    </a:lnTo>
                    <a:lnTo>
                      <a:pt x="1056" y="2174"/>
                    </a:lnTo>
                    <a:lnTo>
                      <a:pt x="1030" y="2176"/>
                    </a:lnTo>
                    <a:lnTo>
                      <a:pt x="1004" y="2174"/>
                    </a:lnTo>
                    <a:lnTo>
                      <a:pt x="974" y="2170"/>
                    </a:lnTo>
                    <a:lnTo>
                      <a:pt x="944" y="2160"/>
                    </a:lnTo>
                    <a:lnTo>
                      <a:pt x="944" y="2160"/>
                    </a:lnTo>
                    <a:lnTo>
                      <a:pt x="928" y="2152"/>
                    </a:lnTo>
                    <a:lnTo>
                      <a:pt x="910" y="2144"/>
                    </a:lnTo>
                    <a:lnTo>
                      <a:pt x="870" y="2118"/>
                    </a:lnTo>
                    <a:lnTo>
                      <a:pt x="824" y="2086"/>
                    </a:lnTo>
                    <a:lnTo>
                      <a:pt x="774" y="2046"/>
                    </a:lnTo>
                    <a:lnTo>
                      <a:pt x="724" y="2002"/>
                    </a:lnTo>
                    <a:lnTo>
                      <a:pt x="670" y="1954"/>
                    </a:lnTo>
                    <a:lnTo>
                      <a:pt x="564" y="1856"/>
                    </a:lnTo>
                    <a:lnTo>
                      <a:pt x="466" y="1760"/>
                    </a:lnTo>
                    <a:lnTo>
                      <a:pt x="386" y="1678"/>
                    </a:lnTo>
                    <a:lnTo>
                      <a:pt x="310" y="1598"/>
                    </a:lnTo>
                    <a:lnTo>
                      <a:pt x="310" y="1598"/>
                    </a:lnTo>
                    <a:lnTo>
                      <a:pt x="288" y="1570"/>
                    </a:lnTo>
                    <a:lnTo>
                      <a:pt x="262" y="1540"/>
                    </a:lnTo>
                    <a:lnTo>
                      <a:pt x="232" y="1506"/>
                    </a:lnTo>
                    <a:lnTo>
                      <a:pt x="198" y="1472"/>
                    </a:lnTo>
                    <a:lnTo>
                      <a:pt x="164" y="1442"/>
                    </a:lnTo>
                    <a:lnTo>
                      <a:pt x="148" y="1428"/>
                    </a:lnTo>
                    <a:lnTo>
                      <a:pt x="132" y="1418"/>
                    </a:lnTo>
                    <a:lnTo>
                      <a:pt x="116" y="1412"/>
                    </a:lnTo>
                    <a:lnTo>
                      <a:pt x="102" y="1408"/>
                    </a:lnTo>
                    <a:lnTo>
                      <a:pt x="102" y="1408"/>
                    </a:lnTo>
                    <a:lnTo>
                      <a:pt x="58" y="1404"/>
                    </a:lnTo>
                    <a:lnTo>
                      <a:pt x="28" y="1404"/>
                    </a:lnTo>
                    <a:lnTo>
                      <a:pt x="12" y="1406"/>
                    </a:lnTo>
                    <a:lnTo>
                      <a:pt x="8" y="1408"/>
                    </a:lnTo>
                    <a:lnTo>
                      <a:pt x="0" y="3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7">
                <a:extLst>
                  <a:ext uri="{FF2B5EF4-FFF2-40B4-BE49-F238E27FC236}">
                    <a16:creationId xmlns:a16="http://schemas.microsoft.com/office/drawing/2014/main" xmlns="" id="{0B68C815-CA72-4A6D-97AB-1394AD3E36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6" y="1201"/>
                <a:ext cx="642" cy="2048"/>
              </a:xfrm>
              <a:custGeom>
                <a:avLst/>
                <a:gdLst>
                  <a:gd name="T0" fmla="*/ 0 w 642"/>
                  <a:gd name="T1" fmla="*/ 2048 h 2048"/>
                  <a:gd name="T2" fmla="*/ 642 w 642"/>
                  <a:gd name="T3" fmla="*/ 0 h 2048"/>
                  <a:gd name="T4" fmla="*/ 258 w 642"/>
                  <a:gd name="T5" fmla="*/ 1924 h 2048"/>
                  <a:gd name="T6" fmla="*/ 244 w 642"/>
                  <a:gd name="T7" fmla="*/ 1924 h 2048"/>
                  <a:gd name="T8" fmla="*/ 220 w 642"/>
                  <a:gd name="T9" fmla="*/ 1918 h 2048"/>
                  <a:gd name="T10" fmla="*/ 196 w 642"/>
                  <a:gd name="T11" fmla="*/ 1908 h 2048"/>
                  <a:gd name="T12" fmla="*/ 174 w 642"/>
                  <a:gd name="T13" fmla="*/ 1894 h 2048"/>
                  <a:gd name="T14" fmla="*/ 158 w 642"/>
                  <a:gd name="T15" fmla="*/ 1878 h 2048"/>
                  <a:gd name="T16" fmla="*/ 144 w 642"/>
                  <a:gd name="T17" fmla="*/ 1856 h 2048"/>
                  <a:gd name="T18" fmla="*/ 134 w 642"/>
                  <a:gd name="T19" fmla="*/ 1832 h 2048"/>
                  <a:gd name="T20" fmla="*/ 128 w 642"/>
                  <a:gd name="T21" fmla="*/ 1808 h 2048"/>
                  <a:gd name="T22" fmla="*/ 128 w 642"/>
                  <a:gd name="T23" fmla="*/ 1794 h 2048"/>
                  <a:gd name="T24" fmla="*/ 130 w 642"/>
                  <a:gd name="T25" fmla="*/ 1768 h 2048"/>
                  <a:gd name="T26" fmla="*/ 138 w 642"/>
                  <a:gd name="T27" fmla="*/ 1744 h 2048"/>
                  <a:gd name="T28" fmla="*/ 150 w 642"/>
                  <a:gd name="T29" fmla="*/ 1720 h 2048"/>
                  <a:gd name="T30" fmla="*/ 166 w 642"/>
                  <a:gd name="T31" fmla="*/ 1702 h 2048"/>
                  <a:gd name="T32" fmla="*/ 184 w 642"/>
                  <a:gd name="T33" fmla="*/ 1686 h 2048"/>
                  <a:gd name="T34" fmla="*/ 208 w 642"/>
                  <a:gd name="T35" fmla="*/ 1674 h 2048"/>
                  <a:gd name="T36" fmla="*/ 232 w 642"/>
                  <a:gd name="T37" fmla="*/ 1666 h 2048"/>
                  <a:gd name="T38" fmla="*/ 258 w 642"/>
                  <a:gd name="T39" fmla="*/ 1664 h 2048"/>
                  <a:gd name="T40" fmla="*/ 272 w 642"/>
                  <a:gd name="T41" fmla="*/ 1664 h 2048"/>
                  <a:gd name="T42" fmla="*/ 296 w 642"/>
                  <a:gd name="T43" fmla="*/ 1670 h 2048"/>
                  <a:gd name="T44" fmla="*/ 320 w 642"/>
                  <a:gd name="T45" fmla="*/ 1680 h 2048"/>
                  <a:gd name="T46" fmla="*/ 342 w 642"/>
                  <a:gd name="T47" fmla="*/ 1694 h 2048"/>
                  <a:gd name="T48" fmla="*/ 358 w 642"/>
                  <a:gd name="T49" fmla="*/ 1710 h 2048"/>
                  <a:gd name="T50" fmla="*/ 372 w 642"/>
                  <a:gd name="T51" fmla="*/ 1732 h 2048"/>
                  <a:gd name="T52" fmla="*/ 382 w 642"/>
                  <a:gd name="T53" fmla="*/ 1756 h 2048"/>
                  <a:gd name="T54" fmla="*/ 388 w 642"/>
                  <a:gd name="T55" fmla="*/ 1780 h 2048"/>
                  <a:gd name="T56" fmla="*/ 388 w 642"/>
                  <a:gd name="T57" fmla="*/ 1794 h 2048"/>
                  <a:gd name="T58" fmla="*/ 386 w 642"/>
                  <a:gd name="T59" fmla="*/ 1820 h 2048"/>
                  <a:gd name="T60" fmla="*/ 378 w 642"/>
                  <a:gd name="T61" fmla="*/ 1844 h 2048"/>
                  <a:gd name="T62" fmla="*/ 366 w 642"/>
                  <a:gd name="T63" fmla="*/ 1868 h 2048"/>
                  <a:gd name="T64" fmla="*/ 350 w 642"/>
                  <a:gd name="T65" fmla="*/ 1886 h 2048"/>
                  <a:gd name="T66" fmla="*/ 332 w 642"/>
                  <a:gd name="T67" fmla="*/ 1902 h 2048"/>
                  <a:gd name="T68" fmla="*/ 308 w 642"/>
                  <a:gd name="T69" fmla="*/ 1914 h 2048"/>
                  <a:gd name="T70" fmla="*/ 284 w 642"/>
                  <a:gd name="T71" fmla="*/ 1922 h 2048"/>
                  <a:gd name="T72" fmla="*/ 258 w 642"/>
                  <a:gd name="T73" fmla="*/ 1924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42" h="2048">
                    <a:moveTo>
                      <a:pt x="0" y="0"/>
                    </a:moveTo>
                    <a:lnTo>
                      <a:pt x="0" y="2048"/>
                    </a:lnTo>
                    <a:lnTo>
                      <a:pt x="642" y="2048"/>
                    </a:lnTo>
                    <a:lnTo>
                      <a:pt x="642" y="0"/>
                    </a:lnTo>
                    <a:lnTo>
                      <a:pt x="0" y="0"/>
                    </a:lnTo>
                    <a:close/>
                    <a:moveTo>
                      <a:pt x="258" y="1924"/>
                    </a:moveTo>
                    <a:lnTo>
                      <a:pt x="258" y="1924"/>
                    </a:lnTo>
                    <a:lnTo>
                      <a:pt x="244" y="1924"/>
                    </a:lnTo>
                    <a:lnTo>
                      <a:pt x="232" y="1922"/>
                    </a:lnTo>
                    <a:lnTo>
                      <a:pt x="220" y="1918"/>
                    </a:lnTo>
                    <a:lnTo>
                      <a:pt x="208" y="1914"/>
                    </a:lnTo>
                    <a:lnTo>
                      <a:pt x="196" y="1908"/>
                    </a:lnTo>
                    <a:lnTo>
                      <a:pt x="184" y="1902"/>
                    </a:lnTo>
                    <a:lnTo>
                      <a:pt x="174" y="1894"/>
                    </a:lnTo>
                    <a:lnTo>
                      <a:pt x="166" y="1886"/>
                    </a:lnTo>
                    <a:lnTo>
                      <a:pt x="158" y="1878"/>
                    </a:lnTo>
                    <a:lnTo>
                      <a:pt x="150" y="1868"/>
                    </a:lnTo>
                    <a:lnTo>
                      <a:pt x="144" y="1856"/>
                    </a:lnTo>
                    <a:lnTo>
                      <a:pt x="138" y="1844"/>
                    </a:lnTo>
                    <a:lnTo>
                      <a:pt x="134" y="1832"/>
                    </a:lnTo>
                    <a:lnTo>
                      <a:pt x="130" y="1820"/>
                    </a:lnTo>
                    <a:lnTo>
                      <a:pt x="128" y="1808"/>
                    </a:lnTo>
                    <a:lnTo>
                      <a:pt x="128" y="1794"/>
                    </a:lnTo>
                    <a:lnTo>
                      <a:pt x="128" y="1794"/>
                    </a:lnTo>
                    <a:lnTo>
                      <a:pt x="128" y="1780"/>
                    </a:lnTo>
                    <a:lnTo>
                      <a:pt x="130" y="1768"/>
                    </a:lnTo>
                    <a:lnTo>
                      <a:pt x="134" y="1756"/>
                    </a:lnTo>
                    <a:lnTo>
                      <a:pt x="138" y="1744"/>
                    </a:lnTo>
                    <a:lnTo>
                      <a:pt x="144" y="1732"/>
                    </a:lnTo>
                    <a:lnTo>
                      <a:pt x="150" y="1720"/>
                    </a:lnTo>
                    <a:lnTo>
                      <a:pt x="158" y="1710"/>
                    </a:lnTo>
                    <a:lnTo>
                      <a:pt x="166" y="1702"/>
                    </a:lnTo>
                    <a:lnTo>
                      <a:pt x="174" y="1694"/>
                    </a:lnTo>
                    <a:lnTo>
                      <a:pt x="184" y="1686"/>
                    </a:lnTo>
                    <a:lnTo>
                      <a:pt x="196" y="1680"/>
                    </a:lnTo>
                    <a:lnTo>
                      <a:pt x="208" y="1674"/>
                    </a:lnTo>
                    <a:lnTo>
                      <a:pt x="220" y="1670"/>
                    </a:lnTo>
                    <a:lnTo>
                      <a:pt x="232" y="1666"/>
                    </a:lnTo>
                    <a:lnTo>
                      <a:pt x="244" y="1664"/>
                    </a:lnTo>
                    <a:lnTo>
                      <a:pt x="258" y="1664"/>
                    </a:lnTo>
                    <a:lnTo>
                      <a:pt x="258" y="1664"/>
                    </a:lnTo>
                    <a:lnTo>
                      <a:pt x="272" y="1664"/>
                    </a:lnTo>
                    <a:lnTo>
                      <a:pt x="284" y="1666"/>
                    </a:lnTo>
                    <a:lnTo>
                      <a:pt x="296" y="1670"/>
                    </a:lnTo>
                    <a:lnTo>
                      <a:pt x="308" y="1674"/>
                    </a:lnTo>
                    <a:lnTo>
                      <a:pt x="320" y="1680"/>
                    </a:lnTo>
                    <a:lnTo>
                      <a:pt x="332" y="1686"/>
                    </a:lnTo>
                    <a:lnTo>
                      <a:pt x="342" y="1694"/>
                    </a:lnTo>
                    <a:lnTo>
                      <a:pt x="350" y="1702"/>
                    </a:lnTo>
                    <a:lnTo>
                      <a:pt x="358" y="1710"/>
                    </a:lnTo>
                    <a:lnTo>
                      <a:pt x="366" y="1720"/>
                    </a:lnTo>
                    <a:lnTo>
                      <a:pt x="372" y="1732"/>
                    </a:lnTo>
                    <a:lnTo>
                      <a:pt x="378" y="1744"/>
                    </a:lnTo>
                    <a:lnTo>
                      <a:pt x="382" y="1756"/>
                    </a:lnTo>
                    <a:lnTo>
                      <a:pt x="386" y="1768"/>
                    </a:lnTo>
                    <a:lnTo>
                      <a:pt x="388" y="1780"/>
                    </a:lnTo>
                    <a:lnTo>
                      <a:pt x="388" y="1794"/>
                    </a:lnTo>
                    <a:lnTo>
                      <a:pt x="388" y="1794"/>
                    </a:lnTo>
                    <a:lnTo>
                      <a:pt x="388" y="1808"/>
                    </a:lnTo>
                    <a:lnTo>
                      <a:pt x="386" y="1820"/>
                    </a:lnTo>
                    <a:lnTo>
                      <a:pt x="382" y="1832"/>
                    </a:lnTo>
                    <a:lnTo>
                      <a:pt x="378" y="1844"/>
                    </a:lnTo>
                    <a:lnTo>
                      <a:pt x="372" y="1856"/>
                    </a:lnTo>
                    <a:lnTo>
                      <a:pt x="366" y="1868"/>
                    </a:lnTo>
                    <a:lnTo>
                      <a:pt x="358" y="1878"/>
                    </a:lnTo>
                    <a:lnTo>
                      <a:pt x="350" y="1886"/>
                    </a:lnTo>
                    <a:lnTo>
                      <a:pt x="342" y="1894"/>
                    </a:lnTo>
                    <a:lnTo>
                      <a:pt x="332" y="1902"/>
                    </a:lnTo>
                    <a:lnTo>
                      <a:pt x="320" y="1908"/>
                    </a:lnTo>
                    <a:lnTo>
                      <a:pt x="308" y="1914"/>
                    </a:lnTo>
                    <a:lnTo>
                      <a:pt x="296" y="1918"/>
                    </a:lnTo>
                    <a:lnTo>
                      <a:pt x="284" y="1922"/>
                    </a:lnTo>
                    <a:lnTo>
                      <a:pt x="272" y="1924"/>
                    </a:lnTo>
                    <a:lnTo>
                      <a:pt x="258" y="1924"/>
                    </a:lnTo>
                    <a:lnTo>
                      <a:pt x="258" y="19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8">
                <a:extLst>
                  <a:ext uri="{FF2B5EF4-FFF2-40B4-BE49-F238E27FC236}">
                    <a16:creationId xmlns:a16="http://schemas.microsoft.com/office/drawing/2014/main" xmlns="" id="{D62BD339-ADB7-4DD0-AA5B-95D38A0E0D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2" y="1201"/>
                <a:ext cx="642" cy="2048"/>
              </a:xfrm>
              <a:custGeom>
                <a:avLst/>
                <a:gdLst>
                  <a:gd name="T0" fmla="*/ 0 w 642"/>
                  <a:gd name="T1" fmla="*/ 2048 h 2048"/>
                  <a:gd name="T2" fmla="*/ 642 w 642"/>
                  <a:gd name="T3" fmla="*/ 0 h 2048"/>
                  <a:gd name="T4" fmla="*/ 254 w 642"/>
                  <a:gd name="T5" fmla="*/ 1794 h 2048"/>
                  <a:gd name="T6" fmla="*/ 254 w 642"/>
                  <a:gd name="T7" fmla="*/ 1780 h 2048"/>
                  <a:gd name="T8" fmla="*/ 260 w 642"/>
                  <a:gd name="T9" fmla="*/ 1756 h 2048"/>
                  <a:gd name="T10" fmla="*/ 270 w 642"/>
                  <a:gd name="T11" fmla="*/ 1732 h 2048"/>
                  <a:gd name="T12" fmla="*/ 284 w 642"/>
                  <a:gd name="T13" fmla="*/ 1710 h 2048"/>
                  <a:gd name="T14" fmla="*/ 300 w 642"/>
                  <a:gd name="T15" fmla="*/ 1694 h 2048"/>
                  <a:gd name="T16" fmla="*/ 322 w 642"/>
                  <a:gd name="T17" fmla="*/ 1680 h 2048"/>
                  <a:gd name="T18" fmla="*/ 346 w 642"/>
                  <a:gd name="T19" fmla="*/ 1670 h 2048"/>
                  <a:gd name="T20" fmla="*/ 370 w 642"/>
                  <a:gd name="T21" fmla="*/ 1664 h 2048"/>
                  <a:gd name="T22" fmla="*/ 384 w 642"/>
                  <a:gd name="T23" fmla="*/ 1664 h 2048"/>
                  <a:gd name="T24" fmla="*/ 410 w 642"/>
                  <a:gd name="T25" fmla="*/ 1666 h 2048"/>
                  <a:gd name="T26" fmla="*/ 434 w 642"/>
                  <a:gd name="T27" fmla="*/ 1674 h 2048"/>
                  <a:gd name="T28" fmla="*/ 458 w 642"/>
                  <a:gd name="T29" fmla="*/ 1686 h 2048"/>
                  <a:gd name="T30" fmla="*/ 476 w 642"/>
                  <a:gd name="T31" fmla="*/ 1702 h 2048"/>
                  <a:gd name="T32" fmla="*/ 492 w 642"/>
                  <a:gd name="T33" fmla="*/ 1720 h 2048"/>
                  <a:gd name="T34" fmla="*/ 504 w 642"/>
                  <a:gd name="T35" fmla="*/ 1744 h 2048"/>
                  <a:gd name="T36" fmla="*/ 512 w 642"/>
                  <a:gd name="T37" fmla="*/ 1768 h 2048"/>
                  <a:gd name="T38" fmla="*/ 514 w 642"/>
                  <a:gd name="T39" fmla="*/ 1794 h 2048"/>
                  <a:gd name="T40" fmla="*/ 514 w 642"/>
                  <a:gd name="T41" fmla="*/ 1808 h 2048"/>
                  <a:gd name="T42" fmla="*/ 508 w 642"/>
                  <a:gd name="T43" fmla="*/ 1832 h 2048"/>
                  <a:gd name="T44" fmla="*/ 498 w 642"/>
                  <a:gd name="T45" fmla="*/ 1856 h 2048"/>
                  <a:gd name="T46" fmla="*/ 484 w 642"/>
                  <a:gd name="T47" fmla="*/ 1878 h 2048"/>
                  <a:gd name="T48" fmla="*/ 468 w 642"/>
                  <a:gd name="T49" fmla="*/ 1894 h 2048"/>
                  <a:gd name="T50" fmla="*/ 446 w 642"/>
                  <a:gd name="T51" fmla="*/ 1908 h 2048"/>
                  <a:gd name="T52" fmla="*/ 422 w 642"/>
                  <a:gd name="T53" fmla="*/ 1918 h 2048"/>
                  <a:gd name="T54" fmla="*/ 398 w 642"/>
                  <a:gd name="T55" fmla="*/ 1924 h 2048"/>
                  <a:gd name="T56" fmla="*/ 384 w 642"/>
                  <a:gd name="T57" fmla="*/ 1924 h 2048"/>
                  <a:gd name="T58" fmla="*/ 358 w 642"/>
                  <a:gd name="T59" fmla="*/ 1922 h 2048"/>
                  <a:gd name="T60" fmla="*/ 334 w 642"/>
                  <a:gd name="T61" fmla="*/ 1914 h 2048"/>
                  <a:gd name="T62" fmla="*/ 310 w 642"/>
                  <a:gd name="T63" fmla="*/ 1902 h 2048"/>
                  <a:gd name="T64" fmla="*/ 292 w 642"/>
                  <a:gd name="T65" fmla="*/ 1886 h 2048"/>
                  <a:gd name="T66" fmla="*/ 276 w 642"/>
                  <a:gd name="T67" fmla="*/ 1868 h 2048"/>
                  <a:gd name="T68" fmla="*/ 264 w 642"/>
                  <a:gd name="T69" fmla="*/ 1844 h 2048"/>
                  <a:gd name="T70" fmla="*/ 256 w 642"/>
                  <a:gd name="T71" fmla="*/ 1820 h 2048"/>
                  <a:gd name="T72" fmla="*/ 254 w 642"/>
                  <a:gd name="T73" fmla="*/ 1794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42" h="2048">
                    <a:moveTo>
                      <a:pt x="0" y="0"/>
                    </a:moveTo>
                    <a:lnTo>
                      <a:pt x="0" y="2048"/>
                    </a:lnTo>
                    <a:lnTo>
                      <a:pt x="642" y="2048"/>
                    </a:lnTo>
                    <a:lnTo>
                      <a:pt x="642" y="0"/>
                    </a:lnTo>
                    <a:lnTo>
                      <a:pt x="0" y="0"/>
                    </a:lnTo>
                    <a:close/>
                    <a:moveTo>
                      <a:pt x="254" y="1794"/>
                    </a:moveTo>
                    <a:lnTo>
                      <a:pt x="254" y="1794"/>
                    </a:lnTo>
                    <a:lnTo>
                      <a:pt x="254" y="1780"/>
                    </a:lnTo>
                    <a:lnTo>
                      <a:pt x="256" y="1768"/>
                    </a:lnTo>
                    <a:lnTo>
                      <a:pt x="260" y="1756"/>
                    </a:lnTo>
                    <a:lnTo>
                      <a:pt x="264" y="1744"/>
                    </a:lnTo>
                    <a:lnTo>
                      <a:pt x="270" y="1732"/>
                    </a:lnTo>
                    <a:lnTo>
                      <a:pt x="276" y="1720"/>
                    </a:lnTo>
                    <a:lnTo>
                      <a:pt x="284" y="1710"/>
                    </a:lnTo>
                    <a:lnTo>
                      <a:pt x="292" y="1702"/>
                    </a:lnTo>
                    <a:lnTo>
                      <a:pt x="300" y="1694"/>
                    </a:lnTo>
                    <a:lnTo>
                      <a:pt x="310" y="1686"/>
                    </a:lnTo>
                    <a:lnTo>
                      <a:pt x="322" y="1680"/>
                    </a:lnTo>
                    <a:lnTo>
                      <a:pt x="334" y="1674"/>
                    </a:lnTo>
                    <a:lnTo>
                      <a:pt x="346" y="1670"/>
                    </a:lnTo>
                    <a:lnTo>
                      <a:pt x="358" y="1666"/>
                    </a:lnTo>
                    <a:lnTo>
                      <a:pt x="370" y="1664"/>
                    </a:lnTo>
                    <a:lnTo>
                      <a:pt x="384" y="1664"/>
                    </a:lnTo>
                    <a:lnTo>
                      <a:pt x="384" y="1664"/>
                    </a:lnTo>
                    <a:lnTo>
                      <a:pt x="398" y="1664"/>
                    </a:lnTo>
                    <a:lnTo>
                      <a:pt x="410" y="1666"/>
                    </a:lnTo>
                    <a:lnTo>
                      <a:pt x="422" y="1670"/>
                    </a:lnTo>
                    <a:lnTo>
                      <a:pt x="434" y="1674"/>
                    </a:lnTo>
                    <a:lnTo>
                      <a:pt x="446" y="1680"/>
                    </a:lnTo>
                    <a:lnTo>
                      <a:pt x="458" y="1686"/>
                    </a:lnTo>
                    <a:lnTo>
                      <a:pt x="468" y="1694"/>
                    </a:lnTo>
                    <a:lnTo>
                      <a:pt x="476" y="1702"/>
                    </a:lnTo>
                    <a:lnTo>
                      <a:pt x="484" y="1710"/>
                    </a:lnTo>
                    <a:lnTo>
                      <a:pt x="492" y="1720"/>
                    </a:lnTo>
                    <a:lnTo>
                      <a:pt x="498" y="1732"/>
                    </a:lnTo>
                    <a:lnTo>
                      <a:pt x="504" y="1744"/>
                    </a:lnTo>
                    <a:lnTo>
                      <a:pt x="508" y="1756"/>
                    </a:lnTo>
                    <a:lnTo>
                      <a:pt x="512" y="1768"/>
                    </a:lnTo>
                    <a:lnTo>
                      <a:pt x="514" y="1780"/>
                    </a:lnTo>
                    <a:lnTo>
                      <a:pt x="514" y="1794"/>
                    </a:lnTo>
                    <a:lnTo>
                      <a:pt x="514" y="1794"/>
                    </a:lnTo>
                    <a:lnTo>
                      <a:pt x="514" y="1808"/>
                    </a:lnTo>
                    <a:lnTo>
                      <a:pt x="512" y="1820"/>
                    </a:lnTo>
                    <a:lnTo>
                      <a:pt x="508" y="1832"/>
                    </a:lnTo>
                    <a:lnTo>
                      <a:pt x="504" y="1844"/>
                    </a:lnTo>
                    <a:lnTo>
                      <a:pt x="498" y="1856"/>
                    </a:lnTo>
                    <a:lnTo>
                      <a:pt x="492" y="1868"/>
                    </a:lnTo>
                    <a:lnTo>
                      <a:pt x="484" y="1878"/>
                    </a:lnTo>
                    <a:lnTo>
                      <a:pt x="476" y="1886"/>
                    </a:lnTo>
                    <a:lnTo>
                      <a:pt x="468" y="1894"/>
                    </a:lnTo>
                    <a:lnTo>
                      <a:pt x="458" y="1902"/>
                    </a:lnTo>
                    <a:lnTo>
                      <a:pt x="446" y="1908"/>
                    </a:lnTo>
                    <a:lnTo>
                      <a:pt x="434" y="1914"/>
                    </a:lnTo>
                    <a:lnTo>
                      <a:pt x="422" y="1918"/>
                    </a:lnTo>
                    <a:lnTo>
                      <a:pt x="410" y="1922"/>
                    </a:lnTo>
                    <a:lnTo>
                      <a:pt x="398" y="1924"/>
                    </a:lnTo>
                    <a:lnTo>
                      <a:pt x="384" y="1924"/>
                    </a:lnTo>
                    <a:lnTo>
                      <a:pt x="384" y="1924"/>
                    </a:lnTo>
                    <a:lnTo>
                      <a:pt x="370" y="1924"/>
                    </a:lnTo>
                    <a:lnTo>
                      <a:pt x="358" y="1922"/>
                    </a:lnTo>
                    <a:lnTo>
                      <a:pt x="346" y="1918"/>
                    </a:lnTo>
                    <a:lnTo>
                      <a:pt x="334" y="1914"/>
                    </a:lnTo>
                    <a:lnTo>
                      <a:pt x="322" y="1908"/>
                    </a:lnTo>
                    <a:lnTo>
                      <a:pt x="310" y="1902"/>
                    </a:lnTo>
                    <a:lnTo>
                      <a:pt x="300" y="1894"/>
                    </a:lnTo>
                    <a:lnTo>
                      <a:pt x="292" y="1886"/>
                    </a:lnTo>
                    <a:lnTo>
                      <a:pt x="284" y="1878"/>
                    </a:lnTo>
                    <a:lnTo>
                      <a:pt x="276" y="1868"/>
                    </a:lnTo>
                    <a:lnTo>
                      <a:pt x="270" y="1856"/>
                    </a:lnTo>
                    <a:lnTo>
                      <a:pt x="264" y="1844"/>
                    </a:lnTo>
                    <a:lnTo>
                      <a:pt x="260" y="1832"/>
                    </a:lnTo>
                    <a:lnTo>
                      <a:pt x="256" y="1820"/>
                    </a:lnTo>
                    <a:lnTo>
                      <a:pt x="254" y="1808"/>
                    </a:lnTo>
                    <a:lnTo>
                      <a:pt x="254" y="1794"/>
                    </a:lnTo>
                    <a:lnTo>
                      <a:pt x="254" y="17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4" name="Content Placeholder 2">
              <a:extLst>
                <a:ext uri="{FF2B5EF4-FFF2-40B4-BE49-F238E27FC236}">
                  <a16:creationId xmlns:a16="http://schemas.microsoft.com/office/drawing/2014/main" xmlns="" id="{FC23BA1F-8C0E-4264-AF78-EA852D6E5236}"/>
                </a:ext>
              </a:extLst>
            </p:cNvPr>
            <p:cNvSpPr txBox="1">
              <a:spLocks/>
            </p:cNvSpPr>
            <p:nvPr/>
          </p:nvSpPr>
          <p:spPr>
            <a:xfrm>
              <a:off x="3355332" y="2607095"/>
              <a:ext cx="2139238" cy="1938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orem Ipsum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xmlns="" id="{A6D33443-9BE1-44D8-A678-7FC835D7F0E0}"/>
                </a:ext>
              </a:extLst>
            </p:cNvPr>
            <p:cNvGrpSpPr/>
            <p:nvPr/>
          </p:nvGrpSpPr>
          <p:grpSpPr>
            <a:xfrm>
              <a:off x="4242648" y="1989502"/>
              <a:ext cx="364606" cy="314313"/>
              <a:chOff x="10456863" y="1954213"/>
              <a:chExt cx="276225" cy="238125"/>
            </a:xfrm>
            <a:solidFill>
              <a:schemeClr val="accent1"/>
            </a:solidFill>
          </p:grpSpPr>
          <p:sp>
            <p:nvSpPr>
              <p:cNvPr id="63" name="Freeform 3638">
                <a:extLst>
                  <a:ext uri="{FF2B5EF4-FFF2-40B4-BE49-F238E27FC236}">
                    <a16:creationId xmlns:a16="http://schemas.microsoft.com/office/drawing/2014/main" xmlns="" id="{BB5C5835-418D-41D2-AC1A-9F74D8723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7975" y="1954213"/>
                <a:ext cx="236537" cy="95250"/>
              </a:xfrm>
              <a:custGeom>
                <a:avLst/>
                <a:gdLst>
                  <a:gd name="T0" fmla="*/ 599 w 599"/>
                  <a:gd name="T1" fmla="*/ 11 h 241"/>
                  <a:gd name="T2" fmla="*/ 591 w 599"/>
                  <a:gd name="T3" fmla="*/ 6 h 241"/>
                  <a:gd name="T4" fmla="*/ 582 w 599"/>
                  <a:gd name="T5" fmla="*/ 2 h 241"/>
                  <a:gd name="T6" fmla="*/ 572 w 599"/>
                  <a:gd name="T7" fmla="*/ 0 h 241"/>
                  <a:gd name="T8" fmla="*/ 560 w 599"/>
                  <a:gd name="T9" fmla="*/ 0 h 241"/>
                  <a:gd name="T10" fmla="*/ 46 w 599"/>
                  <a:gd name="T11" fmla="*/ 0 h 241"/>
                  <a:gd name="T12" fmla="*/ 33 w 599"/>
                  <a:gd name="T13" fmla="*/ 1 h 241"/>
                  <a:gd name="T14" fmla="*/ 21 w 599"/>
                  <a:gd name="T15" fmla="*/ 3 h 241"/>
                  <a:gd name="T16" fmla="*/ 9 w 599"/>
                  <a:gd name="T17" fmla="*/ 7 h 241"/>
                  <a:gd name="T18" fmla="*/ 0 w 599"/>
                  <a:gd name="T19" fmla="*/ 14 h 241"/>
                  <a:gd name="T20" fmla="*/ 315 w 599"/>
                  <a:gd name="T21" fmla="*/ 241 h 241"/>
                  <a:gd name="T22" fmla="*/ 599 w 599"/>
                  <a:gd name="T23" fmla="*/ 1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9" h="241">
                    <a:moveTo>
                      <a:pt x="599" y="11"/>
                    </a:moveTo>
                    <a:lnTo>
                      <a:pt x="591" y="6"/>
                    </a:lnTo>
                    <a:lnTo>
                      <a:pt x="582" y="2"/>
                    </a:lnTo>
                    <a:lnTo>
                      <a:pt x="572" y="0"/>
                    </a:lnTo>
                    <a:lnTo>
                      <a:pt x="560" y="0"/>
                    </a:lnTo>
                    <a:lnTo>
                      <a:pt x="46" y="0"/>
                    </a:lnTo>
                    <a:lnTo>
                      <a:pt x="33" y="1"/>
                    </a:lnTo>
                    <a:lnTo>
                      <a:pt x="21" y="3"/>
                    </a:lnTo>
                    <a:lnTo>
                      <a:pt x="9" y="7"/>
                    </a:lnTo>
                    <a:lnTo>
                      <a:pt x="0" y="14"/>
                    </a:lnTo>
                    <a:lnTo>
                      <a:pt x="315" y="241"/>
                    </a:lnTo>
                    <a:lnTo>
                      <a:pt x="59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 3639">
                <a:extLst>
                  <a:ext uri="{FF2B5EF4-FFF2-40B4-BE49-F238E27FC236}">
                    <a16:creationId xmlns:a16="http://schemas.microsoft.com/office/drawing/2014/main" xmlns="" id="{B919657A-066C-4C64-B249-EF7494213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6863" y="1966913"/>
                <a:ext cx="257175" cy="158750"/>
              </a:xfrm>
              <a:custGeom>
                <a:avLst/>
                <a:gdLst>
                  <a:gd name="T0" fmla="*/ 552 w 649"/>
                  <a:gd name="T1" fmla="*/ 257 h 402"/>
                  <a:gd name="T2" fmla="*/ 565 w 649"/>
                  <a:gd name="T3" fmla="*/ 258 h 402"/>
                  <a:gd name="T4" fmla="*/ 579 w 649"/>
                  <a:gd name="T5" fmla="*/ 260 h 402"/>
                  <a:gd name="T6" fmla="*/ 591 w 649"/>
                  <a:gd name="T7" fmla="*/ 262 h 402"/>
                  <a:gd name="T8" fmla="*/ 604 w 649"/>
                  <a:gd name="T9" fmla="*/ 266 h 402"/>
                  <a:gd name="T10" fmla="*/ 615 w 649"/>
                  <a:gd name="T11" fmla="*/ 270 h 402"/>
                  <a:gd name="T12" fmla="*/ 627 w 649"/>
                  <a:gd name="T13" fmla="*/ 275 h 402"/>
                  <a:gd name="T14" fmla="*/ 638 w 649"/>
                  <a:gd name="T15" fmla="*/ 282 h 402"/>
                  <a:gd name="T16" fmla="*/ 649 w 649"/>
                  <a:gd name="T17" fmla="*/ 288 h 402"/>
                  <a:gd name="T18" fmla="*/ 649 w 649"/>
                  <a:gd name="T19" fmla="*/ 40 h 402"/>
                  <a:gd name="T20" fmla="*/ 649 w 649"/>
                  <a:gd name="T21" fmla="*/ 29 h 402"/>
                  <a:gd name="T22" fmla="*/ 646 w 649"/>
                  <a:gd name="T23" fmla="*/ 18 h 402"/>
                  <a:gd name="T24" fmla="*/ 644 w 649"/>
                  <a:gd name="T25" fmla="*/ 9 h 402"/>
                  <a:gd name="T26" fmla="*/ 641 w 649"/>
                  <a:gd name="T27" fmla="*/ 0 h 402"/>
                  <a:gd name="T28" fmla="*/ 349 w 649"/>
                  <a:gd name="T29" fmla="*/ 235 h 402"/>
                  <a:gd name="T30" fmla="*/ 346 w 649"/>
                  <a:gd name="T31" fmla="*/ 238 h 402"/>
                  <a:gd name="T32" fmla="*/ 342 w 649"/>
                  <a:gd name="T33" fmla="*/ 238 h 402"/>
                  <a:gd name="T34" fmla="*/ 338 w 649"/>
                  <a:gd name="T35" fmla="*/ 238 h 402"/>
                  <a:gd name="T36" fmla="*/ 334 w 649"/>
                  <a:gd name="T37" fmla="*/ 237 h 402"/>
                  <a:gd name="T38" fmla="*/ 10 w 649"/>
                  <a:gd name="T39" fmla="*/ 2 h 402"/>
                  <a:gd name="T40" fmla="*/ 5 w 649"/>
                  <a:gd name="T41" fmla="*/ 11 h 402"/>
                  <a:gd name="T42" fmla="*/ 3 w 649"/>
                  <a:gd name="T43" fmla="*/ 20 h 402"/>
                  <a:gd name="T44" fmla="*/ 0 w 649"/>
                  <a:gd name="T45" fmla="*/ 29 h 402"/>
                  <a:gd name="T46" fmla="*/ 0 w 649"/>
                  <a:gd name="T47" fmla="*/ 40 h 402"/>
                  <a:gd name="T48" fmla="*/ 0 w 649"/>
                  <a:gd name="T49" fmla="*/ 329 h 402"/>
                  <a:gd name="T50" fmla="*/ 0 w 649"/>
                  <a:gd name="T51" fmla="*/ 337 h 402"/>
                  <a:gd name="T52" fmla="*/ 1 w 649"/>
                  <a:gd name="T53" fmla="*/ 343 h 402"/>
                  <a:gd name="T54" fmla="*/ 3 w 649"/>
                  <a:gd name="T55" fmla="*/ 351 h 402"/>
                  <a:gd name="T56" fmla="*/ 5 w 649"/>
                  <a:gd name="T57" fmla="*/ 357 h 402"/>
                  <a:gd name="T58" fmla="*/ 8 w 649"/>
                  <a:gd name="T59" fmla="*/ 362 h 402"/>
                  <a:gd name="T60" fmla="*/ 12 w 649"/>
                  <a:gd name="T61" fmla="*/ 369 h 402"/>
                  <a:gd name="T62" fmla="*/ 16 w 649"/>
                  <a:gd name="T63" fmla="*/ 374 h 402"/>
                  <a:gd name="T64" fmla="*/ 21 w 649"/>
                  <a:gd name="T65" fmla="*/ 379 h 402"/>
                  <a:gd name="T66" fmla="*/ 31 w 649"/>
                  <a:gd name="T67" fmla="*/ 388 h 402"/>
                  <a:gd name="T68" fmla="*/ 43 w 649"/>
                  <a:gd name="T69" fmla="*/ 395 h 402"/>
                  <a:gd name="T70" fmla="*/ 49 w 649"/>
                  <a:gd name="T71" fmla="*/ 397 h 402"/>
                  <a:gd name="T72" fmla="*/ 57 w 649"/>
                  <a:gd name="T73" fmla="*/ 400 h 402"/>
                  <a:gd name="T74" fmla="*/ 63 w 649"/>
                  <a:gd name="T75" fmla="*/ 401 h 402"/>
                  <a:gd name="T76" fmla="*/ 71 w 649"/>
                  <a:gd name="T77" fmla="*/ 402 h 402"/>
                  <a:gd name="T78" fmla="*/ 387 w 649"/>
                  <a:gd name="T79" fmla="*/ 402 h 402"/>
                  <a:gd name="T80" fmla="*/ 389 w 649"/>
                  <a:gd name="T81" fmla="*/ 387 h 402"/>
                  <a:gd name="T82" fmla="*/ 393 w 649"/>
                  <a:gd name="T83" fmla="*/ 373 h 402"/>
                  <a:gd name="T84" fmla="*/ 398 w 649"/>
                  <a:gd name="T85" fmla="*/ 359 h 402"/>
                  <a:gd name="T86" fmla="*/ 405 w 649"/>
                  <a:gd name="T87" fmla="*/ 345 h 402"/>
                  <a:gd name="T88" fmla="*/ 412 w 649"/>
                  <a:gd name="T89" fmla="*/ 332 h 402"/>
                  <a:gd name="T90" fmla="*/ 421 w 649"/>
                  <a:gd name="T91" fmla="*/ 320 h 402"/>
                  <a:gd name="T92" fmla="*/ 432 w 649"/>
                  <a:gd name="T93" fmla="*/ 310 h 402"/>
                  <a:gd name="T94" fmla="*/ 442 w 649"/>
                  <a:gd name="T95" fmla="*/ 300 h 402"/>
                  <a:gd name="T96" fmla="*/ 453 w 649"/>
                  <a:gd name="T97" fmla="*/ 291 h 402"/>
                  <a:gd name="T98" fmla="*/ 466 w 649"/>
                  <a:gd name="T99" fmla="*/ 282 h 402"/>
                  <a:gd name="T100" fmla="*/ 479 w 649"/>
                  <a:gd name="T101" fmla="*/ 275 h 402"/>
                  <a:gd name="T102" fmla="*/ 492 w 649"/>
                  <a:gd name="T103" fmla="*/ 269 h 402"/>
                  <a:gd name="T104" fmla="*/ 506 w 649"/>
                  <a:gd name="T105" fmla="*/ 264 h 402"/>
                  <a:gd name="T106" fmla="*/ 522 w 649"/>
                  <a:gd name="T107" fmla="*/ 261 h 402"/>
                  <a:gd name="T108" fmla="*/ 537 w 649"/>
                  <a:gd name="T109" fmla="*/ 258 h 402"/>
                  <a:gd name="T110" fmla="*/ 552 w 649"/>
                  <a:gd name="T111" fmla="*/ 257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49" h="402">
                    <a:moveTo>
                      <a:pt x="552" y="257"/>
                    </a:moveTo>
                    <a:lnTo>
                      <a:pt x="565" y="258"/>
                    </a:lnTo>
                    <a:lnTo>
                      <a:pt x="579" y="260"/>
                    </a:lnTo>
                    <a:lnTo>
                      <a:pt x="591" y="262"/>
                    </a:lnTo>
                    <a:lnTo>
                      <a:pt x="604" y="266"/>
                    </a:lnTo>
                    <a:lnTo>
                      <a:pt x="615" y="270"/>
                    </a:lnTo>
                    <a:lnTo>
                      <a:pt x="627" y="275"/>
                    </a:lnTo>
                    <a:lnTo>
                      <a:pt x="638" y="282"/>
                    </a:lnTo>
                    <a:lnTo>
                      <a:pt x="649" y="288"/>
                    </a:lnTo>
                    <a:lnTo>
                      <a:pt x="649" y="40"/>
                    </a:lnTo>
                    <a:lnTo>
                      <a:pt x="649" y="29"/>
                    </a:lnTo>
                    <a:lnTo>
                      <a:pt x="646" y="18"/>
                    </a:lnTo>
                    <a:lnTo>
                      <a:pt x="644" y="9"/>
                    </a:lnTo>
                    <a:lnTo>
                      <a:pt x="641" y="0"/>
                    </a:lnTo>
                    <a:lnTo>
                      <a:pt x="349" y="235"/>
                    </a:lnTo>
                    <a:lnTo>
                      <a:pt x="346" y="238"/>
                    </a:lnTo>
                    <a:lnTo>
                      <a:pt x="342" y="238"/>
                    </a:lnTo>
                    <a:lnTo>
                      <a:pt x="338" y="238"/>
                    </a:lnTo>
                    <a:lnTo>
                      <a:pt x="334" y="237"/>
                    </a:lnTo>
                    <a:lnTo>
                      <a:pt x="10" y="2"/>
                    </a:lnTo>
                    <a:lnTo>
                      <a:pt x="5" y="11"/>
                    </a:lnTo>
                    <a:lnTo>
                      <a:pt x="3" y="20"/>
                    </a:lnTo>
                    <a:lnTo>
                      <a:pt x="0" y="29"/>
                    </a:lnTo>
                    <a:lnTo>
                      <a:pt x="0" y="40"/>
                    </a:lnTo>
                    <a:lnTo>
                      <a:pt x="0" y="329"/>
                    </a:lnTo>
                    <a:lnTo>
                      <a:pt x="0" y="337"/>
                    </a:lnTo>
                    <a:lnTo>
                      <a:pt x="1" y="343"/>
                    </a:lnTo>
                    <a:lnTo>
                      <a:pt x="3" y="351"/>
                    </a:lnTo>
                    <a:lnTo>
                      <a:pt x="5" y="357"/>
                    </a:lnTo>
                    <a:lnTo>
                      <a:pt x="8" y="362"/>
                    </a:lnTo>
                    <a:lnTo>
                      <a:pt x="12" y="369"/>
                    </a:lnTo>
                    <a:lnTo>
                      <a:pt x="16" y="374"/>
                    </a:lnTo>
                    <a:lnTo>
                      <a:pt x="21" y="379"/>
                    </a:lnTo>
                    <a:lnTo>
                      <a:pt x="31" y="388"/>
                    </a:lnTo>
                    <a:lnTo>
                      <a:pt x="43" y="395"/>
                    </a:lnTo>
                    <a:lnTo>
                      <a:pt x="49" y="397"/>
                    </a:lnTo>
                    <a:lnTo>
                      <a:pt x="57" y="400"/>
                    </a:lnTo>
                    <a:lnTo>
                      <a:pt x="63" y="401"/>
                    </a:lnTo>
                    <a:lnTo>
                      <a:pt x="71" y="402"/>
                    </a:lnTo>
                    <a:lnTo>
                      <a:pt x="387" y="402"/>
                    </a:lnTo>
                    <a:lnTo>
                      <a:pt x="389" y="387"/>
                    </a:lnTo>
                    <a:lnTo>
                      <a:pt x="393" y="373"/>
                    </a:lnTo>
                    <a:lnTo>
                      <a:pt x="398" y="359"/>
                    </a:lnTo>
                    <a:lnTo>
                      <a:pt x="405" y="345"/>
                    </a:lnTo>
                    <a:lnTo>
                      <a:pt x="412" y="332"/>
                    </a:lnTo>
                    <a:lnTo>
                      <a:pt x="421" y="320"/>
                    </a:lnTo>
                    <a:lnTo>
                      <a:pt x="432" y="310"/>
                    </a:lnTo>
                    <a:lnTo>
                      <a:pt x="442" y="300"/>
                    </a:lnTo>
                    <a:lnTo>
                      <a:pt x="453" y="291"/>
                    </a:lnTo>
                    <a:lnTo>
                      <a:pt x="466" y="282"/>
                    </a:lnTo>
                    <a:lnTo>
                      <a:pt x="479" y="275"/>
                    </a:lnTo>
                    <a:lnTo>
                      <a:pt x="492" y="269"/>
                    </a:lnTo>
                    <a:lnTo>
                      <a:pt x="506" y="264"/>
                    </a:lnTo>
                    <a:lnTo>
                      <a:pt x="522" y="261"/>
                    </a:lnTo>
                    <a:lnTo>
                      <a:pt x="537" y="258"/>
                    </a:lnTo>
                    <a:lnTo>
                      <a:pt x="552" y="2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3640">
                <a:extLst>
                  <a:ext uri="{FF2B5EF4-FFF2-40B4-BE49-F238E27FC236}">
                    <a16:creationId xmlns:a16="http://schemas.microsoft.com/office/drawing/2014/main" xmlns="" id="{DB0B9B61-59AB-4F7E-BE43-6AEC4B8698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18788" y="2078038"/>
                <a:ext cx="114300" cy="114300"/>
              </a:xfrm>
              <a:custGeom>
                <a:avLst/>
                <a:gdLst>
                  <a:gd name="T0" fmla="*/ 111 w 287"/>
                  <a:gd name="T1" fmla="*/ 253 h 289"/>
                  <a:gd name="T2" fmla="*/ 77 w 287"/>
                  <a:gd name="T3" fmla="*/ 235 h 289"/>
                  <a:gd name="T4" fmla="*/ 66 w 287"/>
                  <a:gd name="T5" fmla="*/ 242 h 289"/>
                  <a:gd name="T6" fmla="*/ 48 w 287"/>
                  <a:gd name="T7" fmla="*/ 242 h 289"/>
                  <a:gd name="T8" fmla="*/ 107 w 287"/>
                  <a:gd name="T9" fmla="*/ 181 h 289"/>
                  <a:gd name="T10" fmla="*/ 119 w 287"/>
                  <a:gd name="T11" fmla="*/ 192 h 289"/>
                  <a:gd name="T12" fmla="*/ 107 w 287"/>
                  <a:gd name="T13" fmla="*/ 204 h 289"/>
                  <a:gd name="T14" fmla="*/ 100 w 287"/>
                  <a:gd name="T15" fmla="*/ 220 h 289"/>
                  <a:gd name="T16" fmla="*/ 133 w 287"/>
                  <a:gd name="T17" fmla="*/ 232 h 289"/>
                  <a:gd name="T18" fmla="*/ 165 w 287"/>
                  <a:gd name="T19" fmla="*/ 228 h 289"/>
                  <a:gd name="T20" fmla="*/ 193 w 287"/>
                  <a:gd name="T21" fmla="*/ 214 h 289"/>
                  <a:gd name="T22" fmla="*/ 214 w 287"/>
                  <a:gd name="T23" fmla="*/ 190 h 289"/>
                  <a:gd name="T24" fmla="*/ 223 w 287"/>
                  <a:gd name="T25" fmla="*/ 159 h 289"/>
                  <a:gd name="T26" fmla="*/ 245 w 287"/>
                  <a:gd name="T27" fmla="*/ 172 h 289"/>
                  <a:gd name="T28" fmla="*/ 229 w 287"/>
                  <a:gd name="T29" fmla="*/ 210 h 289"/>
                  <a:gd name="T30" fmla="*/ 201 w 287"/>
                  <a:gd name="T31" fmla="*/ 238 h 289"/>
                  <a:gd name="T32" fmla="*/ 163 w 287"/>
                  <a:gd name="T33" fmla="*/ 254 h 289"/>
                  <a:gd name="T34" fmla="*/ 39 w 287"/>
                  <a:gd name="T35" fmla="*/ 138 h 289"/>
                  <a:gd name="T36" fmla="*/ 52 w 287"/>
                  <a:gd name="T37" fmla="*/ 98 h 289"/>
                  <a:gd name="T38" fmla="*/ 78 w 287"/>
                  <a:gd name="T39" fmla="*/ 66 h 289"/>
                  <a:gd name="T40" fmla="*/ 114 w 287"/>
                  <a:gd name="T41" fmla="*/ 47 h 289"/>
                  <a:gd name="T42" fmla="*/ 155 w 287"/>
                  <a:gd name="T43" fmla="*/ 43 h 289"/>
                  <a:gd name="T44" fmla="*/ 188 w 287"/>
                  <a:gd name="T45" fmla="*/ 54 h 289"/>
                  <a:gd name="T46" fmla="*/ 211 w 287"/>
                  <a:gd name="T47" fmla="*/ 51 h 289"/>
                  <a:gd name="T48" fmla="*/ 223 w 287"/>
                  <a:gd name="T49" fmla="*/ 39 h 289"/>
                  <a:gd name="T50" fmla="*/ 235 w 287"/>
                  <a:gd name="T51" fmla="*/ 51 h 289"/>
                  <a:gd name="T52" fmla="*/ 165 w 287"/>
                  <a:gd name="T53" fmla="*/ 118 h 289"/>
                  <a:gd name="T54" fmla="*/ 165 w 287"/>
                  <a:gd name="T55" fmla="*/ 101 h 289"/>
                  <a:gd name="T56" fmla="*/ 197 w 287"/>
                  <a:gd name="T57" fmla="*/ 91 h 289"/>
                  <a:gd name="T58" fmla="*/ 172 w 287"/>
                  <a:gd name="T59" fmla="*/ 72 h 289"/>
                  <a:gd name="T60" fmla="*/ 137 w 287"/>
                  <a:gd name="T61" fmla="*/ 66 h 289"/>
                  <a:gd name="T62" fmla="*/ 106 w 287"/>
                  <a:gd name="T63" fmla="*/ 77 h 289"/>
                  <a:gd name="T64" fmla="*/ 82 w 287"/>
                  <a:gd name="T65" fmla="*/ 96 h 289"/>
                  <a:gd name="T66" fmla="*/ 68 w 287"/>
                  <a:gd name="T67" fmla="*/ 124 h 289"/>
                  <a:gd name="T68" fmla="*/ 39 w 287"/>
                  <a:gd name="T69" fmla="*/ 149 h 289"/>
                  <a:gd name="T70" fmla="*/ 101 w 287"/>
                  <a:gd name="T71" fmla="*/ 6 h 289"/>
                  <a:gd name="T72" fmla="*/ 52 w 287"/>
                  <a:gd name="T73" fmla="*/ 33 h 289"/>
                  <a:gd name="T74" fmla="*/ 16 w 287"/>
                  <a:gd name="T75" fmla="*/ 75 h 289"/>
                  <a:gd name="T76" fmla="*/ 0 w 287"/>
                  <a:gd name="T77" fmla="*/ 129 h 289"/>
                  <a:gd name="T78" fmla="*/ 6 w 287"/>
                  <a:gd name="T79" fmla="*/ 187 h 289"/>
                  <a:gd name="T80" fmla="*/ 32 w 287"/>
                  <a:gd name="T81" fmla="*/ 236 h 289"/>
                  <a:gd name="T82" fmla="*/ 75 w 287"/>
                  <a:gd name="T83" fmla="*/ 271 h 289"/>
                  <a:gd name="T84" fmla="*/ 129 w 287"/>
                  <a:gd name="T85" fmla="*/ 287 h 289"/>
                  <a:gd name="T86" fmla="*/ 186 w 287"/>
                  <a:gd name="T87" fmla="*/ 282 h 289"/>
                  <a:gd name="T88" fmla="*/ 235 w 287"/>
                  <a:gd name="T89" fmla="*/ 255 h 289"/>
                  <a:gd name="T90" fmla="*/ 270 w 287"/>
                  <a:gd name="T91" fmla="*/ 213 h 289"/>
                  <a:gd name="T92" fmla="*/ 287 w 287"/>
                  <a:gd name="T93" fmla="*/ 159 h 289"/>
                  <a:gd name="T94" fmla="*/ 281 w 287"/>
                  <a:gd name="T95" fmla="*/ 101 h 289"/>
                  <a:gd name="T96" fmla="*/ 255 w 287"/>
                  <a:gd name="T97" fmla="*/ 52 h 289"/>
                  <a:gd name="T98" fmla="*/ 213 w 287"/>
                  <a:gd name="T99" fmla="*/ 18 h 289"/>
                  <a:gd name="T100" fmla="*/ 159 w 287"/>
                  <a:gd name="T101" fmla="*/ 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87" h="289">
                    <a:moveTo>
                      <a:pt x="142" y="256"/>
                    </a:moveTo>
                    <a:lnTo>
                      <a:pt x="132" y="256"/>
                    </a:lnTo>
                    <a:lnTo>
                      <a:pt x="122" y="254"/>
                    </a:lnTo>
                    <a:lnTo>
                      <a:pt x="111" y="253"/>
                    </a:lnTo>
                    <a:lnTo>
                      <a:pt x="102" y="249"/>
                    </a:lnTo>
                    <a:lnTo>
                      <a:pt x="93" y="245"/>
                    </a:lnTo>
                    <a:lnTo>
                      <a:pt x="84" y="240"/>
                    </a:lnTo>
                    <a:lnTo>
                      <a:pt x="77" y="235"/>
                    </a:lnTo>
                    <a:lnTo>
                      <a:pt x="69" y="228"/>
                    </a:lnTo>
                    <a:lnTo>
                      <a:pt x="69" y="233"/>
                    </a:lnTo>
                    <a:lnTo>
                      <a:pt x="69" y="238"/>
                    </a:lnTo>
                    <a:lnTo>
                      <a:pt x="66" y="242"/>
                    </a:lnTo>
                    <a:lnTo>
                      <a:pt x="62" y="245"/>
                    </a:lnTo>
                    <a:lnTo>
                      <a:pt x="57" y="246"/>
                    </a:lnTo>
                    <a:lnTo>
                      <a:pt x="52" y="245"/>
                    </a:lnTo>
                    <a:lnTo>
                      <a:pt x="48" y="242"/>
                    </a:lnTo>
                    <a:lnTo>
                      <a:pt x="46" y="238"/>
                    </a:lnTo>
                    <a:lnTo>
                      <a:pt x="46" y="233"/>
                    </a:lnTo>
                    <a:lnTo>
                      <a:pt x="46" y="181"/>
                    </a:lnTo>
                    <a:lnTo>
                      <a:pt x="107" y="181"/>
                    </a:lnTo>
                    <a:lnTo>
                      <a:pt x="111" y="181"/>
                    </a:lnTo>
                    <a:lnTo>
                      <a:pt x="115" y="183"/>
                    </a:lnTo>
                    <a:lnTo>
                      <a:pt x="118" y="187"/>
                    </a:lnTo>
                    <a:lnTo>
                      <a:pt x="119" y="192"/>
                    </a:lnTo>
                    <a:lnTo>
                      <a:pt x="118" y="197"/>
                    </a:lnTo>
                    <a:lnTo>
                      <a:pt x="115" y="201"/>
                    </a:lnTo>
                    <a:lnTo>
                      <a:pt x="111" y="204"/>
                    </a:lnTo>
                    <a:lnTo>
                      <a:pt x="107" y="204"/>
                    </a:lnTo>
                    <a:lnTo>
                      <a:pt x="79" y="204"/>
                    </a:lnTo>
                    <a:lnTo>
                      <a:pt x="86" y="210"/>
                    </a:lnTo>
                    <a:lnTo>
                      <a:pt x="92" y="215"/>
                    </a:lnTo>
                    <a:lnTo>
                      <a:pt x="100" y="220"/>
                    </a:lnTo>
                    <a:lnTo>
                      <a:pt x="107" y="224"/>
                    </a:lnTo>
                    <a:lnTo>
                      <a:pt x="115" y="228"/>
                    </a:lnTo>
                    <a:lnTo>
                      <a:pt x="124" y="231"/>
                    </a:lnTo>
                    <a:lnTo>
                      <a:pt x="133" y="232"/>
                    </a:lnTo>
                    <a:lnTo>
                      <a:pt x="142" y="232"/>
                    </a:lnTo>
                    <a:lnTo>
                      <a:pt x="150" y="232"/>
                    </a:lnTo>
                    <a:lnTo>
                      <a:pt x="157" y="231"/>
                    </a:lnTo>
                    <a:lnTo>
                      <a:pt x="165" y="228"/>
                    </a:lnTo>
                    <a:lnTo>
                      <a:pt x="173" y="226"/>
                    </a:lnTo>
                    <a:lnTo>
                      <a:pt x="181" y="223"/>
                    </a:lnTo>
                    <a:lnTo>
                      <a:pt x="187" y="218"/>
                    </a:lnTo>
                    <a:lnTo>
                      <a:pt x="193" y="214"/>
                    </a:lnTo>
                    <a:lnTo>
                      <a:pt x="200" y="208"/>
                    </a:lnTo>
                    <a:lnTo>
                      <a:pt x="205" y="202"/>
                    </a:lnTo>
                    <a:lnTo>
                      <a:pt x="209" y="196"/>
                    </a:lnTo>
                    <a:lnTo>
                      <a:pt x="214" y="190"/>
                    </a:lnTo>
                    <a:lnTo>
                      <a:pt x="217" y="182"/>
                    </a:lnTo>
                    <a:lnTo>
                      <a:pt x="220" y="174"/>
                    </a:lnTo>
                    <a:lnTo>
                      <a:pt x="222" y="167"/>
                    </a:lnTo>
                    <a:lnTo>
                      <a:pt x="223" y="159"/>
                    </a:lnTo>
                    <a:lnTo>
                      <a:pt x="223" y="150"/>
                    </a:lnTo>
                    <a:lnTo>
                      <a:pt x="247" y="150"/>
                    </a:lnTo>
                    <a:lnTo>
                      <a:pt x="247" y="161"/>
                    </a:lnTo>
                    <a:lnTo>
                      <a:pt x="245" y="172"/>
                    </a:lnTo>
                    <a:lnTo>
                      <a:pt x="242" y="182"/>
                    </a:lnTo>
                    <a:lnTo>
                      <a:pt x="240" y="191"/>
                    </a:lnTo>
                    <a:lnTo>
                      <a:pt x="235" y="201"/>
                    </a:lnTo>
                    <a:lnTo>
                      <a:pt x="229" y="210"/>
                    </a:lnTo>
                    <a:lnTo>
                      <a:pt x="223" y="218"/>
                    </a:lnTo>
                    <a:lnTo>
                      <a:pt x="217" y="226"/>
                    </a:lnTo>
                    <a:lnTo>
                      <a:pt x="209" y="232"/>
                    </a:lnTo>
                    <a:lnTo>
                      <a:pt x="201" y="238"/>
                    </a:lnTo>
                    <a:lnTo>
                      <a:pt x="192" y="244"/>
                    </a:lnTo>
                    <a:lnTo>
                      <a:pt x="183" y="247"/>
                    </a:lnTo>
                    <a:lnTo>
                      <a:pt x="173" y="251"/>
                    </a:lnTo>
                    <a:lnTo>
                      <a:pt x="163" y="254"/>
                    </a:lnTo>
                    <a:lnTo>
                      <a:pt x="152" y="256"/>
                    </a:lnTo>
                    <a:lnTo>
                      <a:pt x="142" y="256"/>
                    </a:lnTo>
                    <a:close/>
                    <a:moveTo>
                      <a:pt x="39" y="149"/>
                    </a:moveTo>
                    <a:lnTo>
                      <a:pt x="39" y="138"/>
                    </a:lnTo>
                    <a:lnTo>
                      <a:pt x="42" y="127"/>
                    </a:lnTo>
                    <a:lnTo>
                      <a:pt x="44" y="116"/>
                    </a:lnTo>
                    <a:lnTo>
                      <a:pt x="48" y="107"/>
                    </a:lnTo>
                    <a:lnTo>
                      <a:pt x="52" y="98"/>
                    </a:lnTo>
                    <a:lnTo>
                      <a:pt x="57" y="89"/>
                    </a:lnTo>
                    <a:lnTo>
                      <a:pt x="64" y="80"/>
                    </a:lnTo>
                    <a:lnTo>
                      <a:pt x="70" y="74"/>
                    </a:lnTo>
                    <a:lnTo>
                      <a:pt x="78" y="66"/>
                    </a:lnTo>
                    <a:lnTo>
                      <a:pt x="87" y="61"/>
                    </a:lnTo>
                    <a:lnTo>
                      <a:pt x="95" y="55"/>
                    </a:lnTo>
                    <a:lnTo>
                      <a:pt x="105" y="51"/>
                    </a:lnTo>
                    <a:lnTo>
                      <a:pt x="114" y="47"/>
                    </a:lnTo>
                    <a:lnTo>
                      <a:pt x="124" y="45"/>
                    </a:lnTo>
                    <a:lnTo>
                      <a:pt x="134" y="43"/>
                    </a:lnTo>
                    <a:lnTo>
                      <a:pt x="146" y="42"/>
                    </a:lnTo>
                    <a:lnTo>
                      <a:pt x="155" y="43"/>
                    </a:lnTo>
                    <a:lnTo>
                      <a:pt x="164" y="45"/>
                    </a:lnTo>
                    <a:lnTo>
                      <a:pt x="173" y="47"/>
                    </a:lnTo>
                    <a:lnTo>
                      <a:pt x="181" y="50"/>
                    </a:lnTo>
                    <a:lnTo>
                      <a:pt x="188" y="54"/>
                    </a:lnTo>
                    <a:lnTo>
                      <a:pt x="196" y="59"/>
                    </a:lnTo>
                    <a:lnTo>
                      <a:pt x="204" y="65"/>
                    </a:lnTo>
                    <a:lnTo>
                      <a:pt x="211" y="72"/>
                    </a:lnTo>
                    <a:lnTo>
                      <a:pt x="211" y="51"/>
                    </a:lnTo>
                    <a:lnTo>
                      <a:pt x="211" y="47"/>
                    </a:lnTo>
                    <a:lnTo>
                      <a:pt x="214" y="43"/>
                    </a:lnTo>
                    <a:lnTo>
                      <a:pt x="218" y="41"/>
                    </a:lnTo>
                    <a:lnTo>
                      <a:pt x="223" y="39"/>
                    </a:lnTo>
                    <a:lnTo>
                      <a:pt x="228" y="41"/>
                    </a:lnTo>
                    <a:lnTo>
                      <a:pt x="232" y="43"/>
                    </a:lnTo>
                    <a:lnTo>
                      <a:pt x="235" y="47"/>
                    </a:lnTo>
                    <a:lnTo>
                      <a:pt x="235" y="51"/>
                    </a:lnTo>
                    <a:lnTo>
                      <a:pt x="235" y="122"/>
                    </a:lnTo>
                    <a:lnTo>
                      <a:pt x="173" y="122"/>
                    </a:lnTo>
                    <a:lnTo>
                      <a:pt x="169" y="120"/>
                    </a:lnTo>
                    <a:lnTo>
                      <a:pt x="165" y="118"/>
                    </a:lnTo>
                    <a:lnTo>
                      <a:pt x="163" y="114"/>
                    </a:lnTo>
                    <a:lnTo>
                      <a:pt x="161" y="109"/>
                    </a:lnTo>
                    <a:lnTo>
                      <a:pt x="163" y="105"/>
                    </a:lnTo>
                    <a:lnTo>
                      <a:pt x="165" y="101"/>
                    </a:lnTo>
                    <a:lnTo>
                      <a:pt x="169" y="98"/>
                    </a:lnTo>
                    <a:lnTo>
                      <a:pt x="173" y="97"/>
                    </a:lnTo>
                    <a:lnTo>
                      <a:pt x="201" y="97"/>
                    </a:lnTo>
                    <a:lnTo>
                      <a:pt x="197" y="91"/>
                    </a:lnTo>
                    <a:lnTo>
                      <a:pt x="191" y="86"/>
                    </a:lnTo>
                    <a:lnTo>
                      <a:pt x="186" y="80"/>
                    </a:lnTo>
                    <a:lnTo>
                      <a:pt x="179" y="75"/>
                    </a:lnTo>
                    <a:lnTo>
                      <a:pt x="172" y="72"/>
                    </a:lnTo>
                    <a:lnTo>
                      <a:pt x="164" y="69"/>
                    </a:lnTo>
                    <a:lnTo>
                      <a:pt x="155" y="68"/>
                    </a:lnTo>
                    <a:lnTo>
                      <a:pt x="146" y="66"/>
                    </a:lnTo>
                    <a:lnTo>
                      <a:pt x="137" y="66"/>
                    </a:lnTo>
                    <a:lnTo>
                      <a:pt x="129" y="68"/>
                    </a:lnTo>
                    <a:lnTo>
                      <a:pt x="122" y="70"/>
                    </a:lnTo>
                    <a:lnTo>
                      <a:pt x="114" y="73"/>
                    </a:lnTo>
                    <a:lnTo>
                      <a:pt x="106" y="77"/>
                    </a:lnTo>
                    <a:lnTo>
                      <a:pt x="100" y="80"/>
                    </a:lnTo>
                    <a:lnTo>
                      <a:pt x="93" y="86"/>
                    </a:lnTo>
                    <a:lnTo>
                      <a:pt x="88" y="91"/>
                    </a:lnTo>
                    <a:lnTo>
                      <a:pt x="82" y="96"/>
                    </a:lnTo>
                    <a:lnTo>
                      <a:pt x="78" y="102"/>
                    </a:lnTo>
                    <a:lnTo>
                      <a:pt x="74" y="110"/>
                    </a:lnTo>
                    <a:lnTo>
                      <a:pt x="70" y="116"/>
                    </a:lnTo>
                    <a:lnTo>
                      <a:pt x="68" y="124"/>
                    </a:lnTo>
                    <a:lnTo>
                      <a:pt x="65" y="132"/>
                    </a:lnTo>
                    <a:lnTo>
                      <a:pt x="64" y="141"/>
                    </a:lnTo>
                    <a:lnTo>
                      <a:pt x="64" y="149"/>
                    </a:lnTo>
                    <a:lnTo>
                      <a:pt x="39" y="149"/>
                    </a:lnTo>
                    <a:close/>
                    <a:moveTo>
                      <a:pt x="143" y="0"/>
                    </a:moveTo>
                    <a:lnTo>
                      <a:pt x="129" y="1"/>
                    </a:lnTo>
                    <a:lnTo>
                      <a:pt x="114" y="2"/>
                    </a:lnTo>
                    <a:lnTo>
                      <a:pt x="101" y="6"/>
                    </a:lnTo>
                    <a:lnTo>
                      <a:pt x="87" y="11"/>
                    </a:lnTo>
                    <a:lnTo>
                      <a:pt x="75" y="18"/>
                    </a:lnTo>
                    <a:lnTo>
                      <a:pt x="62" y="24"/>
                    </a:lnTo>
                    <a:lnTo>
                      <a:pt x="52" y="33"/>
                    </a:lnTo>
                    <a:lnTo>
                      <a:pt x="42" y="42"/>
                    </a:lnTo>
                    <a:lnTo>
                      <a:pt x="32" y="52"/>
                    </a:lnTo>
                    <a:lnTo>
                      <a:pt x="24" y="64"/>
                    </a:lnTo>
                    <a:lnTo>
                      <a:pt x="16" y="75"/>
                    </a:lnTo>
                    <a:lnTo>
                      <a:pt x="11" y="88"/>
                    </a:lnTo>
                    <a:lnTo>
                      <a:pt x="6" y="101"/>
                    </a:lnTo>
                    <a:lnTo>
                      <a:pt x="2" y="115"/>
                    </a:lnTo>
                    <a:lnTo>
                      <a:pt x="0" y="129"/>
                    </a:lnTo>
                    <a:lnTo>
                      <a:pt x="0" y="143"/>
                    </a:lnTo>
                    <a:lnTo>
                      <a:pt x="0" y="159"/>
                    </a:lnTo>
                    <a:lnTo>
                      <a:pt x="2" y="173"/>
                    </a:lnTo>
                    <a:lnTo>
                      <a:pt x="6" y="187"/>
                    </a:lnTo>
                    <a:lnTo>
                      <a:pt x="11" y="200"/>
                    </a:lnTo>
                    <a:lnTo>
                      <a:pt x="16" y="213"/>
                    </a:lnTo>
                    <a:lnTo>
                      <a:pt x="24" y="224"/>
                    </a:lnTo>
                    <a:lnTo>
                      <a:pt x="32" y="236"/>
                    </a:lnTo>
                    <a:lnTo>
                      <a:pt x="42" y="246"/>
                    </a:lnTo>
                    <a:lnTo>
                      <a:pt x="52" y="255"/>
                    </a:lnTo>
                    <a:lnTo>
                      <a:pt x="62" y="263"/>
                    </a:lnTo>
                    <a:lnTo>
                      <a:pt x="75" y="271"/>
                    </a:lnTo>
                    <a:lnTo>
                      <a:pt x="87" y="277"/>
                    </a:lnTo>
                    <a:lnTo>
                      <a:pt x="101" y="282"/>
                    </a:lnTo>
                    <a:lnTo>
                      <a:pt x="114" y="285"/>
                    </a:lnTo>
                    <a:lnTo>
                      <a:pt x="129" y="287"/>
                    </a:lnTo>
                    <a:lnTo>
                      <a:pt x="143" y="289"/>
                    </a:lnTo>
                    <a:lnTo>
                      <a:pt x="159" y="287"/>
                    </a:lnTo>
                    <a:lnTo>
                      <a:pt x="173" y="285"/>
                    </a:lnTo>
                    <a:lnTo>
                      <a:pt x="186" y="282"/>
                    </a:lnTo>
                    <a:lnTo>
                      <a:pt x="200" y="277"/>
                    </a:lnTo>
                    <a:lnTo>
                      <a:pt x="213" y="271"/>
                    </a:lnTo>
                    <a:lnTo>
                      <a:pt x="224" y="263"/>
                    </a:lnTo>
                    <a:lnTo>
                      <a:pt x="235" y="255"/>
                    </a:lnTo>
                    <a:lnTo>
                      <a:pt x="245" y="246"/>
                    </a:lnTo>
                    <a:lnTo>
                      <a:pt x="255" y="236"/>
                    </a:lnTo>
                    <a:lnTo>
                      <a:pt x="263" y="224"/>
                    </a:lnTo>
                    <a:lnTo>
                      <a:pt x="270" y="213"/>
                    </a:lnTo>
                    <a:lnTo>
                      <a:pt x="277" y="200"/>
                    </a:lnTo>
                    <a:lnTo>
                      <a:pt x="281" y="187"/>
                    </a:lnTo>
                    <a:lnTo>
                      <a:pt x="285" y="173"/>
                    </a:lnTo>
                    <a:lnTo>
                      <a:pt x="287" y="159"/>
                    </a:lnTo>
                    <a:lnTo>
                      <a:pt x="287" y="143"/>
                    </a:lnTo>
                    <a:lnTo>
                      <a:pt x="287" y="129"/>
                    </a:lnTo>
                    <a:lnTo>
                      <a:pt x="285" y="115"/>
                    </a:lnTo>
                    <a:lnTo>
                      <a:pt x="281" y="101"/>
                    </a:lnTo>
                    <a:lnTo>
                      <a:pt x="277" y="88"/>
                    </a:lnTo>
                    <a:lnTo>
                      <a:pt x="270" y="75"/>
                    </a:lnTo>
                    <a:lnTo>
                      <a:pt x="263" y="64"/>
                    </a:lnTo>
                    <a:lnTo>
                      <a:pt x="255" y="52"/>
                    </a:lnTo>
                    <a:lnTo>
                      <a:pt x="245" y="42"/>
                    </a:lnTo>
                    <a:lnTo>
                      <a:pt x="235" y="33"/>
                    </a:lnTo>
                    <a:lnTo>
                      <a:pt x="224" y="24"/>
                    </a:lnTo>
                    <a:lnTo>
                      <a:pt x="213" y="18"/>
                    </a:lnTo>
                    <a:lnTo>
                      <a:pt x="200" y="11"/>
                    </a:lnTo>
                    <a:lnTo>
                      <a:pt x="186" y="6"/>
                    </a:lnTo>
                    <a:lnTo>
                      <a:pt x="173" y="2"/>
                    </a:lnTo>
                    <a:lnTo>
                      <a:pt x="159" y="1"/>
                    </a:lnTo>
                    <a:lnTo>
                      <a:pt x="14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6" name="Content Placeholder 2">
              <a:extLst>
                <a:ext uri="{FF2B5EF4-FFF2-40B4-BE49-F238E27FC236}">
                  <a16:creationId xmlns:a16="http://schemas.microsoft.com/office/drawing/2014/main" xmlns="" id="{06182DEE-7902-4D24-9E08-DD69375B1A47}"/>
                </a:ext>
              </a:extLst>
            </p:cNvPr>
            <p:cNvSpPr txBox="1">
              <a:spLocks/>
            </p:cNvSpPr>
            <p:nvPr/>
          </p:nvSpPr>
          <p:spPr>
            <a:xfrm>
              <a:off x="9752371" y="2607095"/>
              <a:ext cx="2139238" cy="1938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orem Ipsum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xmlns="" id="{185CCA9F-C3F9-421D-B5BE-B8A3B9EFBAF5}"/>
                </a:ext>
              </a:extLst>
            </p:cNvPr>
            <p:cNvGrpSpPr/>
            <p:nvPr/>
          </p:nvGrpSpPr>
          <p:grpSpPr>
            <a:xfrm>
              <a:off x="10633400" y="1999979"/>
              <a:ext cx="377178" cy="293360"/>
              <a:chOff x="1474788" y="828675"/>
              <a:chExt cx="285750" cy="222251"/>
            </a:xfrm>
            <a:solidFill>
              <a:schemeClr val="accent1"/>
            </a:solidFill>
          </p:grpSpPr>
          <p:sp>
            <p:nvSpPr>
              <p:cNvPr id="61" name="Freeform 1682">
                <a:extLst>
                  <a:ext uri="{FF2B5EF4-FFF2-40B4-BE49-F238E27FC236}">
                    <a16:creationId xmlns:a16="http://schemas.microsoft.com/office/drawing/2014/main" xmlns="" id="{379B1B10-4E3D-44F2-B133-F9759AFDDC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8288" y="912813"/>
                <a:ext cx="222250" cy="138113"/>
              </a:xfrm>
              <a:custGeom>
                <a:avLst/>
                <a:gdLst>
                  <a:gd name="T0" fmla="*/ 482 w 559"/>
                  <a:gd name="T1" fmla="*/ 11 h 348"/>
                  <a:gd name="T2" fmla="*/ 474 w 559"/>
                  <a:gd name="T3" fmla="*/ 3 h 348"/>
                  <a:gd name="T4" fmla="*/ 464 w 559"/>
                  <a:gd name="T5" fmla="*/ 0 h 348"/>
                  <a:gd name="T6" fmla="*/ 452 w 559"/>
                  <a:gd name="T7" fmla="*/ 2 h 348"/>
                  <a:gd name="T8" fmla="*/ 443 w 559"/>
                  <a:gd name="T9" fmla="*/ 7 h 348"/>
                  <a:gd name="T10" fmla="*/ 344 w 559"/>
                  <a:gd name="T11" fmla="*/ 128 h 348"/>
                  <a:gd name="T12" fmla="*/ 342 w 559"/>
                  <a:gd name="T13" fmla="*/ 136 h 348"/>
                  <a:gd name="T14" fmla="*/ 342 w 559"/>
                  <a:gd name="T15" fmla="*/ 145 h 348"/>
                  <a:gd name="T16" fmla="*/ 346 w 559"/>
                  <a:gd name="T17" fmla="*/ 154 h 348"/>
                  <a:gd name="T18" fmla="*/ 354 w 559"/>
                  <a:gd name="T19" fmla="*/ 160 h 348"/>
                  <a:gd name="T20" fmla="*/ 363 w 559"/>
                  <a:gd name="T21" fmla="*/ 163 h 348"/>
                  <a:gd name="T22" fmla="*/ 371 w 559"/>
                  <a:gd name="T23" fmla="*/ 162 h 348"/>
                  <a:gd name="T24" fmla="*/ 380 w 559"/>
                  <a:gd name="T25" fmla="*/ 157 h 348"/>
                  <a:gd name="T26" fmla="*/ 440 w 559"/>
                  <a:gd name="T27" fmla="*/ 87 h 348"/>
                  <a:gd name="T28" fmla="*/ 434 w 559"/>
                  <a:gd name="T29" fmla="*/ 122 h 348"/>
                  <a:gd name="T30" fmla="*/ 422 w 559"/>
                  <a:gd name="T31" fmla="*/ 156 h 348"/>
                  <a:gd name="T32" fmla="*/ 406 w 559"/>
                  <a:gd name="T33" fmla="*/ 188 h 348"/>
                  <a:gd name="T34" fmla="*/ 384 w 559"/>
                  <a:gd name="T35" fmla="*/ 217 h 348"/>
                  <a:gd name="T36" fmla="*/ 357 w 559"/>
                  <a:gd name="T37" fmla="*/ 244 h 348"/>
                  <a:gd name="T38" fmla="*/ 327 w 559"/>
                  <a:gd name="T39" fmla="*/ 266 h 348"/>
                  <a:gd name="T40" fmla="*/ 294 w 559"/>
                  <a:gd name="T41" fmla="*/ 283 h 348"/>
                  <a:gd name="T42" fmla="*/ 259 w 559"/>
                  <a:gd name="T43" fmla="*/ 294 h 348"/>
                  <a:gd name="T44" fmla="*/ 229 w 559"/>
                  <a:gd name="T45" fmla="*/ 300 h 348"/>
                  <a:gd name="T46" fmla="*/ 199 w 559"/>
                  <a:gd name="T47" fmla="*/ 301 h 348"/>
                  <a:gd name="T48" fmla="*/ 170 w 559"/>
                  <a:gd name="T49" fmla="*/ 299 h 348"/>
                  <a:gd name="T50" fmla="*/ 142 w 559"/>
                  <a:gd name="T51" fmla="*/ 293 h 348"/>
                  <a:gd name="T52" fmla="*/ 114 w 559"/>
                  <a:gd name="T53" fmla="*/ 283 h 348"/>
                  <a:gd name="T54" fmla="*/ 89 w 559"/>
                  <a:gd name="T55" fmla="*/ 270 h 348"/>
                  <a:gd name="T56" fmla="*/ 64 w 559"/>
                  <a:gd name="T57" fmla="*/ 254 h 348"/>
                  <a:gd name="T58" fmla="*/ 41 w 559"/>
                  <a:gd name="T59" fmla="*/ 234 h 348"/>
                  <a:gd name="T60" fmla="*/ 33 w 559"/>
                  <a:gd name="T61" fmla="*/ 229 h 348"/>
                  <a:gd name="T62" fmla="*/ 25 w 559"/>
                  <a:gd name="T63" fmla="*/ 227 h 348"/>
                  <a:gd name="T64" fmla="*/ 16 w 559"/>
                  <a:gd name="T65" fmla="*/ 229 h 348"/>
                  <a:gd name="T66" fmla="*/ 7 w 559"/>
                  <a:gd name="T67" fmla="*/ 234 h 348"/>
                  <a:gd name="T68" fmla="*/ 3 w 559"/>
                  <a:gd name="T69" fmla="*/ 241 h 348"/>
                  <a:gd name="T70" fmla="*/ 0 w 559"/>
                  <a:gd name="T71" fmla="*/ 251 h 348"/>
                  <a:gd name="T72" fmla="*/ 3 w 559"/>
                  <a:gd name="T73" fmla="*/ 260 h 348"/>
                  <a:gd name="T74" fmla="*/ 8 w 559"/>
                  <a:gd name="T75" fmla="*/ 269 h 348"/>
                  <a:gd name="T76" fmla="*/ 28 w 559"/>
                  <a:gd name="T77" fmla="*/ 287 h 348"/>
                  <a:gd name="T78" fmla="*/ 51 w 559"/>
                  <a:gd name="T79" fmla="*/ 303 h 348"/>
                  <a:gd name="T80" fmla="*/ 74 w 559"/>
                  <a:gd name="T81" fmla="*/ 318 h 348"/>
                  <a:gd name="T82" fmla="*/ 99 w 559"/>
                  <a:gd name="T83" fmla="*/ 329 h 348"/>
                  <a:gd name="T84" fmla="*/ 124 w 559"/>
                  <a:gd name="T85" fmla="*/ 337 h 348"/>
                  <a:gd name="T86" fmla="*/ 151 w 559"/>
                  <a:gd name="T87" fmla="*/ 344 h 348"/>
                  <a:gd name="T88" fmla="*/ 177 w 559"/>
                  <a:gd name="T89" fmla="*/ 347 h 348"/>
                  <a:gd name="T90" fmla="*/ 205 w 559"/>
                  <a:gd name="T91" fmla="*/ 348 h 348"/>
                  <a:gd name="T92" fmla="*/ 237 w 559"/>
                  <a:gd name="T93" fmla="*/ 347 h 348"/>
                  <a:gd name="T94" fmla="*/ 270 w 559"/>
                  <a:gd name="T95" fmla="*/ 342 h 348"/>
                  <a:gd name="T96" fmla="*/ 311 w 559"/>
                  <a:gd name="T97" fmla="*/ 329 h 348"/>
                  <a:gd name="T98" fmla="*/ 348 w 559"/>
                  <a:gd name="T99" fmla="*/ 310 h 348"/>
                  <a:gd name="T100" fmla="*/ 382 w 559"/>
                  <a:gd name="T101" fmla="*/ 286 h 348"/>
                  <a:gd name="T102" fmla="*/ 413 w 559"/>
                  <a:gd name="T103" fmla="*/ 257 h 348"/>
                  <a:gd name="T104" fmla="*/ 439 w 559"/>
                  <a:gd name="T105" fmla="*/ 224 h 348"/>
                  <a:gd name="T106" fmla="*/ 460 w 559"/>
                  <a:gd name="T107" fmla="*/ 188 h 348"/>
                  <a:gd name="T108" fmla="*/ 475 w 559"/>
                  <a:gd name="T109" fmla="*/ 150 h 348"/>
                  <a:gd name="T110" fmla="*/ 485 w 559"/>
                  <a:gd name="T111" fmla="*/ 110 h 348"/>
                  <a:gd name="T112" fmla="*/ 518 w 559"/>
                  <a:gd name="T113" fmla="*/ 163 h 348"/>
                  <a:gd name="T114" fmla="*/ 529 w 559"/>
                  <a:gd name="T115" fmla="*/ 168 h 348"/>
                  <a:gd name="T116" fmla="*/ 541 w 559"/>
                  <a:gd name="T117" fmla="*/ 168 h 348"/>
                  <a:gd name="T118" fmla="*/ 551 w 559"/>
                  <a:gd name="T119" fmla="*/ 164 h 348"/>
                  <a:gd name="T120" fmla="*/ 557 w 559"/>
                  <a:gd name="T121" fmla="*/ 156 h 348"/>
                  <a:gd name="T122" fmla="*/ 559 w 559"/>
                  <a:gd name="T123" fmla="*/ 147 h 348"/>
                  <a:gd name="T124" fmla="*/ 558 w 559"/>
                  <a:gd name="T125" fmla="*/ 138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59" h="348">
                    <a:moveTo>
                      <a:pt x="556" y="133"/>
                    </a:moveTo>
                    <a:lnTo>
                      <a:pt x="482" y="11"/>
                    </a:lnTo>
                    <a:lnTo>
                      <a:pt x="478" y="6"/>
                    </a:lnTo>
                    <a:lnTo>
                      <a:pt x="474" y="3"/>
                    </a:lnTo>
                    <a:lnTo>
                      <a:pt x="470" y="1"/>
                    </a:lnTo>
                    <a:lnTo>
                      <a:pt x="464" y="0"/>
                    </a:lnTo>
                    <a:lnTo>
                      <a:pt x="458" y="0"/>
                    </a:lnTo>
                    <a:lnTo>
                      <a:pt x="452" y="2"/>
                    </a:lnTo>
                    <a:lnTo>
                      <a:pt x="448" y="4"/>
                    </a:lnTo>
                    <a:lnTo>
                      <a:pt x="443" y="7"/>
                    </a:lnTo>
                    <a:lnTo>
                      <a:pt x="346" y="123"/>
                    </a:lnTo>
                    <a:lnTo>
                      <a:pt x="344" y="128"/>
                    </a:lnTo>
                    <a:lnTo>
                      <a:pt x="342" y="132"/>
                    </a:lnTo>
                    <a:lnTo>
                      <a:pt x="342" y="136"/>
                    </a:lnTo>
                    <a:lnTo>
                      <a:pt x="342" y="141"/>
                    </a:lnTo>
                    <a:lnTo>
                      <a:pt x="342" y="145"/>
                    </a:lnTo>
                    <a:lnTo>
                      <a:pt x="344" y="150"/>
                    </a:lnTo>
                    <a:lnTo>
                      <a:pt x="346" y="154"/>
                    </a:lnTo>
                    <a:lnTo>
                      <a:pt x="349" y="157"/>
                    </a:lnTo>
                    <a:lnTo>
                      <a:pt x="354" y="160"/>
                    </a:lnTo>
                    <a:lnTo>
                      <a:pt x="358" y="162"/>
                    </a:lnTo>
                    <a:lnTo>
                      <a:pt x="363" y="163"/>
                    </a:lnTo>
                    <a:lnTo>
                      <a:pt x="367" y="163"/>
                    </a:lnTo>
                    <a:lnTo>
                      <a:pt x="371" y="162"/>
                    </a:lnTo>
                    <a:lnTo>
                      <a:pt x="376" y="161"/>
                    </a:lnTo>
                    <a:lnTo>
                      <a:pt x="380" y="157"/>
                    </a:lnTo>
                    <a:lnTo>
                      <a:pt x="384" y="155"/>
                    </a:lnTo>
                    <a:lnTo>
                      <a:pt x="440" y="87"/>
                    </a:lnTo>
                    <a:lnTo>
                      <a:pt x="438" y="104"/>
                    </a:lnTo>
                    <a:lnTo>
                      <a:pt x="434" y="122"/>
                    </a:lnTo>
                    <a:lnTo>
                      <a:pt x="429" y="139"/>
                    </a:lnTo>
                    <a:lnTo>
                      <a:pt x="422" y="156"/>
                    </a:lnTo>
                    <a:lnTo>
                      <a:pt x="414" y="173"/>
                    </a:lnTo>
                    <a:lnTo>
                      <a:pt x="406" y="188"/>
                    </a:lnTo>
                    <a:lnTo>
                      <a:pt x="395" y="204"/>
                    </a:lnTo>
                    <a:lnTo>
                      <a:pt x="384" y="217"/>
                    </a:lnTo>
                    <a:lnTo>
                      <a:pt x="371" y="231"/>
                    </a:lnTo>
                    <a:lnTo>
                      <a:pt x="357" y="244"/>
                    </a:lnTo>
                    <a:lnTo>
                      <a:pt x="343" y="256"/>
                    </a:lnTo>
                    <a:lnTo>
                      <a:pt x="327" y="266"/>
                    </a:lnTo>
                    <a:lnTo>
                      <a:pt x="312" y="274"/>
                    </a:lnTo>
                    <a:lnTo>
                      <a:pt x="294" y="283"/>
                    </a:lnTo>
                    <a:lnTo>
                      <a:pt x="276" y="290"/>
                    </a:lnTo>
                    <a:lnTo>
                      <a:pt x="259" y="294"/>
                    </a:lnTo>
                    <a:lnTo>
                      <a:pt x="243" y="298"/>
                    </a:lnTo>
                    <a:lnTo>
                      <a:pt x="229" y="300"/>
                    </a:lnTo>
                    <a:lnTo>
                      <a:pt x="215" y="301"/>
                    </a:lnTo>
                    <a:lnTo>
                      <a:pt x="199" y="301"/>
                    </a:lnTo>
                    <a:lnTo>
                      <a:pt x="185" y="301"/>
                    </a:lnTo>
                    <a:lnTo>
                      <a:pt x="170" y="299"/>
                    </a:lnTo>
                    <a:lnTo>
                      <a:pt x="156" y="297"/>
                    </a:lnTo>
                    <a:lnTo>
                      <a:pt x="142" y="293"/>
                    </a:lnTo>
                    <a:lnTo>
                      <a:pt x="128" y="289"/>
                    </a:lnTo>
                    <a:lnTo>
                      <a:pt x="114" y="283"/>
                    </a:lnTo>
                    <a:lnTo>
                      <a:pt x="101" y="278"/>
                    </a:lnTo>
                    <a:lnTo>
                      <a:pt x="89" y="270"/>
                    </a:lnTo>
                    <a:lnTo>
                      <a:pt x="75" y="262"/>
                    </a:lnTo>
                    <a:lnTo>
                      <a:pt x="64" y="254"/>
                    </a:lnTo>
                    <a:lnTo>
                      <a:pt x="52" y="245"/>
                    </a:lnTo>
                    <a:lnTo>
                      <a:pt x="41" y="234"/>
                    </a:lnTo>
                    <a:lnTo>
                      <a:pt x="38" y="231"/>
                    </a:lnTo>
                    <a:lnTo>
                      <a:pt x="33" y="229"/>
                    </a:lnTo>
                    <a:lnTo>
                      <a:pt x="29" y="228"/>
                    </a:lnTo>
                    <a:lnTo>
                      <a:pt x="25" y="227"/>
                    </a:lnTo>
                    <a:lnTo>
                      <a:pt x="20" y="228"/>
                    </a:lnTo>
                    <a:lnTo>
                      <a:pt x="16" y="229"/>
                    </a:lnTo>
                    <a:lnTo>
                      <a:pt x="11" y="231"/>
                    </a:lnTo>
                    <a:lnTo>
                      <a:pt x="7" y="234"/>
                    </a:lnTo>
                    <a:lnTo>
                      <a:pt x="5" y="238"/>
                    </a:lnTo>
                    <a:lnTo>
                      <a:pt x="3" y="241"/>
                    </a:lnTo>
                    <a:lnTo>
                      <a:pt x="1" y="247"/>
                    </a:lnTo>
                    <a:lnTo>
                      <a:pt x="0" y="251"/>
                    </a:lnTo>
                    <a:lnTo>
                      <a:pt x="1" y="256"/>
                    </a:lnTo>
                    <a:lnTo>
                      <a:pt x="3" y="260"/>
                    </a:lnTo>
                    <a:lnTo>
                      <a:pt x="5" y="265"/>
                    </a:lnTo>
                    <a:lnTo>
                      <a:pt x="8" y="269"/>
                    </a:lnTo>
                    <a:lnTo>
                      <a:pt x="18" y="278"/>
                    </a:lnTo>
                    <a:lnTo>
                      <a:pt x="28" y="287"/>
                    </a:lnTo>
                    <a:lnTo>
                      <a:pt x="39" y="295"/>
                    </a:lnTo>
                    <a:lnTo>
                      <a:pt x="51" y="303"/>
                    </a:lnTo>
                    <a:lnTo>
                      <a:pt x="62" y="311"/>
                    </a:lnTo>
                    <a:lnTo>
                      <a:pt x="74" y="318"/>
                    </a:lnTo>
                    <a:lnTo>
                      <a:pt x="86" y="323"/>
                    </a:lnTo>
                    <a:lnTo>
                      <a:pt x="99" y="329"/>
                    </a:lnTo>
                    <a:lnTo>
                      <a:pt x="112" y="333"/>
                    </a:lnTo>
                    <a:lnTo>
                      <a:pt x="124" y="337"/>
                    </a:lnTo>
                    <a:lnTo>
                      <a:pt x="137" y="341"/>
                    </a:lnTo>
                    <a:lnTo>
                      <a:pt x="151" y="344"/>
                    </a:lnTo>
                    <a:lnTo>
                      <a:pt x="164" y="346"/>
                    </a:lnTo>
                    <a:lnTo>
                      <a:pt x="177" y="347"/>
                    </a:lnTo>
                    <a:lnTo>
                      <a:pt x="190" y="348"/>
                    </a:lnTo>
                    <a:lnTo>
                      <a:pt x="205" y="348"/>
                    </a:lnTo>
                    <a:lnTo>
                      <a:pt x="220" y="348"/>
                    </a:lnTo>
                    <a:lnTo>
                      <a:pt x="237" y="347"/>
                    </a:lnTo>
                    <a:lnTo>
                      <a:pt x="253" y="345"/>
                    </a:lnTo>
                    <a:lnTo>
                      <a:pt x="270" y="342"/>
                    </a:lnTo>
                    <a:lnTo>
                      <a:pt x="291" y="336"/>
                    </a:lnTo>
                    <a:lnTo>
                      <a:pt x="311" y="329"/>
                    </a:lnTo>
                    <a:lnTo>
                      <a:pt x="329" y="320"/>
                    </a:lnTo>
                    <a:lnTo>
                      <a:pt x="348" y="310"/>
                    </a:lnTo>
                    <a:lnTo>
                      <a:pt x="366" y="298"/>
                    </a:lnTo>
                    <a:lnTo>
                      <a:pt x="382" y="286"/>
                    </a:lnTo>
                    <a:lnTo>
                      <a:pt x="398" y="271"/>
                    </a:lnTo>
                    <a:lnTo>
                      <a:pt x="413" y="257"/>
                    </a:lnTo>
                    <a:lnTo>
                      <a:pt x="427" y="240"/>
                    </a:lnTo>
                    <a:lnTo>
                      <a:pt x="439" y="224"/>
                    </a:lnTo>
                    <a:lnTo>
                      <a:pt x="450" y="206"/>
                    </a:lnTo>
                    <a:lnTo>
                      <a:pt x="460" y="188"/>
                    </a:lnTo>
                    <a:lnTo>
                      <a:pt x="469" y="170"/>
                    </a:lnTo>
                    <a:lnTo>
                      <a:pt x="475" y="150"/>
                    </a:lnTo>
                    <a:lnTo>
                      <a:pt x="482" y="131"/>
                    </a:lnTo>
                    <a:lnTo>
                      <a:pt x="485" y="110"/>
                    </a:lnTo>
                    <a:lnTo>
                      <a:pt x="514" y="159"/>
                    </a:lnTo>
                    <a:lnTo>
                      <a:pt x="518" y="163"/>
                    </a:lnTo>
                    <a:lnTo>
                      <a:pt x="523" y="166"/>
                    </a:lnTo>
                    <a:lnTo>
                      <a:pt x="529" y="168"/>
                    </a:lnTo>
                    <a:lnTo>
                      <a:pt x="535" y="170"/>
                    </a:lnTo>
                    <a:lnTo>
                      <a:pt x="541" y="168"/>
                    </a:lnTo>
                    <a:lnTo>
                      <a:pt x="547" y="166"/>
                    </a:lnTo>
                    <a:lnTo>
                      <a:pt x="551" y="164"/>
                    </a:lnTo>
                    <a:lnTo>
                      <a:pt x="555" y="160"/>
                    </a:lnTo>
                    <a:lnTo>
                      <a:pt x="557" y="156"/>
                    </a:lnTo>
                    <a:lnTo>
                      <a:pt x="558" y="152"/>
                    </a:lnTo>
                    <a:lnTo>
                      <a:pt x="559" y="147"/>
                    </a:lnTo>
                    <a:lnTo>
                      <a:pt x="559" y="142"/>
                    </a:lnTo>
                    <a:lnTo>
                      <a:pt x="558" y="138"/>
                    </a:lnTo>
                    <a:lnTo>
                      <a:pt x="556" y="1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1683">
                <a:extLst>
                  <a:ext uri="{FF2B5EF4-FFF2-40B4-BE49-F238E27FC236}">
                    <a16:creationId xmlns:a16="http://schemas.microsoft.com/office/drawing/2014/main" xmlns="" id="{4E996A5C-21B3-4907-A822-E65AACA3B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4788" y="828675"/>
                <a:ext cx="230188" cy="150813"/>
              </a:xfrm>
              <a:custGeom>
                <a:avLst/>
                <a:gdLst>
                  <a:gd name="T0" fmla="*/ 212 w 581"/>
                  <a:gd name="T1" fmla="*/ 217 h 379"/>
                  <a:gd name="T2" fmla="*/ 198 w 581"/>
                  <a:gd name="T3" fmla="*/ 217 h 379"/>
                  <a:gd name="T4" fmla="*/ 187 w 581"/>
                  <a:gd name="T5" fmla="*/ 226 h 379"/>
                  <a:gd name="T6" fmla="*/ 124 w 581"/>
                  <a:gd name="T7" fmla="*/ 267 h 379"/>
                  <a:gd name="T8" fmla="*/ 135 w 581"/>
                  <a:gd name="T9" fmla="*/ 216 h 379"/>
                  <a:gd name="T10" fmla="*/ 157 w 581"/>
                  <a:gd name="T11" fmla="*/ 167 h 379"/>
                  <a:gd name="T12" fmla="*/ 178 w 581"/>
                  <a:gd name="T13" fmla="*/ 138 h 379"/>
                  <a:gd name="T14" fmla="*/ 203 w 581"/>
                  <a:gd name="T15" fmla="*/ 110 h 379"/>
                  <a:gd name="T16" fmla="*/ 233 w 581"/>
                  <a:gd name="T17" fmla="*/ 88 h 379"/>
                  <a:gd name="T18" fmla="*/ 265 w 581"/>
                  <a:gd name="T19" fmla="*/ 70 h 379"/>
                  <a:gd name="T20" fmla="*/ 299 w 581"/>
                  <a:gd name="T21" fmla="*/ 57 h 379"/>
                  <a:gd name="T22" fmla="*/ 343 w 581"/>
                  <a:gd name="T23" fmla="*/ 49 h 379"/>
                  <a:gd name="T24" fmla="*/ 390 w 581"/>
                  <a:gd name="T25" fmla="*/ 49 h 379"/>
                  <a:gd name="T26" fmla="*/ 435 w 581"/>
                  <a:gd name="T27" fmla="*/ 58 h 379"/>
                  <a:gd name="T28" fmla="*/ 478 w 581"/>
                  <a:gd name="T29" fmla="*/ 77 h 379"/>
                  <a:gd name="T30" fmla="*/ 517 w 581"/>
                  <a:gd name="T31" fmla="*/ 103 h 379"/>
                  <a:gd name="T32" fmla="*/ 542 w 581"/>
                  <a:gd name="T33" fmla="*/ 130 h 379"/>
                  <a:gd name="T34" fmla="*/ 556 w 581"/>
                  <a:gd name="T35" fmla="*/ 134 h 379"/>
                  <a:gd name="T36" fmla="*/ 569 w 581"/>
                  <a:gd name="T37" fmla="*/ 131 h 379"/>
                  <a:gd name="T38" fmla="*/ 579 w 581"/>
                  <a:gd name="T39" fmla="*/ 121 h 379"/>
                  <a:gd name="T40" fmla="*/ 581 w 581"/>
                  <a:gd name="T41" fmla="*/ 108 h 379"/>
                  <a:gd name="T42" fmla="*/ 576 w 581"/>
                  <a:gd name="T43" fmla="*/ 94 h 379"/>
                  <a:gd name="T44" fmla="*/ 532 w 581"/>
                  <a:gd name="T45" fmla="*/ 56 h 379"/>
                  <a:gd name="T46" fmla="*/ 485 w 581"/>
                  <a:gd name="T47" fmla="*/ 27 h 379"/>
                  <a:gd name="T48" fmla="*/ 432 w 581"/>
                  <a:gd name="T49" fmla="*/ 8 h 379"/>
                  <a:gd name="T50" fmla="*/ 376 w 581"/>
                  <a:gd name="T51" fmla="*/ 0 h 379"/>
                  <a:gd name="T52" fmla="*/ 319 w 581"/>
                  <a:gd name="T53" fmla="*/ 4 h 379"/>
                  <a:gd name="T54" fmla="*/ 272 w 581"/>
                  <a:gd name="T55" fmla="*/ 16 h 379"/>
                  <a:gd name="T56" fmla="*/ 232 w 581"/>
                  <a:gd name="T57" fmla="*/ 34 h 379"/>
                  <a:gd name="T58" fmla="*/ 195 w 581"/>
                  <a:gd name="T59" fmla="*/ 57 h 379"/>
                  <a:gd name="T60" fmla="*/ 161 w 581"/>
                  <a:gd name="T61" fmla="*/ 86 h 379"/>
                  <a:gd name="T62" fmla="*/ 132 w 581"/>
                  <a:gd name="T63" fmla="*/ 119 h 379"/>
                  <a:gd name="T64" fmla="*/ 107 w 581"/>
                  <a:gd name="T65" fmla="*/ 159 h 379"/>
                  <a:gd name="T66" fmla="*/ 89 w 581"/>
                  <a:gd name="T67" fmla="*/ 203 h 379"/>
                  <a:gd name="T68" fmla="*/ 78 w 581"/>
                  <a:gd name="T69" fmla="*/ 249 h 379"/>
                  <a:gd name="T70" fmla="*/ 41 w 581"/>
                  <a:gd name="T71" fmla="*/ 214 h 379"/>
                  <a:gd name="T72" fmla="*/ 29 w 581"/>
                  <a:gd name="T73" fmla="*/ 207 h 379"/>
                  <a:gd name="T74" fmla="*/ 15 w 581"/>
                  <a:gd name="T75" fmla="*/ 208 h 379"/>
                  <a:gd name="T76" fmla="*/ 4 w 581"/>
                  <a:gd name="T77" fmla="*/ 218 h 379"/>
                  <a:gd name="T78" fmla="*/ 0 w 581"/>
                  <a:gd name="T79" fmla="*/ 231 h 379"/>
                  <a:gd name="T80" fmla="*/ 5 w 581"/>
                  <a:gd name="T81" fmla="*/ 245 h 379"/>
                  <a:gd name="T82" fmla="*/ 96 w 581"/>
                  <a:gd name="T83" fmla="*/ 377 h 379"/>
                  <a:gd name="T84" fmla="*/ 107 w 581"/>
                  <a:gd name="T85" fmla="*/ 379 h 379"/>
                  <a:gd name="T86" fmla="*/ 118 w 581"/>
                  <a:gd name="T87" fmla="*/ 378 h 379"/>
                  <a:gd name="T88" fmla="*/ 223 w 581"/>
                  <a:gd name="T89" fmla="*/ 256 h 379"/>
                  <a:gd name="T90" fmla="*/ 229 w 581"/>
                  <a:gd name="T91" fmla="*/ 242 h 379"/>
                  <a:gd name="T92" fmla="*/ 227 w 581"/>
                  <a:gd name="T93" fmla="*/ 229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1" h="379">
                    <a:moveTo>
                      <a:pt x="220" y="221"/>
                    </a:moveTo>
                    <a:lnTo>
                      <a:pt x="217" y="219"/>
                    </a:lnTo>
                    <a:lnTo>
                      <a:pt x="212" y="217"/>
                    </a:lnTo>
                    <a:lnTo>
                      <a:pt x="208" y="216"/>
                    </a:lnTo>
                    <a:lnTo>
                      <a:pt x="203" y="216"/>
                    </a:lnTo>
                    <a:lnTo>
                      <a:pt x="198" y="217"/>
                    </a:lnTo>
                    <a:lnTo>
                      <a:pt x="195" y="219"/>
                    </a:lnTo>
                    <a:lnTo>
                      <a:pt x="190" y="221"/>
                    </a:lnTo>
                    <a:lnTo>
                      <a:pt x="187" y="226"/>
                    </a:lnTo>
                    <a:lnTo>
                      <a:pt x="124" y="301"/>
                    </a:lnTo>
                    <a:lnTo>
                      <a:pt x="123" y="283"/>
                    </a:lnTo>
                    <a:lnTo>
                      <a:pt x="124" y="267"/>
                    </a:lnTo>
                    <a:lnTo>
                      <a:pt x="126" y="250"/>
                    </a:lnTo>
                    <a:lnTo>
                      <a:pt x="131" y="233"/>
                    </a:lnTo>
                    <a:lnTo>
                      <a:pt x="135" y="216"/>
                    </a:lnTo>
                    <a:lnTo>
                      <a:pt x="140" y="200"/>
                    </a:lnTo>
                    <a:lnTo>
                      <a:pt x="148" y="184"/>
                    </a:lnTo>
                    <a:lnTo>
                      <a:pt x="157" y="167"/>
                    </a:lnTo>
                    <a:lnTo>
                      <a:pt x="164" y="157"/>
                    </a:lnTo>
                    <a:lnTo>
                      <a:pt x="170" y="147"/>
                    </a:lnTo>
                    <a:lnTo>
                      <a:pt x="178" y="138"/>
                    </a:lnTo>
                    <a:lnTo>
                      <a:pt x="187" y="128"/>
                    </a:lnTo>
                    <a:lnTo>
                      <a:pt x="195" y="119"/>
                    </a:lnTo>
                    <a:lnTo>
                      <a:pt x="203" y="110"/>
                    </a:lnTo>
                    <a:lnTo>
                      <a:pt x="213" y="102"/>
                    </a:lnTo>
                    <a:lnTo>
                      <a:pt x="223" y="94"/>
                    </a:lnTo>
                    <a:lnTo>
                      <a:pt x="233" y="88"/>
                    </a:lnTo>
                    <a:lnTo>
                      <a:pt x="243" y="81"/>
                    </a:lnTo>
                    <a:lnTo>
                      <a:pt x="254" y="76"/>
                    </a:lnTo>
                    <a:lnTo>
                      <a:pt x="265" y="70"/>
                    </a:lnTo>
                    <a:lnTo>
                      <a:pt x="276" y="65"/>
                    </a:lnTo>
                    <a:lnTo>
                      <a:pt x="287" y="60"/>
                    </a:lnTo>
                    <a:lnTo>
                      <a:pt x="299" y="57"/>
                    </a:lnTo>
                    <a:lnTo>
                      <a:pt x="312" y="54"/>
                    </a:lnTo>
                    <a:lnTo>
                      <a:pt x="327" y="50"/>
                    </a:lnTo>
                    <a:lnTo>
                      <a:pt x="343" y="49"/>
                    </a:lnTo>
                    <a:lnTo>
                      <a:pt x="358" y="48"/>
                    </a:lnTo>
                    <a:lnTo>
                      <a:pt x="375" y="48"/>
                    </a:lnTo>
                    <a:lnTo>
                      <a:pt x="390" y="49"/>
                    </a:lnTo>
                    <a:lnTo>
                      <a:pt x="405" y="50"/>
                    </a:lnTo>
                    <a:lnTo>
                      <a:pt x="421" y="54"/>
                    </a:lnTo>
                    <a:lnTo>
                      <a:pt x="435" y="58"/>
                    </a:lnTo>
                    <a:lnTo>
                      <a:pt x="450" y="64"/>
                    </a:lnTo>
                    <a:lnTo>
                      <a:pt x="464" y="69"/>
                    </a:lnTo>
                    <a:lnTo>
                      <a:pt x="478" y="77"/>
                    </a:lnTo>
                    <a:lnTo>
                      <a:pt x="492" y="85"/>
                    </a:lnTo>
                    <a:lnTo>
                      <a:pt x="505" y="93"/>
                    </a:lnTo>
                    <a:lnTo>
                      <a:pt x="517" y="103"/>
                    </a:lnTo>
                    <a:lnTo>
                      <a:pt x="528" y="114"/>
                    </a:lnTo>
                    <a:lnTo>
                      <a:pt x="539" y="126"/>
                    </a:lnTo>
                    <a:lnTo>
                      <a:pt x="542" y="130"/>
                    </a:lnTo>
                    <a:lnTo>
                      <a:pt x="547" y="132"/>
                    </a:lnTo>
                    <a:lnTo>
                      <a:pt x="551" y="133"/>
                    </a:lnTo>
                    <a:lnTo>
                      <a:pt x="556" y="134"/>
                    </a:lnTo>
                    <a:lnTo>
                      <a:pt x="560" y="134"/>
                    </a:lnTo>
                    <a:lnTo>
                      <a:pt x="565" y="133"/>
                    </a:lnTo>
                    <a:lnTo>
                      <a:pt x="569" y="131"/>
                    </a:lnTo>
                    <a:lnTo>
                      <a:pt x="573" y="129"/>
                    </a:lnTo>
                    <a:lnTo>
                      <a:pt x="577" y="125"/>
                    </a:lnTo>
                    <a:lnTo>
                      <a:pt x="579" y="121"/>
                    </a:lnTo>
                    <a:lnTo>
                      <a:pt x="581" y="117"/>
                    </a:lnTo>
                    <a:lnTo>
                      <a:pt x="581" y="112"/>
                    </a:lnTo>
                    <a:lnTo>
                      <a:pt x="581" y="108"/>
                    </a:lnTo>
                    <a:lnTo>
                      <a:pt x="580" y="103"/>
                    </a:lnTo>
                    <a:lnTo>
                      <a:pt x="578" y="99"/>
                    </a:lnTo>
                    <a:lnTo>
                      <a:pt x="576" y="94"/>
                    </a:lnTo>
                    <a:lnTo>
                      <a:pt x="562" y="81"/>
                    </a:lnTo>
                    <a:lnTo>
                      <a:pt x="548" y="68"/>
                    </a:lnTo>
                    <a:lnTo>
                      <a:pt x="532" y="56"/>
                    </a:lnTo>
                    <a:lnTo>
                      <a:pt x="517" y="45"/>
                    </a:lnTo>
                    <a:lnTo>
                      <a:pt x="502" y="35"/>
                    </a:lnTo>
                    <a:lnTo>
                      <a:pt x="485" y="27"/>
                    </a:lnTo>
                    <a:lnTo>
                      <a:pt x="467" y="19"/>
                    </a:lnTo>
                    <a:lnTo>
                      <a:pt x="450" y="13"/>
                    </a:lnTo>
                    <a:lnTo>
                      <a:pt x="432" y="8"/>
                    </a:lnTo>
                    <a:lnTo>
                      <a:pt x="413" y="4"/>
                    </a:lnTo>
                    <a:lnTo>
                      <a:pt x="394" y="2"/>
                    </a:lnTo>
                    <a:lnTo>
                      <a:pt x="376" y="0"/>
                    </a:lnTo>
                    <a:lnTo>
                      <a:pt x="357" y="0"/>
                    </a:lnTo>
                    <a:lnTo>
                      <a:pt x="338" y="1"/>
                    </a:lnTo>
                    <a:lnTo>
                      <a:pt x="319" y="4"/>
                    </a:lnTo>
                    <a:lnTo>
                      <a:pt x="301" y="7"/>
                    </a:lnTo>
                    <a:lnTo>
                      <a:pt x="286" y="12"/>
                    </a:lnTo>
                    <a:lnTo>
                      <a:pt x="272" y="16"/>
                    </a:lnTo>
                    <a:lnTo>
                      <a:pt x="259" y="20"/>
                    </a:lnTo>
                    <a:lnTo>
                      <a:pt x="245" y="27"/>
                    </a:lnTo>
                    <a:lnTo>
                      <a:pt x="232" y="34"/>
                    </a:lnTo>
                    <a:lnTo>
                      <a:pt x="219" y="40"/>
                    </a:lnTo>
                    <a:lnTo>
                      <a:pt x="207" y="48"/>
                    </a:lnTo>
                    <a:lnTo>
                      <a:pt x="195" y="57"/>
                    </a:lnTo>
                    <a:lnTo>
                      <a:pt x="184" y="66"/>
                    </a:lnTo>
                    <a:lnTo>
                      <a:pt x="171" y="76"/>
                    </a:lnTo>
                    <a:lnTo>
                      <a:pt x="161" y="86"/>
                    </a:lnTo>
                    <a:lnTo>
                      <a:pt x="152" y="97"/>
                    </a:lnTo>
                    <a:lnTo>
                      <a:pt x="142" y="108"/>
                    </a:lnTo>
                    <a:lnTo>
                      <a:pt x="132" y="119"/>
                    </a:lnTo>
                    <a:lnTo>
                      <a:pt x="124" y="131"/>
                    </a:lnTo>
                    <a:lnTo>
                      <a:pt x="115" y="144"/>
                    </a:lnTo>
                    <a:lnTo>
                      <a:pt x="107" y="159"/>
                    </a:lnTo>
                    <a:lnTo>
                      <a:pt x="101" y="173"/>
                    </a:lnTo>
                    <a:lnTo>
                      <a:pt x="94" y="188"/>
                    </a:lnTo>
                    <a:lnTo>
                      <a:pt x="89" y="203"/>
                    </a:lnTo>
                    <a:lnTo>
                      <a:pt x="84" y="218"/>
                    </a:lnTo>
                    <a:lnTo>
                      <a:pt x="81" y="234"/>
                    </a:lnTo>
                    <a:lnTo>
                      <a:pt x="78" y="249"/>
                    </a:lnTo>
                    <a:lnTo>
                      <a:pt x="76" y="265"/>
                    </a:lnTo>
                    <a:lnTo>
                      <a:pt x="44" y="217"/>
                    </a:lnTo>
                    <a:lnTo>
                      <a:pt x="41" y="214"/>
                    </a:lnTo>
                    <a:lnTo>
                      <a:pt x="37" y="210"/>
                    </a:lnTo>
                    <a:lnTo>
                      <a:pt x="33" y="208"/>
                    </a:lnTo>
                    <a:lnTo>
                      <a:pt x="29" y="207"/>
                    </a:lnTo>
                    <a:lnTo>
                      <a:pt x="25" y="207"/>
                    </a:lnTo>
                    <a:lnTo>
                      <a:pt x="19" y="207"/>
                    </a:lnTo>
                    <a:lnTo>
                      <a:pt x="15" y="208"/>
                    </a:lnTo>
                    <a:lnTo>
                      <a:pt x="10" y="212"/>
                    </a:lnTo>
                    <a:lnTo>
                      <a:pt x="7" y="214"/>
                    </a:lnTo>
                    <a:lnTo>
                      <a:pt x="4" y="218"/>
                    </a:lnTo>
                    <a:lnTo>
                      <a:pt x="1" y="221"/>
                    </a:lnTo>
                    <a:lnTo>
                      <a:pt x="0" y="226"/>
                    </a:lnTo>
                    <a:lnTo>
                      <a:pt x="0" y="231"/>
                    </a:lnTo>
                    <a:lnTo>
                      <a:pt x="0" y="236"/>
                    </a:lnTo>
                    <a:lnTo>
                      <a:pt x="1" y="240"/>
                    </a:lnTo>
                    <a:lnTo>
                      <a:pt x="5" y="245"/>
                    </a:lnTo>
                    <a:lnTo>
                      <a:pt x="89" y="369"/>
                    </a:lnTo>
                    <a:lnTo>
                      <a:pt x="92" y="374"/>
                    </a:lnTo>
                    <a:lnTo>
                      <a:pt x="96" y="377"/>
                    </a:lnTo>
                    <a:lnTo>
                      <a:pt x="102" y="379"/>
                    </a:lnTo>
                    <a:lnTo>
                      <a:pt x="107" y="379"/>
                    </a:lnTo>
                    <a:lnTo>
                      <a:pt x="107" y="379"/>
                    </a:lnTo>
                    <a:lnTo>
                      <a:pt x="108" y="379"/>
                    </a:lnTo>
                    <a:lnTo>
                      <a:pt x="114" y="379"/>
                    </a:lnTo>
                    <a:lnTo>
                      <a:pt x="118" y="378"/>
                    </a:lnTo>
                    <a:lnTo>
                      <a:pt x="123" y="375"/>
                    </a:lnTo>
                    <a:lnTo>
                      <a:pt x="126" y="372"/>
                    </a:lnTo>
                    <a:lnTo>
                      <a:pt x="223" y="256"/>
                    </a:lnTo>
                    <a:lnTo>
                      <a:pt x="227" y="251"/>
                    </a:lnTo>
                    <a:lnTo>
                      <a:pt x="228" y="247"/>
                    </a:lnTo>
                    <a:lnTo>
                      <a:pt x="229" y="242"/>
                    </a:lnTo>
                    <a:lnTo>
                      <a:pt x="229" y="238"/>
                    </a:lnTo>
                    <a:lnTo>
                      <a:pt x="228" y="234"/>
                    </a:lnTo>
                    <a:lnTo>
                      <a:pt x="227" y="229"/>
                    </a:lnTo>
                    <a:lnTo>
                      <a:pt x="223" y="225"/>
                    </a:lnTo>
                    <a:lnTo>
                      <a:pt x="220" y="2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7" name="Content Placeholder 2">
              <a:extLst>
                <a:ext uri="{FF2B5EF4-FFF2-40B4-BE49-F238E27FC236}">
                  <a16:creationId xmlns:a16="http://schemas.microsoft.com/office/drawing/2014/main" xmlns="" id="{801F0608-5AF0-40BB-BB6B-DE32FA87473F}"/>
                </a:ext>
              </a:extLst>
            </p:cNvPr>
            <p:cNvSpPr txBox="1">
              <a:spLocks/>
            </p:cNvSpPr>
            <p:nvPr/>
          </p:nvSpPr>
          <p:spPr>
            <a:xfrm>
              <a:off x="8153112" y="5425330"/>
              <a:ext cx="2139238" cy="1938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orem Ipsum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" name="Freeform 1669">
              <a:extLst>
                <a:ext uri="{FF2B5EF4-FFF2-40B4-BE49-F238E27FC236}">
                  <a16:creationId xmlns:a16="http://schemas.microsoft.com/office/drawing/2014/main" xmlns="" id="{AEBF21E1-C1FD-454C-9001-61A16BC7EE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8811" y="4854575"/>
              <a:ext cx="377176" cy="377176"/>
            </a:xfrm>
            <a:custGeom>
              <a:avLst/>
              <a:gdLst>
                <a:gd name="T0" fmla="*/ 519 w 719"/>
                <a:gd name="T1" fmla="*/ 263 h 719"/>
                <a:gd name="T2" fmla="*/ 292 w 719"/>
                <a:gd name="T3" fmla="*/ 475 h 719"/>
                <a:gd name="T4" fmla="*/ 289 w 719"/>
                <a:gd name="T5" fmla="*/ 477 h 719"/>
                <a:gd name="T6" fmla="*/ 284 w 719"/>
                <a:gd name="T7" fmla="*/ 479 h 719"/>
                <a:gd name="T8" fmla="*/ 280 w 719"/>
                <a:gd name="T9" fmla="*/ 477 h 719"/>
                <a:gd name="T10" fmla="*/ 275 w 719"/>
                <a:gd name="T11" fmla="*/ 475 h 719"/>
                <a:gd name="T12" fmla="*/ 200 w 719"/>
                <a:gd name="T13" fmla="*/ 400 h 719"/>
                <a:gd name="T14" fmla="*/ 198 w 719"/>
                <a:gd name="T15" fmla="*/ 396 h 719"/>
                <a:gd name="T16" fmla="*/ 197 w 719"/>
                <a:gd name="T17" fmla="*/ 391 h 719"/>
                <a:gd name="T18" fmla="*/ 198 w 719"/>
                <a:gd name="T19" fmla="*/ 387 h 719"/>
                <a:gd name="T20" fmla="*/ 200 w 719"/>
                <a:gd name="T21" fmla="*/ 382 h 719"/>
                <a:gd name="T22" fmla="*/ 205 w 719"/>
                <a:gd name="T23" fmla="*/ 380 h 719"/>
                <a:gd name="T24" fmla="*/ 209 w 719"/>
                <a:gd name="T25" fmla="*/ 379 h 719"/>
                <a:gd name="T26" fmla="*/ 213 w 719"/>
                <a:gd name="T27" fmla="*/ 380 h 719"/>
                <a:gd name="T28" fmla="*/ 217 w 719"/>
                <a:gd name="T29" fmla="*/ 382 h 719"/>
                <a:gd name="T30" fmla="*/ 284 w 719"/>
                <a:gd name="T31" fmla="*/ 450 h 719"/>
                <a:gd name="T32" fmla="*/ 503 w 719"/>
                <a:gd name="T33" fmla="*/ 247 h 719"/>
                <a:gd name="T34" fmla="*/ 507 w 719"/>
                <a:gd name="T35" fmla="*/ 243 h 719"/>
                <a:gd name="T36" fmla="*/ 512 w 719"/>
                <a:gd name="T37" fmla="*/ 243 h 719"/>
                <a:gd name="T38" fmla="*/ 516 w 719"/>
                <a:gd name="T39" fmla="*/ 243 h 719"/>
                <a:gd name="T40" fmla="*/ 519 w 719"/>
                <a:gd name="T41" fmla="*/ 247 h 719"/>
                <a:gd name="T42" fmla="*/ 522 w 719"/>
                <a:gd name="T43" fmla="*/ 251 h 719"/>
                <a:gd name="T44" fmla="*/ 523 w 719"/>
                <a:gd name="T45" fmla="*/ 255 h 719"/>
                <a:gd name="T46" fmla="*/ 522 w 719"/>
                <a:gd name="T47" fmla="*/ 260 h 719"/>
                <a:gd name="T48" fmla="*/ 519 w 719"/>
                <a:gd name="T49" fmla="*/ 263 h 719"/>
                <a:gd name="T50" fmla="*/ 707 w 719"/>
                <a:gd name="T51" fmla="*/ 0 h 719"/>
                <a:gd name="T52" fmla="*/ 12 w 719"/>
                <a:gd name="T53" fmla="*/ 0 h 719"/>
                <a:gd name="T54" fmla="*/ 8 w 719"/>
                <a:gd name="T55" fmla="*/ 2 h 719"/>
                <a:gd name="T56" fmla="*/ 4 w 719"/>
                <a:gd name="T57" fmla="*/ 5 h 719"/>
                <a:gd name="T58" fmla="*/ 1 w 719"/>
                <a:gd name="T59" fmla="*/ 8 h 719"/>
                <a:gd name="T60" fmla="*/ 0 w 719"/>
                <a:gd name="T61" fmla="*/ 13 h 719"/>
                <a:gd name="T62" fmla="*/ 0 w 719"/>
                <a:gd name="T63" fmla="*/ 707 h 719"/>
                <a:gd name="T64" fmla="*/ 1 w 719"/>
                <a:gd name="T65" fmla="*/ 713 h 719"/>
                <a:gd name="T66" fmla="*/ 4 w 719"/>
                <a:gd name="T67" fmla="*/ 716 h 719"/>
                <a:gd name="T68" fmla="*/ 8 w 719"/>
                <a:gd name="T69" fmla="*/ 719 h 719"/>
                <a:gd name="T70" fmla="*/ 12 w 719"/>
                <a:gd name="T71" fmla="*/ 719 h 719"/>
                <a:gd name="T72" fmla="*/ 707 w 719"/>
                <a:gd name="T73" fmla="*/ 719 h 719"/>
                <a:gd name="T74" fmla="*/ 711 w 719"/>
                <a:gd name="T75" fmla="*/ 719 h 719"/>
                <a:gd name="T76" fmla="*/ 716 w 719"/>
                <a:gd name="T77" fmla="*/ 716 h 719"/>
                <a:gd name="T78" fmla="*/ 718 w 719"/>
                <a:gd name="T79" fmla="*/ 713 h 719"/>
                <a:gd name="T80" fmla="*/ 719 w 719"/>
                <a:gd name="T81" fmla="*/ 707 h 719"/>
                <a:gd name="T82" fmla="*/ 719 w 719"/>
                <a:gd name="T83" fmla="*/ 13 h 719"/>
                <a:gd name="T84" fmla="*/ 718 w 719"/>
                <a:gd name="T85" fmla="*/ 8 h 719"/>
                <a:gd name="T86" fmla="*/ 716 w 719"/>
                <a:gd name="T87" fmla="*/ 5 h 719"/>
                <a:gd name="T88" fmla="*/ 711 w 719"/>
                <a:gd name="T89" fmla="*/ 2 h 719"/>
                <a:gd name="T90" fmla="*/ 707 w 719"/>
                <a:gd name="T91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19" h="719">
                  <a:moveTo>
                    <a:pt x="519" y="263"/>
                  </a:moveTo>
                  <a:lnTo>
                    <a:pt x="292" y="475"/>
                  </a:lnTo>
                  <a:lnTo>
                    <a:pt x="289" y="477"/>
                  </a:lnTo>
                  <a:lnTo>
                    <a:pt x="284" y="479"/>
                  </a:lnTo>
                  <a:lnTo>
                    <a:pt x="280" y="477"/>
                  </a:lnTo>
                  <a:lnTo>
                    <a:pt x="275" y="475"/>
                  </a:lnTo>
                  <a:lnTo>
                    <a:pt x="200" y="400"/>
                  </a:lnTo>
                  <a:lnTo>
                    <a:pt x="198" y="396"/>
                  </a:lnTo>
                  <a:lnTo>
                    <a:pt x="197" y="391"/>
                  </a:lnTo>
                  <a:lnTo>
                    <a:pt x="198" y="387"/>
                  </a:lnTo>
                  <a:lnTo>
                    <a:pt x="200" y="382"/>
                  </a:lnTo>
                  <a:lnTo>
                    <a:pt x="205" y="380"/>
                  </a:lnTo>
                  <a:lnTo>
                    <a:pt x="209" y="379"/>
                  </a:lnTo>
                  <a:lnTo>
                    <a:pt x="213" y="380"/>
                  </a:lnTo>
                  <a:lnTo>
                    <a:pt x="217" y="382"/>
                  </a:lnTo>
                  <a:lnTo>
                    <a:pt x="284" y="450"/>
                  </a:lnTo>
                  <a:lnTo>
                    <a:pt x="503" y="247"/>
                  </a:lnTo>
                  <a:lnTo>
                    <a:pt x="507" y="243"/>
                  </a:lnTo>
                  <a:lnTo>
                    <a:pt x="512" y="243"/>
                  </a:lnTo>
                  <a:lnTo>
                    <a:pt x="516" y="243"/>
                  </a:lnTo>
                  <a:lnTo>
                    <a:pt x="519" y="247"/>
                  </a:lnTo>
                  <a:lnTo>
                    <a:pt x="522" y="251"/>
                  </a:lnTo>
                  <a:lnTo>
                    <a:pt x="523" y="255"/>
                  </a:lnTo>
                  <a:lnTo>
                    <a:pt x="522" y="260"/>
                  </a:lnTo>
                  <a:lnTo>
                    <a:pt x="519" y="263"/>
                  </a:lnTo>
                  <a:close/>
                  <a:moveTo>
                    <a:pt x="707" y="0"/>
                  </a:moveTo>
                  <a:lnTo>
                    <a:pt x="12" y="0"/>
                  </a:lnTo>
                  <a:lnTo>
                    <a:pt x="8" y="2"/>
                  </a:lnTo>
                  <a:lnTo>
                    <a:pt x="4" y="5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707"/>
                  </a:lnTo>
                  <a:lnTo>
                    <a:pt x="1" y="713"/>
                  </a:lnTo>
                  <a:lnTo>
                    <a:pt x="4" y="716"/>
                  </a:lnTo>
                  <a:lnTo>
                    <a:pt x="8" y="719"/>
                  </a:lnTo>
                  <a:lnTo>
                    <a:pt x="12" y="719"/>
                  </a:lnTo>
                  <a:lnTo>
                    <a:pt x="707" y="719"/>
                  </a:lnTo>
                  <a:lnTo>
                    <a:pt x="711" y="719"/>
                  </a:lnTo>
                  <a:lnTo>
                    <a:pt x="716" y="716"/>
                  </a:lnTo>
                  <a:lnTo>
                    <a:pt x="718" y="713"/>
                  </a:lnTo>
                  <a:lnTo>
                    <a:pt x="719" y="707"/>
                  </a:lnTo>
                  <a:lnTo>
                    <a:pt x="719" y="13"/>
                  </a:lnTo>
                  <a:lnTo>
                    <a:pt x="718" y="8"/>
                  </a:lnTo>
                  <a:lnTo>
                    <a:pt x="716" y="5"/>
                  </a:lnTo>
                  <a:lnTo>
                    <a:pt x="711" y="2"/>
                  </a:lnTo>
                  <a:lnTo>
                    <a:pt x="70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xmlns="" id="{DB1C8B27-8A53-4590-A9E8-4872BBFE1240}"/>
                </a:ext>
              </a:extLst>
            </p:cNvPr>
            <p:cNvSpPr txBox="1">
              <a:spLocks/>
            </p:cNvSpPr>
            <p:nvPr/>
          </p:nvSpPr>
          <p:spPr>
            <a:xfrm>
              <a:off x="4954592" y="5425330"/>
              <a:ext cx="2139238" cy="1938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orem Ipsum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xmlns="" id="{4C117339-8A3F-4EE1-9D93-E585D2A37D17}"/>
                </a:ext>
              </a:extLst>
            </p:cNvPr>
            <p:cNvGrpSpPr/>
            <p:nvPr/>
          </p:nvGrpSpPr>
          <p:grpSpPr>
            <a:xfrm>
              <a:off x="5842894" y="4870290"/>
              <a:ext cx="375082" cy="345745"/>
              <a:chOff x="4313201" y="1920875"/>
              <a:chExt cx="284163" cy="261938"/>
            </a:xfrm>
            <a:solidFill>
              <a:schemeClr val="accent1"/>
            </a:solidFill>
          </p:grpSpPr>
          <p:sp>
            <p:nvSpPr>
              <p:cNvPr id="59" name="Freeform 3131">
                <a:extLst>
                  <a:ext uri="{FF2B5EF4-FFF2-40B4-BE49-F238E27FC236}">
                    <a16:creationId xmlns:a16="http://schemas.microsoft.com/office/drawing/2014/main" xmlns="" id="{FB771899-B7FE-4921-9A74-C6D71F071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3201" y="1920875"/>
                <a:ext cx="236538" cy="200025"/>
              </a:xfrm>
              <a:custGeom>
                <a:avLst/>
                <a:gdLst>
                  <a:gd name="T0" fmla="*/ 599 w 599"/>
                  <a:gd name="T1" fmla="*/ 12 h 503"/>
                  <a:gd name="T2" fmla="*/ 599 w 599"/>
                  <a:gd name="T3" fmla="*/ 7 h 503"/>
                  <a:gd name="T4" fmla="*/ 595 w 599"/>
                  <a:gd name="T5" fmla="*/ 3 h 503"/>
                  <a:gd name="T6" fmla="*/ 592 w 599"/>
                  <a:gd name="T7" fmla="*/ 1 h 503"/>
                  <a:gd name="T8" fmla="*/ 587 w 599"/>
                  <a:gd name="T9" fmla="*/ 0 h 503"/>
                  <a:gd name="T10" fmla="*/ 12 w 599"/>
                  <a:gd name="T11" fmla="*/ 0 h 503"/>
                  <a:gd name="T12" fmla="*/ 8 w 599"/>
                  <a:gd name="T13" fmla="*/ 1 h 503"/>
                  <a:gd name="T14" fmla="*/ 4 w 599"/>
                  <a:gd name="T15" fmla="*/ 3 h 503"/>
                  <a:gd name="T16" fmla="*/ 2 w 599"/>
                  <a:gd name="T17" fmla="*/ 7 h 503"/>
                  <a:gd name="T18" fmla="*/ 0 w 599"/>
                  <a:gd name="T19" fmla="*/ 12 h 503"/>
                  <a:gd name="T20" fmla="*/ 0 w 599"/>
                  <a:gd name="T21" fmla="*/ 371 h 503"/>
                  <a:gd name="T22" fmla="*/ 2 w 599"/>
                  <a:gd name="T23" fmla="*/ 376 h 503"/>
                  <a:gd name="T24" fmla="*/ 4 w 599"/>
                  <a:gd name="T25" fmla="*/ 379 h 503"/>
                  <a:gd name="T26" fmla="*/ 8 w 599"/>
                  <a:gd name="T27" fmla="*/ 382 h 503"/>
                  <a:gd name="T28" fmla="*/ 12 w 599"/>
                  <a:gd name="T29" fmla="*/ 383 h 503"/>
                  <a:gd name="T30" fmla="*/ 96 w 599"/>
                  <a:gd name="T31" fmla="*/ 383 h 503"/>
                  <a:gd name="T32" fmla="*/ 96 w 599"/>
                  <a:gd name="T33" fmla="*/ 490 h 503"/>
                  <a:gd name="T34" fmla="*/ 97 w 599"/>
                  <a:gd name="T35" fmla="*/ 493 h 503"/>
                  <a:gd name="T36" fmla="*/ 98 w 599"/>
                  <a:gd name="T37" fmla="*/ 497 h 503"/>
                  <a:gd name="T38" fmla="*/ 100 w 599"/>
                  <a:gd name="T39" fmla="*/ 499 h 503"/>
                  <a:gd name="T40" fmla="*/ 104 w 599"/>
                  <a:gd name="T41" fmla="*/ 502 h 503"/>
                  <a:gd name="T42" fmla="*/ 106 w 599"/>
                  <a:gd name="T43" fmla="*/ 502 h 503"/>
                  <a:gd name="T44" fmla="*/ 109 w 599"/>
                  <a:gd name="T45" fmla="*/ 503 h 503"/>
                  <a:gd name="T46" fmla="*/ 112 w 599"/>
                  <a:gd name="T47" fmla="*/ 502 h 503"/>
                  <a:gd name="T48" fmla="*/ 117 w 599"/>
                  <a:gd name="T49" fmla="*/ 499 h 503"/>
                  <a:gd name="T50" fmla="*/ 232 w 599"/>
                  <a:gd name="T51" fmla="*/ 383 h 503"/>
                  <a:gd name="T52" fmla="*/ 288 w 599"/>
                  <a:gd name="T53" fmla="*/ 383 h 503"/>
                  <a:gd name="T54" fmla="*/ 288 w 599"/>
                  <a:gd name="T55" fmla="*/ 251 h 503"/>
                  <a:gd name="T56" fmla="*/ 288 w 599"/>
                  <a:gd name="T57" fmla="*/ 246 h 503"/>
                  <a:gd name="T58" fmla="*/ 291 w 599"/>
                  <a:gd name="T59" fmla="*/ 242 h 503"/>
                  <a:gd name="T60" fmla="*/ 295 w 599"/>
                  <a:gd name="T61" fmla="*/ 240 h 503"/>
                  <a:gd name="T62" fmla="*/ 300 w 599"/>
                  <a:gd name="T63" fmla="*/ 239 h 503"/>
                  <a:gd name="T64" fmla="*/ 599 w 599"/>
                  <a:gd name="T65" fmla="*/ 239 h 503"/>
                  <a:gd name="T66" fmla="*/ 599 w 599"/>
                  <a:gd name="T67" fmla="*/ 12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99" h="503">
                    <a:moveTo>
                      <a:pt x="599" y="12"/>
                    </a:moveTo>
                    <a:lnTo>
                      <a:pt x="599" y="7"/>
                    </a:lnTo>
                    <a:lnTo>
                      <a:pt x="595" y="3"/>
                    </a:lnTo>
                    <a:lnTo>
                      <a:pt x="592" y="1"/>
                    </a:lnTo>
                    <a:lnTo>
                      <a:pt x="587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371"/>
                    </a:lnTo>
                    <a:lnTo>
                      <a:pt x="2" y="376"/>
                    </a:lnTo>
                    <a:lnTo>
                      <a:pt x="4" y="379"/>
                    </a:lnTo>
                    <a:lnTo>
                      <a:pt x="8" y="382"/>
                    </a:lnTo>
                    <a:lnTo>
                      <a:pt x="12" y="383"/>
                    </a:lnTo>
                    <a:lnTo>
                      <a:pt x="96" y="383"/>
                    </a:lnTo>
                    <a:lnTo>
                      <a:pt x="96" y="490"/>
                    </a:lnTo>
                    <a:lnTo>
                      <a:pt x="97" y="493"/>
                    </a:lnTo>
                    <a:lnTo>
                      <a:pt x="98" y="497"/>
                    </a:lnTo>
                    <a:lnTo>
                      <a:pt x="100" y="499"/>
                    </a:lnTo>
                    <a:lnTo>
                      <a:pt x="104" y="502"/>
                    </a:lnTo>
                    <a:lnTo>
                      <a:pt x="106" y="502"/>
                    </a:lnTo>
                    <a:lnTo>
                      <a:pt x="109" y="503"/>
                    </a:lnTo>
                    <a:lnTo>
                      <a:pt x="112" y="502"/>
                    </a:lnTo>
                    <a:lnTo>
                      <a:pt x="117" y="499"/>
                    </a:lnTo>
                    <a:lnTo>
                      <a:pt x="232" y="383"/>
                    </a:lnTo>
                    <a:lnTo>
                      <a:pt x="288" y="383"/>
                    </a:lnTo>
                    <a:lnTo>
                      <a:pt x="288" y="251"/>
                    </a:lnTo>
                    <a:lnTo>
                      <a:pt x="288" y="246"/>
                    </a:lnTo>
                    <a:lnTo>
                      <a:pt x="291" y="242"/>
                    </a:lnTo>
                    <a:lnTo>
                      <a:pt x="295" y="240"/>
                    </a:lnTo>
                    <a:lnTo>
                      <a:pt x="300" y="239"/>
                    </a:lnTo>
                    <a:lnTo>
                      <a:pt x="599" y="239"/>
                    </a:lnTo>
                    <a:lnTo>
                      <a:pt x="599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3132">
                <a:extLst>
                  <a:ext uri="{FF2B5EF4-FFF2-40B4-BE49-F238E27FC236}">
                    <a16:creationId xmlns:a16="http://schemas.microsoft.com/office/drawing/2014/main" xmlns="" id="{72FDE97C-537A-4B18-B6BE-95F2C0D3F4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7026" y="2025650"/>
                <a:ext cx="160338" cy="157163"/>
              </a:xfrm>
              <a:custGeom>
                <a:avLst/>
                <a:gdLst>
                  <a:gd name="T0" fmla="*/ 395 w 407"/>
                  <a:gd name="T1" fmla="*/ 0 h 394"/>
                  <a:gd name="T2" fmla="*/ 12 w 407"/>
                  <a:gd name="T3" fmla="*/ 0 h 394"/>
                  <a:gd name="T4" fmla="*/ 0 w 407"/>
                  <a:gd name="T5" fmla="*/ 0 h 394"/>
                  <a:gd name="T6" fmla="*/ 0 w 407"/>
                  <a:gd name="T7" fmla="*/ 11 h 394"/>
                  <a:gd name="T8" fmla="*/ 0 w 407"/>
                  <a:gd name="T9" fmla="*/ 252 h 394"/>
                  <a:gd name="T10" fmla="*/ 0 w 407"/>
                  <a:gd name="T11" fmla="*/ 255 h 394"/>
                  <a:gd name="T12" fmla="*/ 4 w 407"/>
                  <a:gd name="T13" fmla="*/ 260 h 394"/>
                  <a:gd name="T14" fmla="*/ 7 w 407"/>
                  <a:gd name="T15" fmla="*/ 262 h 394"/>
                  <a:gd name="T16" fmla="*/ 12 w 407"/>
                  <a:gd name="T17" fmla="*/ 264 h 394"/>
                  <a:gd name="T18" fmla="*/ 193 w 407"/>
                  <a:gd name="T19" fmla="*/ 264 h 394"/>
                  <a:gd name="T20" fmla="*/ 198 w 407"/>
                  <a:gd name="T21" fmla="*/ 264 h 394"/>
                  <a:gd name="T22" fmla="*/ 314 w 407"/>
                  <a:gd name="T23" fmla="*/ 391 h 394"/>
                  <a:gd name="T24" fmla="*/ 319 w 407"/>
                  <a:gd name="T25" fmla="*/ 394 h 394"/>
                  <a:gd name="T26" fmla="*/ 324 w 407"/>
                  <a:gd name="T27" fmla="*/ 394 h 394"/>
                  <a:gd name="T28" fmla="*/ 325 w 407"/>
                  <a:gd name="T29" fmla="*/ 394 h 394"/>
                  <a:gd name="T30" fmla="*/ 327 w 407"/>
                  <a:gd name="T31" fmla="*/ 394 h 394"/>
                  <a:gd name="T32" fmla="*/ 331 w 407"/>
                  <a:gd name="T33" fmla="*/ 392 h 394"/>
                  <a:gd name="T34" fmla="*/ 333 w 407"/>
                  <a:gd name="T35" fmla="*/ 390 h 394"/>
                  <a:gd name="T36" fmla="*/ 334 w 407"/>
                  <a:gd name="T37" fmla="*/ 386 h 394"/>
                  <a:gd name="T38" fmla="*/ 336 w 407"/>
                  <a:gd name="T39" fmla="*/ 383 h 394"/>
                  <a:gd name="T40" fmla="*/ 336 w 407"/>
                  <a:gd name="T41" fmla="*/ 276 h 394"/>
                  <a:gd name="T42" fmla="*/ 336 w 407"/>
                  <a:gd name="T43" fmla="*/ 264 h 394"/>
                  <a:gd name="T44" fmla="*/ 347 w 407"/>
                  <a:gd name="T45" fmla="*/ 264 h 394"/>
                  <a:gd name="T46" fmla="*/ 395 w 407"/>
                  <a:gd name="T47" fmla="*/ 264 h 394"/>
                  <a:gd name="T48" fmla="*/ 400 w 407"/>
                  <a:gd name="T49" fmla="*/ 262 h 394"/>
                  <a:gd name="T50" fmla="*/ 403 w 407"/>
                  <a:gd name="T51" fmla="*/ 260 h 394"/>
                  <a:gd name="T52" fmla="*/ 406 w 407"/>
                  <a:gd name="T53" fmla="*/ 257 h 394"/>
                  <a:gd name="T54" fmla="*/ 407 w 407"/>
                  <a:gd name="T55" fmla="*/ 252 h 394"/>
                  <a:gd name="T56" fmla="*/ 407 w 407"/>
                  <a:gd name="T57" fmla="*/ 11 h 394"/>
                  <a:gd name="T58" fmla="*/ 406 w 407"/>
                  <a:gd name="T59" fmla="*/ 7 h 394"/>
                  <a:gd name="T60" fmla="*/ 403 w 407"/>
                  <a:gd name="T61" fmla="*/ 3 h 394"/>
                  <a:gd name="T62" fmla="*/ 400 w 407"/>
                  <a:gd name="T63" fmla="*/ 1 h 394"/>
                  <a:gd name="T64" fmla="*/ 395 w 407"/>
                  <a:gd name="T65" fmla="*/ 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7" h="394">
                    <a:moveTo>
                      <a:pt x="395" y="0"/>
                    </a:moveTo>
                    <a:lnTo>
                      <a:pt x="12" y="0"/>
                    </a:lnTo>
                    <a:lnTo>
                      <a:pt x="0" y="0"/>
                    </a:lnTo>
                    <a:lnTo>
                      <a:pt x="0" y="11"/>
                    </a:lnTo>
                    <a:lnTo>
                      <a:pt x="0" y="252"/>
                    </a:lnTo>
                    <a:lnTo>
                      <a:pt x="0" y="255"/>
                    </a:lnTo>
                    <a:lnTo>
                      <a:pt x="4" y="260"/>
                    </a:lnTo>
                    <a:lnTo>
                      <a:pt x="7" y="262"/>
                    </a:lnTo>
                    <a:lnTo>
                      <a:pt x="12" y="264"/>
                    </a:lnTo>
                    <a:lnTo>
                      <a:pt x="193" y="264"/>
                    </a:lnTo>
                    <a:lnTo>
                      <a:pt x="198" y="264"/>
                    </a:lnTo>
                    <a:lnTo>
                      <a:pt x="314" y="391"/>
                    </a:lnTo>
                    <a:lnTo>
                      <a:pt x="319" y="394"/>
                    </a:lnTo>
                    <a:lnTo>
                      <a:pt x="324" y="394"/>
                    </a:lnTo>
                    <a:lnTo>
                      <a:pt x="325" y="394"/>
                    </a:lnTo>
                    <a:lnTo>
                      <a:pt x="327" y="394"/>
                    </a:lnTo>
                    <a:lnTo>
                      <a:pt x="331" y="392"/>
                    </a:lnTo>
                    <a:lnTo>
                      <a:pt x="333" y="390"/>
                    </a:lnTo>
                    <a:lnTo>
                      <a:pt x="334" y="386"/>
                    </a:lnTo>
                    <a:lnTo>
                      <a:pt x="336" y="383"/>
                    </a:lnTo>
                    <a:lnTo>
                      <a:pt x="336" y="276"/>
                    </a:lnTo>
                    <a:lnTo>
                      <a:pt x="336" y="264"/>
                    </a:lnTo>
                    <a:lnTo>
                      <a:pt x="347" y="264"/>
                    </a:lnTo>
                    <a:lnTo>
                      <a:pt x="395" y="264"/>
                    </a:lnTo>
                    <a:lnTo>
                      <a:pt x="400" y="262"/>
                    </a:lnTo>
                    <a:lnTo>
                      <a:pt x="403" y="260"/>
                    </a:lnTo>
                    <a:lnTo>
                      <a:pt x="406" y="257"/>
                    </a:lnTo>
                    <a:lnTo>
                      <a:pt x="407" y="252"/>
                    </a:lnTo>
                    <a:lnTo>
                      <a:pt x="407" y="11"/>
                    </a:lnTo>
                    <a:lnTo>
                      <a:pt x="406" y="7"/>
                    </a:lnTo>
                    <a:lnTo>
                      <a:pt x="403" y="3"/>
                    </a:lnTo>
                    <a:lnTo>
                      <a:pt x="400" y="1"/>
                    </a:lnTo>
                    <a:lnTo>
                      <a:pt x="39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9" name="Content Placeholder 2">
              <a:extLst>
                <a:ext uri="{FF2B5EF4-FFF2-40B4-BE49-F238E27FC236}">
                  <a16:creationId xmlns:a16="http://schemas.microsoft.com/office/drawing/2014/main" xmlns="" id="{D7B687C8-9051-4EE9-ABFD-3E8367BC78DB}"/>
                </a:ext>
              </a:extLst>
            </p:cNvPr>
            <p:cNvSpPr txBox="1">
              <a:spLocks/>
            </p:cNvSpPr>
            <p:nvPr/>
          </p:nvSpPr>
          <p:spPr>
            <a:xfrm>
              <a:off x="1756072" y="5425330"/>
              <a:ext cx="2139238" cy="1938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</a:rPr>
                <a:t>Lo</a:t>
              </a:r>
              <a:r>
                <a:rPr kumimoji="0" lang="id-ID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m Ipsum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xmlns="" id="{6D83AD8B-8993-4DD3-B718-75FD73B9460A}"/>
                </a:ext>
              </a:extLst>
            </p:cNvPr>
            <p:cNvGrpSpPr/>
            <p:nvPr/>
          </p:nvGrpSpPr>
          <p:grpSpPr>
            <a:xfrm>
              <a:off x="2636054" y="4854575"/>
              <a:ext cx="379272" cy="377176"/>
              <a:chOff x="4900613" y="3937000"/>
              <a:chExt cx="287338" cy="285750"/>
            </a:xfrm>
            <a:solidFill>
              <a:schemeClr val="accent1"/>
            </a:solidFill>
          </p:grpSpPr>
          <p:sp>
            <p:nvSpPr>
              <p:cNvPr id="51" name="Freeform 4743">
                <a:extLst>
                  <a:ext uri="{FF2B5EF4-FFF2-40B4-BE49-F238E27FC236}">
                    <a16:creationId xmlns:a16="http://schemas.microsoft.com/office/drawing/2014/main" xmlns="" id="{0C10FC2C-8850-4AED-893D-75FCAE559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613" y="3937000"/>
                <a:ext cx="133350" cy="38100"/>
              </a:xfrm>
              <a:custGeom>
                <a:avLst/>
                <a:gdLst>
                  <a:gd name="T0" fmla="*/ 346 w 421"/>
                  <a:gd name="T1" fmla="*/ 0 h 120"/>
                  <a:gd name="T2" fmla="*/ 76 w 421"/>
                  <a:gd name="T3" fmla="*/ 0 h 120"/>
                  <a:gd name="T4" fmla="*/ 68 w 421"/>
                  <a:gd name="T5" fmla="*/ 1 h 120"/>
                  <a:gd name="T6" fmla="*/ 61 w 421"/>
                  <a:gd name="T7" fmla="*/ 2 h 120"/>
                  <a:gd name="T8" fmla="*/ 53 w 421"/>
                  <a:gd name="T9" fmla="*/ 3 h 120"/>
                  <a:gd name="T10" fmla="*/ 46 w 421"/>
                  <a:gd name="T11" fmla="*/ 5 h 120"/>
                  <a:gd name="T12" fmla="*/ 40 w 421"/>
                  <a:gd name="T13" fmla="*/ 9 h 120"/>
                  <a:gd name="T14" fmla="*/ 33 w 421"/>
                  <a:gd name="T15" fmla="*/ 12 h 120"/>
                  <a:gd name="T16" fmla="*/ 27 w 421"/>
                  <a:gd name="T17" fmla="*/ 17 h 120"/>
                  <a:gd name="T18" fmla="*/ 22 w 421"/>
                  <a:gd name="T19" fmla="*/ 22 h 120"/>
                  <a:gd name="T20" fmla="*/ 18 w 421"/>
                  <a:gd name="T21" fmla="*/ 27 h 120"/>
                  <a:gd name="T22" fmla="*/ 13 w 421"/>
                  <a:gd name="T23" fmla="*/ 33 h 120"/>
                  <a:gd name="T24" fmla="*/ 10 w 421"/>
                  <a:gd name="T25" fmla="*/ 39 h 120"/>
                  <a:gd name="T26" fmla="*/ 6 w 421"/>
                  <a:gd name="T27" fmla="*/ 46 h 120"/>
                  <a:gd name="T28" fmla="*/ 4 w 421"/>
                  <a:gd name="T29" fmla="*/ 53 h 120"/>
                  <a:gd name="T30" fmla="*/ 2 w 421"/>
                  <a:gd name="T31" fmla="*/ 60 h 120"/>
                  <a:gd name="T32" fmla="*/ 0 w 421"/>
                  <a:gd name="T33" fmla="*/ 67 h 120"/>
                  <a:gd name="T34" fmla="*/ 0 w 421"/>
                  <a:gd name="T35" fmla="*/ 75 h 120"/>
                  <a:gd name="T36" fmla="*/ 0 w 421"/>
                  <a:gd name="T37" fmla="*/ 120 h 120"/>
                  <a:gd name="T38" fmla="*/ 421 w 421"/>
                  <a:gd name="T39" fmla="*/ 120 h 120"/>
                  <a:gd name="T40" fmla="*/ 421 w 421"/>
                  <a:gd name="T41" fmla="*/ 75 h 120"/>
                  <a:gd name="T42" fmla="*/ 421 w 421"/>
                  <a:gd name="T43" fmla="*/ 67 h 120"/>
                  <a:gd name="T44" fmla="*/ 420 w 421"/>
                  <a:gd name="T45" fmla="*/ 60 h 120"/>
                  <a:gd name="T46" fmla="*/ 417 w 421"/>
                  <a:gd name="T47" fmla="*/ 53 h 120"/>
                  <a:gd name="T48" fmla="*/ 415 w 421"/>
                  <a:gd name="T49" fmla="*/ 46 h 120"/>
                  <a:gd name="T50" fmla="*/ 412 w 421"/>
                  <a:gd name="T51" fmla="*/ 39 h 120"/>
                  <a:gd name="T52" fmla="*/ 408 w 421"/>
                  <a:gd name="T53" fmla="*/ 33 h 120"/>
                  <a:gd name="T54" fmla="*/ 403 w 421"/>
                  <a:gd name="T55" fmla="*/ 27 h 120"/>
                  <a:gd name="T56" fmla="*/ 399 w 421"/>
                  <a:gd name="T57" fmla="*/ 22 h 120"/>
                  <a:gd name="T58" fmla="*/ 393 w 421"/>
                  <a:gd name="T59" fmla="*/ 17 h 120"/>
                  <a:gd name="T60" fmla="*/ 387 w 421"/>
                  <a:gd name="T61" fmla="*/ 12 h 120"/>
                  <a:gd name="T62" fmla="*/ 381 w 421"/>
                  <a:gd name="T63" fmla="*/ 9 h 120"/>
                  <a:gd name="T64" fmla="*/ 375 w 421"/>
                  <a:gd name="T65" fmla="*/ 5 h 120"/>
                  <a:gd name="T66" fmla="*/ 368 w 421"/>
                  <a:gd name="T67" fmla="*/ 3 h 120"/>
                  <a:gd name="T68" fmla="*/ 361 w 421"/>
                  <a:gd name="T69" fmla="*/ 2 h 120"/>
                  <a:gd name="T70" fmla="*/ 354 w 421"/>
                  <a:gd name="T71" fmla="*/ 1 h 120"/>
                  <a:gd name="T72" fmla="*/ 346 w 421"/>
                  <a:gd name="T73" fmla="*/ 0 h 120"/>
                  <a:gd name="T74" fmla="*/ 346 w 421"/>
                  <a:gd name="T7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1" h="120">
                    <a:moveTo>
                      <a:pt x="346" y="0"/>
                    </a:moveTo>
                    <a:lnTo>
                      <a:pt x="76" y="0"/>
                    </a:lnTo>
                    <a:lnTo>
                      <a:pt x="68" y="1"/>
                    </a:lnTo>
                    <a:lnTo>
                      <a:pt x="61" y="2"/>
                    </a:lnTo>
                    <a:lnTo>
                      <a:pt x="53" y="3"/>
                    </a:lnTo>
                    <a:lnTo>
                      <a:pt x="46" y="5"/>
                    </a:lnTo>
                    <a:lnTo>
                      <a:pt x="40" y="9"/>
                    </a:lnTo>
                    <a:lnTo>
                      <a:pt x="33" y="12"/>
                    </a:lnTo>
                    <a:lnTo>
                      <a:pt x="27" y="17"/>
                    </a:lnTo>
                    <a:lnTo>
                      <a:pt x="22" y="22"/>
                    </a:lnTo>
                    <a:lnTo>
                      <a:pt x="18" y="27"/>
                    </a:lnTo>
                    <a:lnTo>
                      <a:pt x="13" y="33"/>
                    </a:lnTo>
                    <a:lnTo>
                      <a:pt x="10" y="39"/>
                    </a:lnTo>
                    <a:lnTo>
                      <a:pt x="6" y="46"/>
                    </a:lnTo>
                    <a:lnTo>
                      <a:pt x="4" y="53"/>
                    </a:lnTo>
                    <a:lnTo>
                      <a:pt x="2" y="60"/>
                    </a:lnTo>
                    <a:lnTo>
                      <a:pt x="0" y="67"/>
                    </a:lnTo>
                    <a:lnTo>
                      <a:pt x="0" y="75"/>
                    </a:lnTo>
                    <a:lnTo>
                      <a:pt x="0" y="120"/>
                    </a:lnTo>
                    <a:lnTo>
                      <a:pt x="421" y="120"/>
                    </a:lnTo>
                    <a:lnTo>
                      <a:pt x="421" y="75"/>
                    </a:lnTo>
                    <a:lnTo>
                      <a:pt x="421" y="67"/>
                    </a:lnTo>
                    <a:lnTo>
                      <a:pt x="420" y="60"/>
                    </a:lnTo>
                    <a:lnTo>
                      <a:pt x="417" y="53"/>
                    </a:lnTo>
                    <a:lnTo>
                      <a:pt x="415" y="46"/>
                    </a:lnTo>
                    <a:lnTo>
                      <a:pt x="412" y="39"/>
                    </a:lnTo>
                    <a:lnTo>
                      <a:pt x="408" y="33"/>
                    </a:lnTo>
                    <a:lnTo>
                      <a:pt x="403" y="27"/>
                    </a:lnTo>
                    <a:lnTo>
                      <a:pt x="399" y="22"/>
                    </a:lnTo>
                    <a:lnTo>
                      <a:pt x="393" y="17"/>
                    </a:lnTo>
                    <a:lnTo>
                      <a:pt x="387" y="12"/>
                    </a:lnTo>
                    <a:lnTo>
                      <a:pt x="381" y="9"/>
                    </a:lnTo>
                    <a:lnTo>
                      <a:pt x="375" y="5"/>
                    </a:lnTo>
                    <a:lnTo>
                      <a:pt x="368" y="3"/>
                    </a:lnTo>
                    <a:lnTo>
                      <a:pt x="361" y="2"/>
                    </a:lnTo>
                    <a:lnTo>
                      <a:pt x="354" y="1"/>
                    </a:lnTo>
                    <a:lnTo>
                      <a:pt x="346" y="0"/>
                    </a:lnTo>
                    <a:lnTo>
                      <a:pt x="3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4744">
                <a:extLst>
                  <a:ext uri="{FF2B5EF4-FFF2-40B4-BE49-F238E27FC236}">
                    <a16:creationId xmlns:a16="http://schemas.microsoft.com/office/drawing/2014/main" xmlns="" id="{2943447E-9503-4211-9710-41280EBF7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613" y="3984625"/>
                <a:ext cx="133350" cy="85725"/>
              </a:xfrm>
              <a:custGeom>
                <a:avLst/>
                <a:gdLst>
                  <a:gd name="T0" fmla="*/ 0 w 421"/>
                  <a:gd name="T1" fmla="*/ 196 h 270"/>
                  <a:gd name="T2" fmla="*/ 0 w 421"/>
                  <a:gd name="T3" fmla="*/ 203 h 270"/>
                  <a:gd name="T4" fmla="*/ 2 w 421"/>
                  <a:gd name="T5" fmla="*/ 211 h 270"/>
                  <a:gd name="T6" fmla="*/ 4 w 421"/>
                  <a:gd name="T7" fmla="*/ 218 h 270"/>
                  <a:gd name="T8" fmla="*/ 6 w 421"/>
                  <a:gd name="T9" fmla="*/ 225 h 270"/>
                  <a:gd name="T10" fmla="*/ 10 w 421"/>
                  <a:gd name="T11" fmla="*/ 231 h 270"/>
                  <a:gd name="T12" fmla="*/ 13 w 421"/>
                  <a:gd name="T13" fmla="*/ 238 h 270"/>
                  <a:gd name="T14" fmla="*/ 18 w 421"/>
                  <a:gd name="T15" fmla="*/ 243 h 270"/>
                  <a:gd name="T16" fmla="*/ 22 w 421"/>
                  <a:gd name="T17" fmla="*/ 248 h 270"/>
                  <a:gd name="T18" fmla="*/ 27 w 421"/>
                  <a:gd name="T19" fmla="*/ 254 h 270"/>
                  <a:gd name="T20" fmla="*/ 33 w 421"/>
                  <a:gd name="T21" fmla="*/ 257 h 270"/>
                  <a:gd name="T22" fmla="*/ 40 w 421"/>
                  <a:gd name="T23" fmla="*/ 262 h 270"/>
                  <a:gd name="T24" fmla="*/ 46 w 421"/>
                  <a:gd name="T25" fmla="*/ 264 h 270"/>
                  <a:gd name="T26" fmla="*/ 53 w 421"/>
                  <a:gd name="T27" fmla="*/ 267 h 270"/>
                  <a:gd name="T28" fmla="*/ 61 w 421"/>
                  <a:gd name="T29" fmla="*/ 269 h 270"/>
                  <a:gd name="T30" fmla="*/ 68 w 421"/>
                  <a:gd name="T31" fmla="*/ 270 h 270"/>
                  <a:gd name="T32" fmla="*/ 76 w 421"/>
                  <a:gd name="T33" fmla="*/ 270 h 270"/>
                  <a:gd name="T34" fmla="*/ 346 w 421"/>
                  <a:gd name="T35" fmla="*/ 270 h 270"/>
                  <a:gd name="T36" fmla="*/ 354 w 421"/>
                  <a:gd name="T37" fmla="*/ 270 h 270"/>
                  <a:gd name="T38" fmla="*/ 361 w 421"/>
                  <a:gd name="T39" fmla="*/ 269 h 270"/>
                  <a:gd name="T40" fmla="*/ 368 w 421"/>
                  <a:gd name="T41" fmla="*/ 267 h 270"/>
                  <a:gd name="T42" fmla="*/ 375 w 421"/>
                  <a:gd name="T43" fmla="*/ 264 h 270"/>
                  <a:gd name="T44" fmla="*/ 381 w 421"/>
                  <a:gd name="T45" fmla="*/ 261 h 270"/>
                  <a:gd name="T46" fmla="*/ 387 w 421"/>
                  <a:gd name="T47" fmla="*/ 257 h 270"/>
                  <a:gd name="T48" fmla="*/ 393 w 421"/>
                  <a:gd name="T49" fmla="*/ 253 h 270"/>
                  <a:gd name="T50" fmla="*/ 399 w 421"/>
                  <a:gd name="T51" fmla="*/ 248 h 270"/>
                  <a:gd name="T52" fmla="*/ 403 w 421"/>
                  <a:gd name="T53" fmla="*/ 243 h 270"/>
                  <a:gd name="T54" fmla="*/ 408 w 421"/>
                  <a:gd name="T55" fmla="*/ 238 h 270"/>
                  <a:gd name="T56" fmla="*/ 412 w 421"/>
                  <a:gd name="T57" fmla="*/ 231 h 270"/>
                  <a:gd name="T58" fmla="*/ 415 w 421"/>
                  <a:gd name="T59" fmla="*/ 225 h 270"/>
                  <a:gd name="T60" fmla="*/ 417 w 421"/>
                  <a:gd name="T61" fmla="*/ 218 h 270"/>
                  <a:gd name="T62" fmla="*/ 420 w 421"/>
                  <a:gd name="T63" fmla="*/ 211 h 270"/>
                  <a:gd name="T64" fmla="*/ 421 w 421"/>
                  <a:gd name="T65" fmla="*/ 203 h 270"/>
                  <a:gd name="T66" fmla="*/ 421 w 421"/>
                  <a:gd name="T67" fmla="*/ 196 h 270"/>
                  <a:gd name="T68" fmla="*/ 421 w 421"/>
                  <a:gd name="T69" fmla="*/ 0 h 270"/>
                  <a:gd name="T70" fmla="*/ 0 w 421"/>
                  <a:gd name="T71" fmla="*/ 0 h 270"/>
                  <a:gd name="T72" fmla="*/ 0 w 421"/>
                  <a:gd name="T73" fmla="*/ 19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270">
                    <a:moveTo>
                      <a:pt x="0" y="196"/>
                    </a:moveTo>
                    <a:lnTo>
                      <a:pt x="0" y="203"/>
                    </a:lnTo>
                    <a:lnTo>
                      <a:pt x="2" y="211"/>
                    </a:lnTo>
                    <a:lnTo>
                      <a:pt x="4" y="218"/>
                    </a:lnTo>
                    <a:lnTo>
                      <a:pt x="6" y="225"/>
                    </a:lnTo>
                    <a:lnTo>
                      <a:pt x="10" y="231"/>
                    </a:lnTo>
                    <a:lnTo>
                      <a:pt x="13" y="238"/>
                    </a:lnTo>
                    <a:lnTo>
                      <a:pt x="18" y="243"/>
                    </a:lnTo>
                    <a:lnTo>
                      <a:pt x="22" y="248"/>
                    </a:lnTo>
                    <a:lnTo>
                      <a:pt x="27" y="254"/>
                    </a:lnTo>
                    <a:lnTo>
                      <a:pt x="33" y="257"/>
                    </a:lnTo>
                    <a:lnTo>
                      <a:pt x="40" y="262"/>
                    </a:lnTo>
                    <a:lnTo>
                      <a:pt x="46" y="264"/>
                    </a:lnTo>
                    <a:lnTo>
                      <a:pt x="53" y="267"/>
                    </a:lnTo>
                    <a:lnTo>
                      <a:pt x="61" y="269"/>
                    </a:lnTo>
                    <a:lnTo>
                      <a:pt x="68" y="270"/>
                    </a:lnTo>
                    <a:lnTo>
                      <a:pt x="76" y="270"/>
                    </a:lnTo>
                    <a:lnTo>
                      <a:pt x="346" y="270"/>
                    </a:lnTo>
                    <a:lnTo>
                      <a:pt x="354" y="270"/>
                    </a:lnTo>
                    <a:lnTo>
                      <a:pt x="361" y="269"/>
                    </a:lnTo>
                    <a:lnTo>
                      <a:pt x="368" y="267"/>
                    </a:lnTo>
                    <a:lnTo>
                      <a:pt x="375" y="264"/>
                    </a:lnTo>
                    <a:lnTo>
                      <a:pt x="381" y="261"/>
                    </a:lnTo>
                    <a:lnTo>
                      <a:pt x="387" y="257"/>
                    </a:lnTo>
                    <a:lnTo>
                      <a:pt x="393" y="253"/>
                    </a:lnTo>
                    <a:lnTo>
                      <a:pt x="399" y="248"/>
                    </a:lnTo>
                    <a:lnTo>
                      <a:pt x="403" y="243"/>
                    </a:lnTo>
                    <a:lnTo>
                      <a:pt x="408" y="238"/>
                    </a:lnTo>
                    <a:lnTo>
                      <a:pt x="412" y="231"/>
                    </a:lnTo>
                    <a:lnTo>
                      <a:pt x="415" y="225"/>
                    </a:lnTo>
                    <a:lnTo>
                      <a:pt x="417" y="218"/>
                    </a:lnTo>
                    <a:lnTo>
                      <a:pt x="420" y="211"/>
                    </a:lnTo>
                    <a:lnTo>
                      <a:pt x="421" y="203"/>
                    </a:lnTo>
                    <a:lnTo>
                      <a:pt x="421" y="196"/>
                    </a:lnTo>
                    <a:lnTo>
                      <a:pt x="421" y="0"/>
                    </a:lnTo>
                    <a:lnTo>
                      <a:pt x="0" y="0"/>
                    </a:lnTo>
                    <a:lnTo>
                      <a:pt x="0" y="1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4745">
                <a:extLst>
                  <a:ext uri="{FF2B5EF4-FFF2-40B4-BE49-F238E27FC236}">
                    <a16:creationId xmlns:a16="http://schemas.microsoft.com/office/drawing/2014/main" xmlns="" id="{458C1C97-B5D5-41A5-A642-F670D9629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013" y="3937000"/>
                <a:ext cx="134938" cy="38100"/>
              </a:xfrm>
              <a:custGeom>
                <a:avLst/>
                <a:gdLst>
                  <a:gd name="T0" fmla="*/ 345 w 421"/>
                  <a:gd name="T1" fmla="*/ 0 h 120"/>
                  <a:gd name="T2" fmla="*/ 75 w 421"/>
                  <a:gd name="T3" fmla="*/ 0 h 120"/>
                  <a:gd name="T4" fmla="*/ 67 w 421"/>
                  <a:gd name="T5" fmla="*/ 1 h 120"/>
                  <a:gd name="T6" fmla="*/ 60 w 421"/>
                  <a:gd name="T7" fmla="*/ 2 h 120"/>
                  <a:gd name="T8" fmla="*/ 52 w 421"/>
                  <a:gd name="T9" fmla="*/ 3 h 120"/>
                  <a:gd name="T10" fmla="*/ 45 w 421"/>
                  <a:gd name="T11" fmla="*/ 5 h 120"/>
                  <a:gd name="T12" fmla="*/ 39 w 421"/>
                  <a:gd name="T13" fmla="*/ 9 h 120"/>
                  <a:gd name="T14" fmla="*/ 33 w 421"/>
                  <a:gd name="T15" fmla="*/ 12 h 120"/>
                  <a:gd name="T16" fmla="*/ 27 w 421"/>
                  <a:gd name="T17" fmla="*/ 17 h 120"/>
                  <a:gd name="T18" fmla="*/ 22 w 421"/>
                  <a:gd name="T19" fmla="*/ 22 h 120"/>
                  <a:gd name="T20" fmla="*/ 17 w 421"/>
                  <a:gd name="T21" fmla="*/ 27 h 120"/>
                  <a:gd name="T22" fmla="*/ 13 w 421"/>
                  <a:gd name="T23" fmla="*/ 33 h 120"/>
                  <a:gd name="T24" fmla="*/ 9 w 421"/>
                  <a:gd name="T25" fmla="*/ 39 h 120"/>
                  <a:gd name="T26" fmla="*/ 6 w 421"/>
                  <a:gd name="T27" fmla="*/ 46 h 120"/>
                  <a:gd name="T28" fmla="*/ 4 w 421"/>
                  <a:gd name="T29" fmla="*/ 53 h 120"/>
                  <a:gd name="T30" fmla="*/ 1 w 421"/>
                  <a:gd name="T31" fmla="*/ 60 h 120"/>
                  <a:gd name="T32" fmla="*/ 0 w 421"/>
                  <a:gd name="T33" fmla="*/ 67 h 120"/>
                  <a:gd name="T34" fmla="*/ 0 w 421"/>
                  <a:gd name="T35" fmla="*/ 75 h 120"/>
                  <a:gd name="T36" fmla="*/ 0 w 421"/>
                  <a:gd name="T37" fmla="*/ 120 h 120"/>
                  <a:gd name="T38" fmla="*/ 421 w 421"/>
                  <a:gd name="T39" fmla="*/ 120 h 120"/>
                  <a:gd name="T40" fmla="*/ 421 w 421"/>
                  <a:gd name="T41" fmla="*/ 75 h 120"/>
                  <a:gd name="T42" fmla="*/ 421 w 421"/>
                  <a:gd name="T43" fmla="*/ 67 h 120"/>
                  <a:gd name="T44" fmla="*/ 419 w 421"/>
                  <a:gd name="T45" fmla="*/ 60 h 120"/>
                  <a:gd name="T46" fmla="*/ 417 w 421"/>
                  <a:gd name="T47" fmla="*/ 53 h 120"/>
                  <a:gd name="T48" fmla="*/ 415 w 421"/>
                  <a:gd name="T49" fmla="*/ 46 h 120"/>
                  <a:gd name="T50" fmla="*/ 411 w 421"/>
                  <a:gd name="T51" fmla="*/ 39 h 120"/>
                  <a:gd name="T52" fmla="*/ 408 w 421"/>
                  <a:gd name="T53" fmla="*/ 33 h 120"/>
                  <a:gd name="T54" fmla="*/ 403 w 421"/>
                  <a:gd name="T55" fmla="*/ 27 h 120"/>
                  <a:gd name="T56" fmla="*/ 399 w 421"/>
                  <a:gd name="T57" fmla="*/ 22 h 120"/>
                  <a:gd name="T58" fmla="*/ 393 w 421"/>
                  <a:gd name="T59" fmla="*/ 17 h 120"/>
                  <a:gd name="T60" fmla="*/ 387 w 421"/>
                  <a:gd name="T61" fmla="*/ 12 h 120"/>
                  <a:gd name="T62" fmla="*/ 381 w 421"/>
                  <a:gd name="T63" fmla="*/ 9 h 120"/>
                  <a:gd name="T64" fmla="*/ 374 w 421"/>
                  <a:gd name="T65" fmla="*/ 5 h 120"/>
                  <a:gd name="T66" fmla="*/ 367 w 421"/>
                  <a:gd name="T67" fmla="*/ 3 h 120"/>
                  <a:gd name="T68" fmla="*/ 360 w 421"/>
                  <a:gd name="T69" fmla="*/ 2 h 120"/>
                  <a:gd name="T70" fmla="*/ 353 w 421"/>
                  <a:gd name="T71" fmla="*/ 1 h 120"/>
                  <a:gd name="T72" fmla="*/ 345 w 421"/>
                  <a:gd name="T73" fmla="*/ 0 h 120"/>
                  <a:gd name="T74" fmla="*/ 345 w 421"/>
                  <a:gd name="T7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1" h="120">
                    <a:moveTo>
                      <a:pt x="345" y="0"/>
                    </a:moveTo>
                    <a:lnTo>
                      <a:pt x="75" y="0"/>
                    </a:lnTo>
                    <a:lnTo>
                      <a:pt x="67" y="1"/>
                    </a:lnTo>
                    <a:lnTo>
                      <a:pt x="60" y="2"/>
                    </a:lnTo>
                    <a:lnTo>
                      <a:pt x="52" y="3"/>
                    </a:lnTo>
                    <a:lnTo>
                      <a:pt x="45" y="5"/>
                    </a:lnTo>
                    <a:lnTo>
                      <a:pt x="39" y="9"/>
                    </a:lnTo>
                    <a:lnTo>
                      <a:pt x="33" y="12"/>
                    </a:lnTo>
                    <a:lnTo>
                      <a:pt x="27" y="17"/>
                    </a:lnTo>
                    <a:lnTo>
                      <a:pt x="22" y="22"/>
                    </a:lnTo>
                    <a:lnTo>
                      <a:pt x="17" y="27"/>
                    </a:lnTo>
                    <a:lnTo>
                      <a:pt x="13" y="33"/>
                    </a:lnTo>
                    <a:lnTo>
                      <a:pt x="9" y="39"/>
                    </a:lnTo>
                    <a:lnTo>
                      <a:pt x="6" y="46"/>
                    </a:lnTo>
                    <a:lnTo>
                      <a:pt x="4" y="53"/>
                    </a:lnTo>
                    <a:lnTo>
                      <a:pt x="1" y="60"/>
                    </a:lnTo>
                    <a:lnTo>
                      <a:pt x="0" y="67"/>
                    </a:lnTo>
                    <a:lnTo>
                      <a:pt x="0" y="75"/>
                    </a:lnTo>
                    <a:lnTo>
                      <a:pt x="0" y="120"/>
                    </a:lnTo>
                    <a:lnTo>
                      <a:pt x="421" y="120"/>
                    </a:lnTo>
                    <a:lnTo>
                      <a:pt x="421" y="75"/>
                    </a:lnTo>
                    <a:lnTo>
                      <a:pt x="421" y="67"/>
                    </a:lnTo>
                    <a:lnTo>
                      <a:pt x="419" y="60"/>
                    </a:lnTo>
                    <a:lnTo>
                      <a:pt x="417" y="53"/>
                    </a:lnTo>
                    <a:lnTo>
                      <a:pt x="415" y="46"/>
                    </a:lnTo>
                    <a:lnTo>
                      <a:pt x="411" y="39"/>
                    </a:lnTo>
                    <a:lnTo>
                      <a:pt x="408" y="33"/>
                    </a:lnTo>
                    <a:lnTo>
                      <a:pt x="403" y="27"/>
                    </a:lnTo>
                    <a:lnTo>
                      <a:pt x="399" y="22"/>
                    </a:lnTo>
                    <a:lnTo>
                      <a:pt x="393" y="17"/>
                    </a:lnTo>
                    <a:lnTo>
                      <a:pt x="387" y="12"/>
                    </a:lnTo>
                    <a:lnTo>
                      <a:pt x="381" y="9"/>
                    </a:lnTo>
                    <a:lnTo>
                      <a:pt x="374" y="5"/>
                    </a:lnTo>
                    <a:lnTo>
                      <a:pt x="367" y="3"/>
                    </a:lnTo>
                    <a:lnTo>
                      <a:pt x="360" y="2"/>
                    </a:lnTo>
                    <a:lnTo>
                      <a:pt x="353" y="1"/>
                    </a:lnTo>
                    <a:lnTo>
                      <a:pt x="345" y="0"/>
                    </a:lnTo>
                    <a:lnTo>
                      <a:pt x="3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4746">
                <a:extLst>
                  <a:ext uri="{FF2B5EF4-FFF2-40B4-BE49-F238E27FC236}">
                    <a16:creationId xmlns:a16="http://schemas.microsoft.com/office/drawing/2014/main" xmlns="" id="{171D8EBE-E9A2-4459-9C65-282A30804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013" y="3984625"/>
                <a:ext cx="134938" cy="85725"/>
              </a:xfrm>
              <a:custGeom>
                <a:avLst/>
                <a:gdLst>
                  <a:gd name="T0" fmla="*/ 0 w 421"/>
                  <a:gd name="T1" fmla="*/ 196 h 270"/>
                  <a:gd name="T2" fmla="*/ 0 w 421"/>
                  <a:gd name="T3" fmla="*/ 203 h 270"/>
                  <a:gd name="T4" fmla="*/ 1 w 421"/>
                  <a:gd name="T5" fmla="*/ 211 h 270"/>
                  <a:gd name="T6" fmla="*/ 4 w 421"/>
                  <a:gd name="T7" fmla="*/ 218 h 270"/>
                  <a:gd name="T8" fmla="*/ 6 w 421"/>
                  <a:gd name="T9" fmla="*/ 225 h 270"/>
                  <a:gd name="T10" fmla="*/ 9 w 421"/>
                  <a:gd name="T11" fmla="*/ 231 h 270"/>
                  <a:gd name="T12" fmla="*/ 13 w 421"/>
                  <a:gd name="T13" fmla="*/ 238 h 270"/>
                  <a:gd name="T14" fmla="*/ 17 w 421"/>
                  <a:gd name="T15" fmla="*/ 243 h 270"/>
                  <a:gd name="T16" fmla="*/ 22 w 421"/>
                  <a:gd name="T17" fmla="*/ 248 h 270"/>
                  <a:gd name="T18" fmla="*/ 27 w 421"/>
                  <a:gd name="T19" fmla="*/ 254 h 270"/>
                  <a:gd name="T20" fmla="*/ 33 w 421"/>
                  <a:gd name="T21" fmla="*/ 257 h 270"/>
                  <a:gd name="T22" fmla="*/ 39 w 421"/>
                  <a:gd name="T23" fmla="*/ 262 h 270"/>
                  <a:gd name="T24" fmla="*/ 45 w 421"/>
                  <a:gd name="T25" fmla="*/ 264 h 270"/>
                  <a:gd name="T26" fmla="*/ 52 w 421"/>
                  <a:gd name="T27" fmla="*/ 267 h 270"/>
                  <a:gd name="T28" fmla="*/ 60 w 421"/>
                  <a:gd name="T29" fmla="*/ 269 h 270"/>
                  <a:gd name="T30" fmla="*/ 67 w 421"/>
                  <a:gd name="T31" fmla="*/ 270 h 270"/>
                  <a:gd name="T32" fmla="*/ 75 w 421"/>
                  <a:gd name="T33" fmla="*/ 270 h 270"/>
                  <a:gd name="T34" fmla="*/ 345 w 421"/>
                  <a:gd name="T35" fmla="*/ 270 h 270"/>
                  <a:gd name="T36" fmla="*/ 353 w 421"/>
                  <a:gd name="T37" fmla="*/ 270 h 270"/>
                  <a:gd name="T38" fmla="*/ 360 w 421"/>
                  <a:gd name="T39" fmla="*/ 269 h 270"/>
                  <a:gd name="T40" fmla="*/ 367 w 421"/>
                  <a:gd name="T41" fmla="*/ 267 h 270"/>
                  <a:gd name="T42" fmla="*/ 374 w 421"/>
                  <a:gd name="T43" fmla="*/ 264 h 270"/>
                  <a:gd name="T44" fmla="*/ 381 w 421"/>
                  <a:gd name="T45" fmla="*/ 261 h 270"/>
                  <a:gd name="T46" fmla="*/ 387 w 421"/>
                  <a:gd name="T47" fmla="*/ 257 h 270"/>
                  <a:gd name="T48" fmla="*/ 393 w 421"/>
                  <a:gd name="T49" fmla="*/ 253 h 270"/>
                  <a:gd name="T50" fmla="*/ 399 w 421"/>
                  <a:gd name="T51" fmla="*/ 248 h 270"/>
                  <a:gd name="T52" fmla="*/ 403 w 421"/>
                  <a:gd name="T53" fmla="*/ 243 h 270"/>
                  <a:gd name="T54" fmla="*/ 408 w 421"/>
                  <a:gd name="T55" fmla="*/ 238 h 270"/>
                  <a:gd name="T56" fmla="*/ 411 w 421"/>
                  <a:gd name="T57" fmla="*/ 231 h 270"/>
                  <a:gd name="T58" fmla="*/ 415 w 421"/>
                  <a:gd name="T59" fmla="*/ 225 h 270"/>
                  <a:gd name="T60" fmla="*/ 417 w 421"/>
                  <a:gd name="T61" fmla="*/ 218 h 270"/>
                  <a:gd name="T62" fmla="*/ 419 w 421"/>
                  <a:gd name="T63" fmla="*/ 211 h 270"/>
                  <a:gd name="T64" fmla="*/ 421 w 421"/>
                  <a:gd name="T65" fmla="*/ 203 h 270"/>
                  <a:gd name="T66" fmla="*/ 421 w 421"/>
                  <a:gd name="T67" fmla="*/ 196 h 270"/>
                  <a:gd name="T68" fmla="*/ 421 w 421"/>
                  <a:gd name="T69" fmla="*/ 0 h 270"/>
                  <a:gd name="T70" fmla="*/ 0 w 421"/>
                  <a:gd name="T71" fmla="*/ 0 h 270"/>
                  <a:gd name="T72" fmla="*/ 0 w 421"/>
                  <a:gd name="T73" fmla="*/ 19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270">
                    <a:moveTo>
                      <a:pt x="0" y="196"/>
                    </a:moveTo>
                    <a:lnTo>
                      <a:pt x="0" y="203"/>
                    </a:lnTo>
                    <a:lnTo>
                      <a:pt x="1" y="211"/>
                    </a:lnTo>
                    <a:lnTo>
                      <a:pt x="4" y="218"/>
                    </a:lnTo>
                    <a:lnTo>
                      <a:pt x="6" y="225"/>
                    </a:lnTo>
                    <a:lnTo>
                      <a:pt x="9" y="231"/>
                    </a:lnTo>
                    <a:lnTo>
                      <a:pt x="13" y="238"/>
                    </a:lnTo>
                    <a:lnTo>
                      <a:pt x="17" y="243"/>
                    </a:lnTo>
                    <a:lnTo>
                      <a:pt x="22" y="248"/>
                    </a:lnTo>
                    <a:lnTo>
                      <a:pt x="27" y="254"/>
                    </a:lnTo>
                    <a:lnTo>
                      <a:pt x="33" y="257"/>
                    </a:lnTo>
                    <a:lnTo>
                      <a:pt x="39" y="262"/>
                    </a:lnTo>
                    <a:lnTo>
                      <a:pt x="45" y="264"/>
                    </a:lnTo>
                    <a:lnTo>
                      <a:pt x="52" y="267"/>
                    </a:lnTo>
                    <a:lnTo>
                      <a:pt x="60" y="269"/>
                    </a:lnTo>
                    <a:lnTo>
                      <a:pt x="67" y="270"/>
                    </a:lnTo>
                    <a:lnTo>
                      <a:pt x="75" y="270"/>
                    </a:lnTo>
                    <a:lnTo>
                      <a:pt x="345" y="270"/>
                    </a:lnTo>
                    <a:lnTo>
                      <a:pt x="353" y="270"/>
                    </a:lnTo>
                    <a:lnTo>
                      <a:pt x="360" y="269"/>
                    </a:lnTo>
                    <a:lnTo>
                      <a:pt x="367" y="267"/>
                    </a:lnTo>
                    <a:lnTo>
                      <a:pt x="374" y="264"/>
                    </a:lnTo>
                    <a:lnTo>
                      <a:pt x="381" y="261"/>
                    </a:lnTo>
                    <a:lnTo>
                      <a:pt x="387" y="257"/>
                    </a:lnTo>
                    <a:lnTo>
                      <a:pt x="393" y="253"/>
                    </a:lnTo>
                    <a:lnTo>
                      <a:pt x="399" y="248"/>
                    </a:lnTo>
                    <a:lnTo>
                      <a:pt x="403" y="243"/>
                    </a:lnTo>
                    <a:lnTo>
                      <a:pt x="408" y="238"/>
                    </a:lnTo>
                    <a:lnTo>
                      <a:pt x="411" y="231"/>
                    </a:lnTo>
                    <a:lnTo>
                      <a:pt x="415" y="225"/>
                    </a:lnTo>
                    <a:lnTo>
                      <a:pt x="417" y="218"/>
                    </a:lnTo>
                    <a:lnTo>
                      <a:pt x="419" y="211"/>
                    </a:lnTo>
                    <a:lnTo>
                      <a:pt x="421" y="203"/>
                    </a:lnTo>
                    <a:lnTo>
                      <a:pt x="421" y="196"/>
                    </a:lnTo>
                    <a:lnTo>
                      <a:pt x="421" y="0"/>
                    </a:lnTo>
                    <a:lnTo>
                      <a:pt x="0" y="0"/>
                    </a:lnTo>
                    <a:lnTo>
                      <a:pt x="0" y="1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4747">
                <a:extLst>
                  <a:ext uri="{FF2B5EF4-FFF2-40B4-BE49-F238E27FC236}">
                    <a16:creationId xmlns:a16="http://schemas.microsoft.com/office/drawing/2014/main" xmlns="" id="{F758515F-16FE-4797-8759-F22F8BD65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613" y="4137025"/>
                <a:ext cx="133350" cy="85725"/>
              </a:xfrm>
              <a:custGeom>
                <a:avLst/>
                <a:gdLst>
                  <a:gd name="T0" fmla="*/ 0 w 421"/>
                  <a:gd name="T1" fmla="*/ 194 h 270"/>
                  <a:gd name="T2" fmla="*/ 0 w 421"/>
                  <a:gd name="T3" fmla="*/ 203 h 270"/>
                  <a:gd name="T4" fmla="*/ 2 w 421"/>
                  <a:gd name="T5" fmla="*/ 209 h 270"/>
                  <a:gd name="T6" fmla="*/ 4 w 421"/>
                  <a:gd name="T7" fmla="*/ 218 h 270"/>
                  <a:gd name="T8" fmla="*/ 6 w 421"/>
                  <a:gd name="T9" fmla="*/ 225 h 270"/>
                  <a:gd name="T10" fmla="*/ 10 w 421"/>
                  <a:gd name="T11" fmla="*/ 230 h 270"/>
                  <a:gd name="T12" fmla="*/ 13 w 421"/>
                  <a:gd name="T13" fmla="*/ 237 h 270"/>
                  <a:gd name="T14" fmla="*/ 18 w 421"/>
                  <a:gd name="T15" fmla="*/ 243 h 270"/>
                  <a:gd name="T16" fmla="*/ 22 w 421"/>
                  <a:gd name="T17" fmla="*/ 248 h 270"/>
                  <a:gd name="T18" fmla="*/ 27 w 421"/>
                  <a:gd name="T19" fmla="*/ 252 h 270"/>
                  <a:gd name="T20" fmla="*/ 33 w 421"/>
                  <a:gd name="T21" fmla="*/ 257 h 270"/>
                  <a:gd name="T22" fmla="*/ 40 w 421"/>
                  <a:gd name="T23" fmla="*/ 262 h 270"/>
                  <a:gd name="T24" fmla="*/ 46 w 421"/>
                  <a:gd name="T25" fmla="*/ 264 h 270"/>
                  <a:gd name="T26" fmla="*/ 53 w 421"/>
                  <a:gd name="T27" fmla="*/ 266 h 270"/>
                  <a:gd name="T28" fmla="*/ 61 w 421"/>
                  <a:gd name="T29" fmla="*/ 269 h 270"/>
                  <a:gd name="T30" fmla="*/ 68 w 421"/>
                  <a:gd name="T31" fmla="*/ 270 h 270"/>
                  <a:gd name="T32" fmla="*/ 76 w 421"/>
                  <a:gd name="T33" fmla="*/ 270 h 270"/>
                  <a:gd name="T34" fmla="*/ 346 w 421"/>
                  <a:gd name="T35" fmla="*/ 270 h 270"/>
                  <a:gd name="T36" fmla="*/ 354 w 421"/>
                  <a:gd name="T37" fmla="*/ 270 h 270"/>
                  <a:gd name="T38" fmla="*/ 361 w 421"/>
                  <a:gd name="T39" fmla="*/ 269 h 270"/>
                  <a:gd name="T40" fmla="*/ 368 w 421"/>
                  <a:gd name="T41" fmla="*/ 266 h 270"/>
                  <a:gd name="T42" fmla="*/ 375 w 421"/>
                  <a:gd name="T43" fmla="*/ 264 h 270"/>
                  <a:gd name="T44" fmla="*/ 381 w 421"/>
                  <a:gd name="T45" fmla="*/ 260 h 270"/>
                  <a:gd name="T46" fmla="*/ 387 w 421"/>
                  <a:gd name="T47" fmla="*/ 257 h 270"/>
                  <a:gd name="T48" fmla="*/ 393 w 421"/>
                  <a:gd name="T49" fmla="*/ 252 h 270"/>
                  <a:gd name="T50" fmla="*/ 399 w 421"/>
                  <a:gd name="T51" fmla="*/ 248 h 270"/>
                  <a:gd name="T52" fmla="*/ 403 w 421"/>
                  <a:gd name="T53" fmla="*/ 243 h 270"/>
                  <a:gd name="T54" fmla="*/ 408 w 421"/>
                  <a:gd name="T55" fmla="*/ 237 h 270"/>
                  <a:gd name="T56" fmla="*/ 412 w 421"/>
                  <a:gd name="T57" fmla="*/ 230 h 270"/>
                  <a:gd name="T58" fmla="*/ 415 w 421"/>
                  <a:gd name="T59" fmla="*/ 225 h 270"/>
                  <a:gd name="T60" fmla="*/ 417 w 421"/>
                  <a:gd name="T61" fmla="*/ 218 h 270"/>
                  <a:gd name="T62" fmla="*/ 420 w 421"/>
                  <a:gd name="T63" fmla="*/ 211 h 270"/>
                  <a:gd name="T64" fmla="*/ 421 w 421"/>
                  <a:gd name="T65" fmla="*/ 203 h 270"/>
                  <a:gd name="T66" fmla="*/ 421 w 421"/>
                  <a:gd name="T67" fmla="*/ 196 h 270"/>
                  <a:gd name="T68" fmla="*/ 421 w 421"/>
                  <a:gd name="T69" fmla="*/ 0 h 270"/>
                  <a:gd name="T70" fmla="*/ 0 w 421"/>
                  <a:gd name="T71" fmla="*/ 0 h 270"/>
                  <a:gd name="T72" fmla="*/ 0 w 421"/>
                  <a:gd name="T73" fmla="*/ 194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270">
                    <a:moveTo>
                      <a:pt x="0" y="194"/>
                    </a:moveTo>
                    <a:lnTo>
                      <a:pt x="0" y="203"/>
                    </a:lnTo>
                    <a:lnTo>
                      <a:pt x="2" y="209"/>
                    </a:lnTo>
                    <a:lnTo>
                      <a:pt x="4" y="218"/>
                    </a:lnTo>
                    <a:lnTo>
                      <a:pt x="6" y="225"/>
                    </a:lnTo>
                    <a:lnTo>
                      <a:pt x="10" y="230"/>
                    </a:lnTo>
                    <a:lnTo>
                      <a:pt x="13" y="237"/>
                    </a:lnTo>
                    <a:lnTo>
                      <a:pt x="18" y="243"/>
                    </a:lnTo>
                    <a:lnTo>
                      <a:pt x="22" y="248"/>
                    </a:lnTo>
                    <a:lnTo>
                      <a:pt x="27" y="252"/>
                    </a:lnTo>
                    <a:lnTo>
                      <a:pt x="33" y="257"/>
                    </a:lnTo>
                    <a:lnTo>
                      <a:pt x="40" y="262"/>
                    </a:lnTo>
                    <a:lnTo>
                      <a:pt x="46" y="264"/>
                    </a:lnTo>
                    <a:lnTo>
                      <a:pt x="53" y="266"/>
                    </a:lnTo>
                    <a:lnTo>
                      <a:pt x="61" y="269"/>
                    </a:lnTo>
                    <a:lnTo>
                      <a:pt x="68" y="270"/>
                    </a:lnTo>
                    <a:lnTo>
                      <a:pt x="76" y="270"/>
                    </a:lnTo>
                    <a:lnTo>
                      <a:pt x="346" y="270"/>
                    </a:lnTo>
                    <a:lnTo>
                      <a:pt x="354" y="270"/>
                    </a:lnTo>
                    <a:lnTo>
                      <a:pt x="361" y="269"/>
                    </a:lnTo>
                    <a:lnTo>
                      <a:pt x="368" y="266"/>
                    </a:lnTo>
                    <a:lnTo>
                      <a:pt x="375" y="264"/>
                    </a:lnTo>
                    <a:lnTo>
                      <a:pt x="381" y="260"/>
                    </a:lnTo>
                    <a:lnTo>
                      <a:pt x="387" y="257"/>
                    </a:lnTo>
                    <a:lnTo>
                      <a:pt x="393" y="252"/>
                    </a:lnTo>
                    <a:lnTo>
                      <a:pt x="399" y="248"/>
                    </a:lnTo>
                    <a:lnTo>
                      <a:pt x="403" y="243"/>
                    </a:lnTo>
                    <a:lnTo>
                      <a:pt x="408" y="237"/>
                    </a:lnTo>
                    <a:lnTo>
                      <a:pt x="412" y="230"/>
                    </a:lnTo>
                    <a:lnTo>
                      <a:pt x="415" y="225"/>
                    </a:lnTo>
                    <a:lnTo>
                      <a:pt x="417" y="218"/>
                    </a:lnTo>
                    <a:lnTo>
                      <a:pt x="420" y="211"/>
                    </a:lnTo>
                    <a:lnTo>
                      <a:pt x="421" y="203"/>
                    </a:lnTo>
                    <a:lnTo>
                      <a:pt x="421" y="196"/>
                    </a:lnTo>
                    <a:lnTo>
                      <a:pt x="421" y="0"/>
                    </a:lnTo>
                    <a:lnTo>
                      <a:pt x="0" y="0"/>
                    </a:lnTo>
                    <a:lnTo>
                      <a:pt x="0" y="1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4748">
                <a:extLst>
                  <a:ext uri="{FF2B5EF4-FFF2-40B4-BE49-F238E27FC236}">
                    <a16:creationId xmlns:a16="http://schemas.microsoft.com/office/drawing/2014/main" xmlns="" id="{AA9389B3-8264-4B54-B49F-656C9DF21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613" y="4089400"/>
                <a:ext cx="133350" cy="38100"/>
              </a:xfrm>
              <a:custGeom>
                <a:avLst/>
                <a:gdLst>
                  <a:gd name="T0" fmla="*/ 346 w 421"/>
                  <a:gd name="T1" fmla="*/ 0 h 121"/>
                  <a:gd name="T2" fmla="*/ 76 w 421"/>
                  <a:gd name="T3" fmla="*/ 0 h 121"/>
                  <a:gd name="T4" fmla="*/ 68 w 421"/>
                  <a:gd name="T5" fmla="*/ 1 h 121"/>
                  <a:gd name="T6" fmla="*/ 61 w 421"/>
                  <a:gd name="T7" fmla="*/ 3 h 121"/>
                  <a:gd name="T8" fmla="*/ 53 w 421"/>
                  <a:gd name="T9" fmla="*/ 4 h 121"/>
                  <a:gd name="T10" fmla="*/ 46 w 421"/>
                  <a:gd name="T11" fmla="*/ 6 h 121"/>
                  <a:gd name="T12" fmla="*/ 40 w 421"/>
                  <a:gd name="T13" fmla="*/ 10 h 121"/>
                  <a:gd name="T14" fmla="*/ 33 w 421"/>
                  <a:gd name="T15" fmla="*/ 13 h 121"/>
                  <a:gd name="T16" fmla="*/ 27 w 421"/>
                  <a:gd name="T17" fmla="*/ 18 h 121"/>
                  <a:gd name="T18" fmla="*/ 22 w 421"/>
                  <a:gd name="T19" fmla="*/ 22 h 121"/>
                  <a:gd name="T20" fmla="*/ 18 w 421"/>
                  <a:gd name="T21" fmla="*/ 28 h 121"/>
                  <a:gd name="T22" fmla="*/ 13 w 421"/>
                  <a:gd name="T23" fmla="*/ 34 h 121"/>
                  <a:gd name="T24" fmla="*/ 10 w 421"/>
                  <a:gd name="T25" fmla="*/ 40 h 121"/>
                  <a:gd name="T26" fmla="*/ 6 w 421"/>
                  <a:gd name="T27" fmla="*/ 47 h 121"/>
                  <a:gd name="T28" fmla="*/ 4 w 421"/>
                  <a:gd name="T29" fmla="*/ 54 h 121"/>
                  <a:gd name="T30" fmla="*/ 2 w 421"/>
                  <a:gd name="T31" fmla="*/ 61 h 121"/>
                  <a:gd name="T32" fmla="*/ 0 w 421"/>
                  <a:gd name="T33" fmla="*/ 67 h 121"/>
                  <a:gd name="T34" fmla="*/ 0 w 421"/>
                  <a:gd name="T35" fmla="*/ 76 h 121"/>
                  <a:gd name="T36" fmla="*/ 0 w 421"/>
                  <a:gd name="T37" fmla="*/ 121 h 121"/>
                  <a:gd name="T38" fmla="*/ 421 w 421"/>
                  <a:gd name="T39" fmla="*/ 121 h 121"/>
                  <a:gd name="T40" fmla="*/ 421 w 421"/>
                  <a:gd name="T41" fmla="*/ 76 h 121"/>
                  <a:gd name="T42" fmla="*/ 421 w 421"/>
                  <a:gd name="T43" fmla="*/ 67 h 121"/>
                  <a:gd name="T44" fmla="*/ 420 w 421"/>
                  <a:gd name="T45" fmla="*/ 61 h 121"/>
                  <a:gd name="T46" fmla="*/ 417 w 421"/>
                  <a:gd name="T47" fmla="*/ 54 h 121"/>
                  <a:gd name="T48" fmla="*/ 415 w 421"/>
                  <a:gd name="T49" fmla="*/ 47 h 121"/>
                  <a:gd name="T50" fmla="*/ 412 w 421"/>
                  <a:gd name="T51" fmla="*/ 40 h 121"/>
                  <a:gd name="T52" fmla="*/ 408 w 421"/>
                  <a:gd name="T53" fmla="*/ 34 h 121"/>
                  <a:gd name="T54" fmla="*/ 403 w 421"/>
                  <a:gd name="T55" fmla="*/ 28 h 121"/>
                  <a:gd name="T56" fmla="*/ 399 w 421"/>
                  <a:gd name="T57" fmla="*/ 22 h 121"/>
                  <a:gd name="T58" fmla="*/ 393 w 421"/>
                  <a:gd name="T59" fmla="*/ 18 h 121"/>
                  <a:gd name="T60" fmla="*/ 387 w 421"/>
                  <a:gd name="T61" fmla="*/ 13 h 121"/>
                  <a:gd name="T62" fmla="*/ 381 w 421"/>
                  <a:gd name="T63" fmla="*/ 10 h 121"/>
                  <a:gd name="T64" fmla="*/ 375 w 421"/>
                  <a:gd name="T65" fmla="*/ 6 h 121"/>
                  <a:gd name="T66" fmla="*/ 368 w 421"/>
                  <a:gd name="T67" fmla="*/ 4 h 121"/>
                  <a:gd name="T68" fmla="*/ 361 w 421"/>
                  <a:gd name="T69" fmla="*/ 3 h 121"/>
                  <a:gd name="T70" fmla="*/ 354 w 421"/>
                  <a:gd name="T71" fmla="*/ 1 h 121"/>
                  <a:gd name="T72" fmla="*/ 346 w 421"/>
                  <a:gd name="T7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121">
                    <a:moveTo>
                      <a:pt x="346" y="0"/>
                    </a:moveTo>
                    <a:lnTo>
                      <a:pt x="76" y="0"/>
                    </a:lnTo>
                    <a:lnTo>
                      <a:pt x="68" y="1"/>
                    </a:lnTo>
                    <a:lnTo>
                      <a:pt x="61" y="3"/>
                    </a:lnTo>
                    <a:lnTo>
                      <a:pt x="53" y="4"/>
                    </a:lnTo>
                    <a:lnTo>
                      <a:pt x="46" y="6"/>
                    </a:lnTo>
                    <a:lnTo>
                      <a:pt x="40" y="10"/>
                    </a:lnTo>
                    <a:lnTo>
                      <a:pt x="33" y="13"/>
                    </a:lnTo>
                    <a:lnTo>
                      <a:pt x="27" y="18"/>
                    </a:lnTo>
                    <a:lnTo>
                      <a:pt x="22" y="22"/>
                    </a:lnTo>
                    <a:lnTo>
                      <a:pt x="18" y="28"/>
                    </a:lnTo>
                    <a:lnTo>
                      <a:pt x="13" y="34"/>
                    </a:lnTo>
                    <a:lnTo>
                      <a:pt x="10" y="40"/>
                    </a:lnTo>
                    <a:lnTo>
                      <a:pt x="6" y="47"/>
                    </a:lnTo>
                    <a:lnTo>
                      <a:pt x="4" y="54"/>
                    </a:lnTo>
                    <a:lnTo>
                      <a:pt x="2" y="61"/>
                    </a:lnTo>
                    <a:lnTo>
                      <a:pt x="0" y="67"/>
                    </a:lnTo>
                    <a:lnTo>
                      <a:pt x="0" y="76"/>
                    </a:lnTo>
                    <a:lnTo>
                      <a:pt x="0" y="121"/>
                    </a:lnTo>
                    <a:lnTo>
                      <a:pt x="421" y="121"/>
                    </a:lnTo>
                    <a:lnTo>
                      <a:pt x="421" y="76"/>
                    </a:lnTo>
                    <a:lnTo>
                      <a:pt x="421" y="67"/>
                    </a:lnTo>
                    <a:lnTo>
                      <a:pt x="420" y="61"/>
                    </a:lnTo>
                    <a:lnTo>
                      <a:pt x="417" y="54"/>
                    </a:lnTo>
                    <a:lnTo>
                      <a:pt x="415" y="47"/>
                    </a:lnTo>
                    <a:lnTo>
                      <a:pt x="412" y="40"/>
                    </a:lnTo>
                    <a:lnTo>
                      <a:pt x="408" y="34"/>
                    </a:lnTo>
                    <a:lnTo>
                      <a:pt x="403" y="28"/>
                    </a:lnTo>
                    <a:lnTo>
                      <a:pt x="399" y="22"/>
                    </a:lnTo>
                    <a:lnTo>
                      <a:pt x="393" y="18"/>
                    </a:lnTo>
                    <a:lnTo>
                      <a:pt x="387" y="13"/>
                    </a:lnTo>
                    <a:lnTo>
                      <a:pt x="381" y="10"/>
                    </a:lnTo>
                    <a:lnTo>
                      <a:pt x="375" y="6"/>
                    </a:lnTo>
                    <a:lnTo>
                      <a:pt x="368" y="4"/>
                    </a:lnTo>
                    <a:lnTo>
                      <a:pt x="361" y="3"/>
                    </a:lnTo>
                    <a:lnTo>
                      <a:pt x="354" y="1"/>
                    </a:lnTo>
                    <a:lnTo>
                      <a:pt x="3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4749">
                <a:extLst>
                  <a:ext uri="{FF2B5EF4-FFF2-40B4-BE49-F238E27FC236}">
                    <a16:creationId xmlns:a16="http://schemas.microsoft.com/office/drawing/2014/main" xmlns="" id="{201F7A12-BAD4-41B3-A709-6E87F6ED5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013" y="4137025"/>
                <a:ext cx="134938" cy="85725"/>
              </a:xfrm>
              <a:custGeom>
                <a:avLst/>
                <a:gdLst>
                  <a:gd name="T0" fmla="*/ 0 w 421"/>
                  <a:gd name="T1" fmla="*/ 194 h 270"/>
                  <a:gd name="T2" fmla="*/ 0 w 421"/>
                  <a:gd name="T3" fmla="*/ 203 h 270"/>
                  <a:gd name="T4" fmla="*/ 1 w 421"/>
                  <a:gd name="T5" fmla="*/ 209 h 270"/>
                  <a:gd name="T6" fmla="*/ 4 w 421"/>
                  <a:gd name="T7" fmla="*/ 218 h 270"/>
                  <a:gd name="T8" fmla="*/ 6 w 421"/>
                  <a:gd name="T9" fmla="*/ 225 h 270"/>
                  <a:gd name="T10" fmla="*/ 9 w 421"/>
                  <a:gd name="T11" fmla="*/ 230 h 270"/>
                  <a:gd name="T12" fmla="*/ 13 w 421"/>
                  <a:gd name="T13" fmla="*/ 237 h 270"/>
                  <a:gd name="T14" fmla="*/ 17 w 421"/>
                  <a:gd name="T15" fmla="*/ 243 h 270"/>
                  <a:gd name="T16" fmla="*/ 22 w 421"/>
                  <a:gd name="T17" fmla="*/ 248 h 270"/>
                  <a:gd name="T18" fmla="*/ 27 w 421"/>
                  <a:gd name="T19" fmla="*/ 252 h 270"/>
                  <a:gd name="T20" fmla="*/ 33 w 421"/>
                  <a:gd name="T21" fmla="*/ 257 h 270"/>
                  <a:gd name="T22" fmla="*/ 39 w 421"/>
                  <a:gd name="T23" fmla="*/ 262 h 270"/>
                  <a:gd name="T24" fmla="*/ 45 w 421"/>
                  <a:gd name="T25" fmla="*/ 264 h 270"/>
                  <a:gd name="T26" fmla="*/ 52 w 421"/>
                  <a:gd name="T27" fmla="*/ 266 h 270"/>
                  <a:gd name="T28" fmla="*/ 60 w 421"/>
                  <a:gd name="T29" fmla="*/ 269 h 270"/>
                  <a:gd name="T30" fmla="*/ 67 w 421"/>
                  <a:gd name="T31" fmla="*/ 270 h 270"/>
                  <a:gd name="T32" fmla="*/ 75 w 421"/>
                  <a:gd name="T33" fmla="*/ 270 h 270"/>
                  <a:gd name="T34" fmla="*/ 345 w 421"/>
                  <a:gd name="T35" fmla="*/ 270 h 270"/>
                  <a:gd name="T36" fmla="*/ 353 w 421"/>
                  <a:gd name="T37" fmla="*/ 270 h 270"/>
                  <a:gd name="T38" fmla="*/ 360 w 421"/>
                  <a:gd name="T39" fmla="*/ 269 h 270"/>
                  <a:gd name="T40" fmla="*/ 367 w 421"/>
                  <a:gd name="T41" fmla="*/ 266 h 270"/>
                  <a:gd name="T42" fmla="*/ 374 w 421"/>
                  <a:gd name="T43" fmla="*/ 264 h 270"/>
                  <a:gd name="T44" fmla="*/ 381 w 421"/>
                  <a:gd name="T45" fmla="*/ 260 h 270"/>
                  <a:gd name="T46" fmla="*/ 387 w 421"/>
                  <a:gd name="T47" fmla="*/ 257 h 270"/>
                  <a:gd name="T48" fmla="*/ 393 w 421"/>
                  <a:gd name="T49" fmla="*/ 252 h 270"/>
                  <a:gd name="T50" fmla="*/ 399 w 421"/>
                  <a:gd name="T51" fmla="*/ 248 h 270"/>
                  <a:gd name="T52" fmla="*/ 403 w 421"/>
                  <a:gd name="T53" fmla="*/ 243 h 270"/>
                  <a:gd name="T54" fmla="*/ 408 w 421"/>
                  <a:gd name="T55" fmla="*/ 237 h 270"/>
                  <a:gd name="T56" fmla="*/ 411 w 421"/>
                  <a:gd name="T57" fmla="*/ 230 h 270"/>
                  <a:gd name="T58" fmla="*/ 415 w 421"/>
                  <a:gd name="T59" fmla="*/ 225 h 270"/>
                  <a:gd name="T60" fmla="*/ 417 w 421"/>
                  <a:gd name="T61" fmla="*/ 218 h 270"/>
                  <a:gd name="T62" fmla="*/ 419 w 421"/>
                  <a:gd name="T63" fmla="*/ 211 h 270"/>
                  <a:gd name="T64" fmla="*/ 421 w 421"/>
                  <a:gd name="T65" fmla="*/ 203 h 270"/>
                  <a:gd name="T66" fmla="*/ 421 w 421"/>
                  <a:gd name="T67" fmla="*/ 196 h 270"/>
                  <a:gd name="T68" fmla="*/ 421 w 421"/>
                  <a:gd name="T69" fmla="*/ 0 h 270"/>
                  <a:gd name="T70" fmla="*/ 0 w 421"/>
                  <a:gd name="T71" fmla="*/ 0 h 270"/>
                  <a:gd name="T72" fmla="*/ 0 w 421"/>
                  <a:gd name="T73" fmla="*/ 194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270">
                    <a:moveTo>
                      <a:pt x="0" y="194"/>
                    </a:moveTo>
                    <a:lnTo>
                      <a:pt x="0" y="203"/>
                    </a:lnTo>
                    <a:lnTo>
                      <a:pt x="1" y="209"/>
                    </a:lnTo>
                    <a:lnTo>
                      <a:pt x="4" y="218"/>
                    </a:lnTo>
                    <a:lnTo>
                      <a:pt x="6" y="225"/>
                    </a:lnTo>
                    <a:lnTo>
                      <a:pt x="9" y="230"/>
                    </a:lnTo>
                    <a:lnTo>
                      <a:pt x="13" y="237"/>
                    </a:lnTo>
                    <a:lnTo>
                      <a:pt x="17" y="243"/>
                    </a:lnTo>
                    <a:lnTo>
                      <a:pt x="22" y="248"/>
                    </a:lnTo>
                    <a:lnTo>
                      <a:pt x="27" y="252"/>
                    </a:lnTo>
                    <a:lnTo>
                      <a:pt x="33" y="257"/>
                    </a:lnTo>
                    <a:lnTo>
                      <a:pt x="39" y="262"/>
                    </a:lnTo>
                    <a:lnTo>
                      <a:pt x="45" y="264"/>
                    </a:lnTo>
                    <a:lnTo>
                      <a:pt x="52" y="266"/>
                    </a:lnTo>
                    <a:lnTo>
                      <a:pt x="60" y="269"/>
                    </a:lnTo>
                    <a:lnTo>
                      <a:pt x="67" y="270"/>
                    </a:lnTo>
                    <a:lnTo>
                      <a:pt x="75" y="270"/>
                    </a:lnTo>
                    <a:lnTo>
                      <a:pt x="345" y="270"/>
                    </a:lnTo>
                    <a:lnTo>
                      <a:pt x="353" y="270"/>
                    </a:lnTo>
                    <a:lnTo>
                      <a:pt x="360" y="269"/>
                    </a:lnTo>
                    <a:lnTo>
                      <a:pt x="367" y="266"/>
                    </a:lnTo>
                    <a:lnTo>
                      <a:pt x="374" y="264"/>
                    </a:lnTo>
                    <a:lnTo>
                      <a:pt x="381" y="260"/>
                    </a:lnTo>
                    <a:lnTo>
                      <a:pt x="387" y="257"/>
                    </a:lnTo>
                    <a:lnTo>
                      <a:pt x="393" y="252"/>
                    </a:lnTo>
                    <a:lnTo>
                      <a:pt x="399" y="248"/>
                    </a:lnTo>
                    <a:lnTo>
                      <a:pt x="403" y="243"/>
                    </a:lnTo>
                    <a:lnTo>
                      <a:pt x="408" y="237"/>
                    </a:lnTo>
                    <a:lnTo>
                      <a:pt x="411" y="230"/>
                    </a:lnTo>
                    <a:lnTo>
                      <a:pt x="415" y="225"/>
                    </a:lnTo>
                    <a:lnTo>
                      <a:pt x="417" y="218"/>
                    </a:lnTo>
                    <a:lnTo>
                      <a:pt x="419" y="211"/>
                    </a:lnTo>
                    <a:lnTo>
                      <a:pt x="421" y="203"/>
                    </a:lnTo>
                    <a:lnTo>
                      <a:pt x="421" y="196"/>
                    </a:lnTo>
                    <a:lnTo>
                      <a:pt x="421" y="0"/>
                    </a:lnTo>
                    <a:lnTo>
                      <a:pt x="0" y="0"/>
                    </a:lnTo>
                    <a:lnTo>
                      <a:pt x="0" y="1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4750">
                <a:extLst>
                  <a:ext uri="{FF2B5EF4-FFF2-40B4-BE49-F238E27FC236}">
                    <a16:creationId xmlns:a16="http://schemas.microsoft.com/office/drawing/2014/main" xmlns="" id="{6F90758B-F302-4197-BD9D-915D8891B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013" y="4089400"/>
                <a:ext cx="134938" cy="38100"/>
              </a:xfrm>
              <a:custGeom>
                <a:avLst/>
                <a:gdLst>
                  <a:gd name="T0" fmla="*/ 345 w 421"/>
                  <a:gd name="T1" fmla="*/ 0 h 121"/>
                  <a:gd name="T2" fmla="*/ 75 w 421"/>
                  <a:gd name="T3" fmla="*/ 0 h 121"/>
                  <a:gd name="T4" fmla="*/ 67 w 421"/>
                  <a:gd name="T5" fmla="*/ 1 h 121"/>
                  <a:gd name="T6" fmla="*/ 60 w 421"/>
                  <a:gd name="T7" fmla="*/ 3 h 121"/>
                  <a:gd name="T8" fmla="*/ 52 w 421"/>
                  <a:gd name="T9" fmla="*/ 4 h 121"/>
                  <a:gd name="T10" fmla="*/ 45 w 421"/>
                  <a:gd name="T11" fmla="*/ 6 h 121"/>
                  <a:gd name="T12" fmla="*/ 39 w 421"/>
                  <a:gd name="T13" fmla="*/ 10 h 121"/>
                  <a:gd name="T14" fmla="*/ 33 w 421"/>
                  <a:gd name="T15" fmla="*/ 13 h 121"/>
                  <a:gd name="T16" fmla="*/ 27 w 421"/>
                  <a:gd name="T17" fmla="*/ 18 h 121"/>
                  <a:gd name="T18" fmla="*/ 22 w 421"/>
                  <a:gd name="T19" fmla="*/ 22 h 121"/>
                  <a:gd name="T20" fmla="*/ 17 w 421"/>
                  <a:gd name="T21" fmla="*/ 28 h 121"/>
                  <a:gd name="T22" fmla="*/ 13 w 421"/>
                  <a:gd name="T23" fmla="*/ 34 h 121"/>
                  <a:gd name="T24" fmla="*/ 9 w 421"/>
                  <a:gd name="T25" fmla="*/ 40 h 121"/>
                  <a:gd name="T26" fmla="*/ 6 w 421"/>
                  <a:gd name="T27" fmla="*/ 47 h 121"/>
                  <a:gd name="T28" fmla="*/ 4 w 421"/>
                  <a:gd name="T29" fmla="*/ 54 h 121"/>
                  <a:gd name="T30" fmla="*/ 1 w 421"/>
                  <a:gd name="T31" fmla="*/ 61 h 121"/>
                  <a:gd name="T32" fmla="*/ 0 w 421"/>
                  <a:gd name="T33" fmla="*/ 67 h 121"/>
                  <a:gd name="T34" fmla="*/ 0 w 421"/>
                  <a:gd name="T35" fmla="*/ 76 h 121"/>
                  <a:gd name="T36" fmla="*/ 0 w 421"/>
                  <a:gd name="T37" fmla="*/ 121 h 121"/>
                  <a:gd name="T38" fmla="*/ 421 w 421"/>
                  <a:gd name="T39" fmla="*/ 121 h 121"/>
                  <a:gd name="T40" fmla="*/ 421 w 421"/>
                  <a:gd name="T41" fmla="*/ 76 h 121"/>
                  <a:gd name="T42" fmla="*/ 421 w 421"/>
                  <a:gd name="T43" fmla="*/ 67 h 121"/>
                  <a:gd name="T44" fmla="*/ 419 w 421"/>
                  <a:gd name="T45" fmla="*/ 61 h 121"/>
                  <a:gd name="T46" fmla="*/ 417 w 421"/>
                  <a:gd name="T47" fmla="*/ 54 h 121"/>
                  <a:gd name="T48" fmla="*/ 415 w 421"/>
                  <a:gd name="T49" fmla="*/ 47 h 121"/>
                  <a:gd name="T50" fmla="*/ 411 w 421"/>
                  <a:gd name="T51" fmla="*/ 40 h 121"/>
                  <a:gd name="T52" fmla="*/ 408 w 421"/>
                  <a:gd name="T53" fmla="*/ 34 h 121"/>
                  <a:gd name="T54" fmla="*/ 403 w 421"/>
                  <a:gd name="T55" fmla="*/ 28 h 121"/>
                  <a:gd name="T56" fmla="*/ 399 w 421"/>
                  <a:gd name="T57" fmla="*/ 22 h 121"/>
                  <a:gd name="T58" fmla="*/ 393 w 421"/>
                  <a:gd name="T59" fmla="*/ 18 h 121"/>
                  <a:gd name="T60" fmla="*/ 387 w 421"/>
                  <a:gd name="T61" fmla="*/ 13 h 121"/>
                  <a:gd name="T62" fmla="*/ 381 w 421"/>
                  <a:gd name="T63" fmla="*/ 10 h 121"/>
                  <a:gd name="T64" fmla="*/ 374 w 421"/>
                  <a:gd name="T65" fmla="*/ 6 h 121"/>
                  <a:gd name="T66" fmla="*/ 367 w 421"/>
                  <a:gd name="T67" fmla="*/ 4 h 121"/>
                  <a:gd name="T68" fmla="*/ 360 w 421"/>
                  <a:gd name="T69" fmla="*/ 3 h 121"/>
                  <a:gd name="T70" fmla="*/ 353 w 421"/>
                  <a:gd name="T71" fmla="*/ 1 h 121"/>
                  <a:gd name="T72" fmla="*/ 345 w 421"/>
                  <a:gd name="T7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1" h="121">
                    <a:moveTo>
                      <a:pt x="345" y="0"/>
                    </a:moveTo>
                    <a:lnTo>
                      <a:pt x="75" y="0"/>
                    </a:lnTo>
                    <a:lnTo>
                      <a:pt x="67" y="1"/>
                    </a:lnTo>
                    <a:lnTo>
                      <a:pt x="60" y="3"/>
                    </a:lnTo>
                    <a:lnTo>
                      <a:pt x="52" y="4"/>
                    </a:lnTo>
                    <a:lnTo>
                      <a:pt x="45" y="6"/>
                    </a:lnTo>
                    <a:lnTo>
                      <a:pt x="39" y="10"/>
                    </a:lnTo>
                    <a:lnTo>
                      <a:pt x="33" y="13"/>
                    </a:lnTo>
                    <a:lnTo>
                      <a:pt x="27" y="18"/>
                    </a:lnTo>
                    <a:lnTo>
                      <a:pt x="22" y="22"/>
                    </a:lnTo>
                    <a:lnTo>
                      <a:pt x="17" y="28"/>
                    </a:lnTo>
                    <a:lnTo>
                      <a:pt x="13" y="34"/>
                    </a:lnTo>
                    <a:lnTo>
                      <a:pt x="9" y="40"/>
                    </a:lnTo>
                    <a:lnTo>
                      <a:pt x="6" y="47"/>
                    </a:lnTo>
                    <a:lnTo>
                      <a:pt x="4" y="54"/>
                    </a:lnTo>
                    <a:lnTo>
                      <a:pt x="1" y="61"/>
                    </a:lnTo>
                    <a:lnTo>
                      <a:pt x="0" y="67"/>
                    </a:lnTo>
                    <a:lnTo>
                      <a:pt x="0" y="76"/>
                    </a:lnTo>
                    <a:lnTo>
                      <a:pt x="0" y="121"/>
                    </a:lnTo>
                    <a:lnTo>
                      <a:pt x="421" y="121"/>
                    </a:lnTo>
                    <a:lnTo>
                      <a:pt x="421" y="76"/>
                    </a:lnTo>
                    <a:lnTo>
                      <a:pt x="421" y="67"/>
                    </a:lnTo>
                    <a:lnTo>
                      <a:pt x="419" y="61"/>
                    </a:lnTo>
                    <a:lnTo>
                      <a:pt x="417" y="54"/>
                    </a:lnTo>
                    <a:lnTo>
                      <a:pt x="415" y="47"/>
                    </a:lnTo>
                    <a:lnTo>
                      <a:pt x="411" y="40"/>
                    </a:lnTo>
                    <a:lnTo>
                      <a:pt x="408" y="34"/>
                    </a:lnTo>
                    <a:lnTo>
                      <a:pt x="403" y="28"/>
                    </a:lnTo>
                    <a:lnTo>
                      <a:pt x="399" y="22"/>
                    </a:lnTo>
                    <a:lnTo>
                      <a:pt x="393" y="18"/>
                    </a:lnTo>
                    <a:lnTo>
                      <a:pt x="387" y="13"/>
                    </a:lnTo>
                    <a:lnTo>
                      <a:pt x="381" y="10"/>
                    </a:lnTo>
                    <a:lnTo>
                      <a:pt x="374" y="6"/>
                    </a:lnTo>
                    <a:lnTo>
                      <a:pt x="367" y="4"/>
                    </a:lnTo>
                    <a:lnTo>
                      <a:pt x="360" y="3"/>
                    </a:lnTo>
                    <a:lnTo>
                      <a:pt x="353" y="1"/>
                    </a:lnTo>
                    <a:lnTo>
                      <a:pt x="3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3" name="Rectangle 34">
            <a:extLst>
              <a:ext uri="{FF2B5EF4-FFF2-40B4-BE49-F238E27FC236}">
                <a16:creationId xmlns:a16="http://schemas.microsoft.com/office/drawing/2014/main" xmlns="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1089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: Shape 56">
            <a:extLst>
              <a:ext uri="{FF2B5EF4-FFF2-40B4-BE49-F238E27FC236}">
                <a16:creationId xmlns:a16="http://schemas.microsoft.com/office/drawing/2014/main" xmlns="" id="{E98BAF20-4A16-447D-82AF-B00D74FDE7E9}"/>
              </a:ext>
            </a:extLst>
          </p:cNvPr>
          <p:cNvSpPr/>
          <p:nvPr/>
        </p:nvSpPr>
        <p:spPr>
          <a:xfrm flipV="1">
            <a:off x="-27832" y="6007100"/>
            <a:ext cx="1184981" cy="849168"/>
          </a:xfrm>
          <a:custGeom>
            <a:avLst/>
            <a:gdLst>
              <a:gd name="connsiteX0" fmla="*/ 1176592 w 1184981"/>
              <a:gd name="connsiteY0" fmla="*/ 849112 h 849168"/>
              <a:gd name="connsiteX1" fmla="*/ 1184981 w 1184981"/>
              <a:gd name="connsiteY1" fmla="*/ 794657 h 849168"/>
              <a:gd name="connsiteX2" fmla="*/ 1184981 w 1184981"/>
              <a:gd name="connsiteY2" fmla="*/ 1476 h 849168"/>
              <a:gd name="connsiteX3" fmla="*/ 0 w 1184981"/>
              <a:gd name="connsiteY3" fmla="*/ 0 h 849168"/>
              <a:gd name="connsiteX4" fmla="*/ 0 w 1184981"/>
              <a:gd name="connsiteY4" fmla="*/ 544469 h 849168"/>
              <a:gd name="connsiteX5" fmla="*/ 59549 w 1184981"/>
              <a:gd name="connsiteY5" fmla="*/ 545886 h 849168"/>
              <a:gd name="connsiteX6" fmla="*/ 226860 w 1184981"/>
              <a:gd name="connsiteY6" fmla="*/ 544454 h 849168"/>
              <a:gd name="connsiteX7" fmla="*/ 1176592 w 1184981"/>
              <a:gd name="connsiteY7" fmla="*/ 849112 h 849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4981" h="849168">
                <a:moveTo>
                  <a:pt x="1176592" y="849112"/>
                </a:moveTo>
                <a:cubicBezTo>
                  <a:pt x="1184097" y="850234"/>
                  <a:pt x="1184940" y="834731"/>
                  <a:pt x="1184981" y="794657"/>
                </a:cubicBezTo>
                <a:lnTo>
                  <a:pt x="1184981" y="1476"/>
                </a:lnTo>
                <a:lnTo>
                  <a:pt x="0" y="0"/>
                </a:lnTo>
                <a:lnTo>
                  <a:pt x="0" y="544469"/>
                </a:lnTo>
                <a:lnTo>
                  <a:pt x="59549" y="545886"/>
                </a:lnTo>
                <a:cubicBezTo>
                  <a:pt x="112733" y="546255"/>
                  <a:pt x="168429" y="545781"/>
                  <a:pt x="226860" y="544454"/>
                </a:cubicBezTo>
                <a:cubicBezTo>
                  <a:pt x="986458" y="527196"/>
                  <a:pt x="1144073" y="844249"/>
                  <a:pt x="1176592" y="84911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34">
            <a:extLst>
              <a:ext uri="{FF2B5EF4-FFF2-40B4-BE49-F238E27FC236}">
                <a16:creationId xmlns:a16="http://schemas.microsoft.com/office/drawing/2014/main" xmlns="" id="{155DC282-20F4-415C-BFD1-CC8145E87C90}"/>
              </a:ext>
            </a:extLst>
          </p:cNvPr>
          <p:cNvSpPr/>
          <p:nvPr/>
        </p:nvSpPr>
        <p:spPr>
          <a:xfrm flipH="1" flipV="1">
            <a:off x="3695700" y="6007100"/>
            <a:ext cx="2575938" cy="850900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605342" y="525332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BA8C45E-8FA0-4167-B280-478FCF9C9782}"/>
              </a:ext>
            </a:extLst>
          </p:cNvPr>
          <p:cNvSpPr/>
          <p:nvPr/>
        </p:nvSpPr>
        <p:spPr>
          <a:xfrm>
            <a:off x="2841523" y="806246"/>
            <a:ext cx="9350477" cy="845574"/>
          </a:xfrm>
          <a:prstGeom prst="rect">
            <a:avLst/>
          </a:pr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1DFA55B-06B3-4979-8714-3ECB2AA1D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0387" y="841227"/>
            <a:ext cx="4965291" cy="77561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xecutive 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53CD5F5-799E-4D89-82A7-3A5DDDC6FC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6" name="Picture 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xmlns="" id="{1D8F474B-1150-494F-9BEB-289ACC4F21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908" b="98219" l="9939" r="95997">
                        <a14:foregroundMark x1="76507" y1="12250" x2="79350" y2="6255"/>
                        <a14:foregroundMark x1="79350" y1="6255" x2="80168" y2="5951"/>
                        <a14:foregroundMark x1="77826" y1="11772" x2="78531" y2="10165"/>
                        <a14:foregroundMark x1="79145" y1="37315" x2="78053" y2="41790"/>
                        <a14:foregroundMark x1="88833" y1="43267" x2="92245" y2="48306"/>
                        <a14:foregroundMark x1="92245" y1="48306" x2="93609" y2="54170"/>
                        <a14:foregroundMark x1="83693" y1="74935" x2="83693" y2="71937"/>
                        <a14:foregroundMark x1="95793" y1="60295" x2="96020" y2="68636"/>
                        <a14:foregroundMark x1="77758" y1="85838" x2="78599" y2="982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892"/>
          <a:stretch/>
        </p:blipFill>
        <p:spPr>
          <a:xfrm>
            <a:off x="191242" y="94367"/>
            <a:ext cx="4665893" cy="676363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23AF1DA8-2D4F-48A8-9C59-2ABC51E61DA0}"/>
              </a:ext>
            </a:extLst>
          </p:cNvPr>
          <p:cNvGrpSpPr/>
          <p:nvPr/>
        </p:nvGrpSpPr>
        <p:grpSpPr>
          <a:xfrm>
            <a:off x="11233702" y="983226"/>
            <a:ext cx="489458" cy="491614"/>
            <a:chOff x="9161463" y="2163763"/>
            <a:chExt cx="360363" cy="361950"/>
          </a:xfrm>
          <a:solidFill>
            <a:schemeClr val="bg1"/>
          </a:solidFill>
        </p:grpSpPr>
        <p:sp>
          <p:nvSpPr>
            <p:cNvPr id="9" name="Freeform 65">
              <a:extLst>
                <a:ext uri="{FF2B5EF4-FFF2-40B4-BE49-F238E27FC236}">
                  <a16:creationId xmlns:a16="http://schemas.microsoft.com/office/drawing/2014/main" xmlns="" id="{B8139E16-D857-4A41-AAB5-B9BAC40B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1013" y="2209801"/>
              <a:ext cx="46038" cy="217488"/>
            </a:xfrm>
            <a:custGeom>
              <a:avLst/>
              <a:gdLst>
                <a:gd name="T0" fmla="*/ 12 w 12"/>
                <a:gd name="T1" fmla="*/ 2 h 58"/>
                <a:gd name="T2" fmla="*/ 10 w 12"/>
                <a:gd name="T3" fmla="*/ 0 h 58"/>
                <a:gd name="T4" fmla="*/ 0 w 12"/>
                <a:gd name="T5" fmla="*/ 0 h 58"/>
                <a:gd name="T6" fmla="*/ 0 w 12"/>
                <a:gd name="T7" fmla="*/ 12 h 58"/>
                <a:gd name="T8" fmla="*/ 0 w 12"/>
                <a:gd name="T9" fmla="*/ 18 h 58"/>
                <a:gd name="T10" fmla="*/ 0 w 12"/>
                <a:gd name="T11" fmla="*/ 58 h 58"/>
                <a:gd name="T12" fmla="*/ 12 w 12"/>
                <a:gd name="T13" fmla="*/ 46 h 58"/>
                <a:gd name="T14" fmla="*/ 12 w 12"/>
                <a:gd name="T15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8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2" y="46"/>
                    <a:pt x="12" y="46"/>
                    <a:pt x="12" y="46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66">
              <a:extLst>
                <a:ext uri="{FF2B5EF4-FFF2-40B4-BE49-F238E27FC236}">
                  <a16:creationId xmlns:a16="http://schemas.microsoft.com/office/drawing/2014/main" xmlns="" id="{D547A117-C25B-4AEB-B2C9-74A085C46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2209801"/>
              <a:ext cx="187325" cy="285750"/>
            </a:xfrm>
            <a:custGeom>
              <a:avLst/>
              <a:gdLst>
                <a:gd name="T0" fmla="*/ 49 w 50"/>
                <a:gd name="T1" fmla="*/ 64 h 76"/>
                <a:gd name="T2" fmla="*/ 50 w 50"/>
                <a:gd name="T3" fmla="*/ 64 h 76"/>
                <a:gd name="T4" fmla="*/ 12 w 50"/>
                <a:gd name="T5" fmla="*/ 64 h 76"/>
                <a:gd name="T6" fmla="*/ 12 w 50"/>
                <a:gd name="T7" fmla="*/ 18 h 76"/>
                <a:gd name="T8" fmla="*/ 12 w 50"/>
                <a:gd name="T9" fmla="*/ 12 h 76"/>
                <a:gd name="T10" fmla="*/ 12 w 50"/>
                <a:gd name="T11" fmla="*/ 0 h 76"/>
                <a:gd name="T12" fmla="*/ 2 w 50"/>
                <a:gd name="T13" fmla="*/ 0 h 76"/>
                <a:gd name="T14" fmla="*/ 0 w 50"/>
                <a:gd name="T15" fmla="*/ 2 h 76"/>
                <a:gd name="T16" fmla="*/ 0 w 50"/>
                <a:gd name="T17" fmla="*/ 66 h 76"/>
                <a:gd name="T18" fmla="*/ 10 w 50"/>
                <a:gd name="T19" fmla="*/ 76 h 76"/>
                <a:gd name="T20" fmla="*/ 45 w 50"/>
                <a:gd name="T21" fmla="*/ 76 h 76"/>
                <a:gd name="T22" fmla="*/ 49 w 50"/>
                <a:gd name="T23" fmla="*/ 65 h 76"/>
                <a:gd name="T24" fmla="*/ 49 w 50"/>
                <a:gd name="T25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6">
                  <a:moveTo>
                    <a:pt x="49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67">
              <a:extLst>
                <a:ext uri="{FF2B5EF4-FFF2-40B4-BE49-F238E27FC236}">
                  <a16:creationId xmlns:a16="http://schemas.microsoft.com/office/drawing/2014/main" xmlns="" id="{C78C8C6E-AA7E-4FFE-AD0B-FB890E851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298701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68">
              <a:extLst>
                <a:ext uri="{FF2B5EF4-FFF2-40B4-BE49-F238E27FC236}">
                  <a16:creationId xmlns:a16="http://schemas.microsoft.com/office/drawing/2014/main" xmlns="" id="{2288712C-BB20-4467-B0A8-5403513A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28863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69">
              <a:extLst>
                <a:ext uri="{FF2B5EF4-FFF2-40B4-BE49-F238E27FC236}">
                  <a16:creationId xmlns:a16="http://schemas.microsoft.com/office/drawing/2014/main" xmlns="" id="{0E041EA8-F966-43EA-B1AB-EE0FD24D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59026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22 w 24"/>
                <a:gd name="T3" fmla="*/ 0 h 4"/>
                <a:gd name="T4" fmla="*/ 2 w 24"/>
                <a:gd name="T5" fmla="*/ 0 h 4"/>
                <a:gd name="T6" fmla="*/ 0 w 24"/>
                <a:gd name="T7" fmla="*/ 2 h 4"/>
                <a:gd name="T8" fmla="*/ 2 w 24"/>
                <a:gd name="T9" fmla="*/ 4 h 4"/>
                <a:gd name="T10" fmla="*/ 22 w 24"/>
                <a:gd name="T11" fmla="*/ 4 h 4"/>
                <a:gd name="T12" fmla="*/ 24 w 2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70">
              <a:extLst>
                <a:ext uri="{FF2B5EF4-FFF2-40B4-BE49-F238E27FC236}">
                  <a16:creationId xmlns:a16="http://schemas.microsoft.com/office/drawing/2014/main" xmlns="" id="{CE5B3C5D-8FB7-45D2-A784-97AC1E2F9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89188"/>
              <a:ext cx="60325" cy="15875"/>
            </a:xfrm>
            <a:custGeom>
              <a:avLst/>
              <a:gdLst>
                <a:gd name="T0" fmla="*/ 2 w 16"/>
                <a:gd name="T1" fmla="*/ 0 h 4"/>
                <a:gd name="T2" fmla="*/ 0 w 16"/>
                <a:gd name="T3" fmla="*/ 2 h 4"/>
                <a:gd name="T4" fmla="*/ 2 w 16"/>
                <a:gd name="T5" fmla="*/ 4 h 4"/>
                <a:gd name="T6" fmla="*/ 14 w 16"/>
                <a:gd name="T7" fmla="*/ 4 h 4"/>
                <a:gd name="T8" fmla="*/ 16 w 16"/>
                <a:gd name="T9" fmla="*/ 2 h 4"/>
                <a:gd name="T10" fmla="*/ 14 w 16"/>
                <a:gd name="T11" fmla="*/ 0 h 4"/>
                <a:gd name="T12" fmla="*/ 2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71">
              <a:extLst>
                <a:ext uri="{FF2B5EF4-FFF2-40B4-BE49-F238E27FC236}">
                  <a16:creationId xmlns:a16="http://schemas.microsoft.com/office/drawing/2014/main" xmlns="" id="{12A97530-9913-429B-8464-31F1FFCDA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2163763"/>
              <a:ext cx="134938" cy="104775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2">
              <a:extLst>
                <a:ext uri="{FF2B5EF4-FFF2-40B4-BE49-F238E27FC236}">
                  <a16:creationId xmlns:a16="http://schemas.microsoft.com/office/drawing/2014/main" xmlns="" id="{0E253B7C-E25B-4BAA-B825-84AED272E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234473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20 w 20"/>
                <a:gd name="T13" fmla="*/ 12 h 20"/>
                <a:gd name="T14" fmla="*/ 19 w 20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1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73">
              <a:extLst>
                <a:ext uri="{FF2B5EF4-FFF2-40B4-BE49-F238E27FC236}">
                  <a16:creationId xmlns:a16="http://schemas.microsoft.com/office/drawing/2014/main" xmlns="" id="{8908649D-D8A3-49FF-AC2D-6DC4C8463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850" y="2468563"/>
              <a:ext cx="57150" cy="57150"/>
            </a:xfrm>
            <a:custGeom>
              <a:avLst/>
              <a:gdLst>
                <a:gd name="T0" fmla="*/ 2 w 15"/>
                <a:gd name="T1" fmla="*/ 7 h 15"/>
                <a:gd name="T2" fmla="*/ 2 w 15"/>
                <a:gd name="T3" fmla="*/ 7 h 15"/>
                <a:gd name="T4" fmla="*/ 0 w 15"/>
                <a:gd name="T5" fmla="*/ 12 h 15"/>
                <a:gd name="T6" fmla="*/ 1 w 15"/>
                <a:gd name="T7" fmla="*/ 14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  <a:gd name="T14" fmla="*/ 2 w 1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74">
              <a:extLst>
                <a:ext uri="{FF2B5EF4-FFF2-40B4-BE49-F238E27FC236}">
                  <a16:creationId xmlns:a16="http://schemas.microsoft.com/office/drawing/2014/main" xmlns="" id="{2F45B535-53C4-4BB3-9A43-B6518F2F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663" y="2382838"/>
              <a:ext cx="119063" cy="120650"/>
            </a:xfrm>
            <a:custGeom>
              <a:avLst/>
              <a:gdLst>
                <a:gd name="T0" fmla="*/ 0 w 75"/>
                <a:gd name="T1" fmla="*/ 45 h 76"/>
                <a:gd name="T2" fmla="*/ 30 w 75"/>
                <a:gd name="T3" fmla="*/ 76 h 76"/>
                <a:gd name="T4" fmla="*/ 75 w 75"/>
                <a:gd name="T5" fmla="*/ 30 h 76"/>
                <a:gd name="T6" fmla="*/ 45 w 75"/>
                <a:gd name="T7" fmla="*/ 0 h 76"/>
                <a:gd name="T8" fmla="*/ 0 w 75"/>
                <a:gd name="T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6">
                  <a:moveTo>
                    <a:pt x="0" y="45"/>
                  </a:moveTo>
                  <a:lnTo>
                    <a:pt x="30" y="76"/>
                  </a:lnTo>
                  <a:lnTo>
                    <a:pt x="75" y="30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2E181B9E-329C-48FF-B68C-0714AF5FD970}"/>
              </a:ext>
            </a:extLst>
          </p:cNvPr>
          <p:cNvGrpSpPr/>
          <p:nvPr/>
        </p:nvGrpSpPr>
        <p:grpSpPr>
          <a:xfrm>
            <a:off x="4911725" y="2137697"/>
            <a:ext cx="6670676" cy="430887"/>
            <a:chOff x="4911725" y="2108610"/>
            <a:chExt cx="6670676" cy="43088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5D6F9627-DD2A-418F-9FB1-59EDA3AF076F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B8C4FD4E-5B61-4F64-A78C-FA633DC9A8A4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xmlns="" id="{E2826D37-A47D-438A-B760-3A83D8237726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" name="Rectangle: Top Corners Rounded 21">
                <a:extLst>
                  <a:ext uri="{FF2B5EF4-FFF2-40B4-BE49-F238E27FC236}">
                    <a16:creationId xmlns:a16="http://schemas.microsoft.com/office/drawing/2014/main" xmlns="" id="{8BD42D57-AD82-4318-98AA-6CA5DE0E9969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Isosceles Triangle 20">
                <a:extLst>
                  <a:ext uri="{FF2B5EF4-FFF2-40B4-BE49-F238E27FC236}">
                    <a16:creationId xmlns:a16="http://schemas.microsoft.com/office/drawing/2014/main" xmlns="" id="{0C42278B-1FBB-45F7-8F1B-0F911C6CC342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Isosceles Triangle 22">
                <a:extLst>
                  <a:ext uri="{FF2B5EF4-FFF2-40B4-BE49-F238E27FC236}">
                    <a16:creationId xmlns:a16="http://schemas.microsoft.com/office/drawing/2014/main" xmlns="" id="{10AE614F-FA75-4779-8DE4-E62ECDBDA351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B80358DE-7FE0-4DA0-B97F-BC9A33E2283C}"/>
              </a:ext>
            </a:extLst>
          </p:cNvPr>
          <p:cNvGrpSpPr/>
          <p:nvPr/>
        </p:nvGrpSpPr>
        <p:grpSpPr>
          <a:xfrm>
            <a:off x="4911725" y="2951828"/>
            <a:ext cx="6670676" cy="430887"/>
            <a:chOff x="4911725" y="2108610"/>
            <a:chExt cx="6670676" cy="43088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1400DC46-1CB6-4F28-A173-A6D4E8539FF7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xmlns="" id="{85AC496F-DD91-4DA1-8BE4-284283E9A515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xmlns="" id="{196B42B2-8F72-46B4-BB6B-56514B097A0F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0" name="Rectangle: Top Corners Rounded 29">
                <a:extLst>
                  <a:ext uri="{FF2B5EF4-FFF2-40B4-BE49-F238E27FC236}">
                    <a16:creationId xmlns:a16="http://schemas.microsoft.com/office/drawing/2014/main" xmlns="" id="{B5BC2749-8958-470C-B99A-6BD4BEE25600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Isosceles Triangle 30">
                <a:extLst>
                  <a:ext uri="{FF2B5EF4-FFF2-40B4-BE49-F238E27FC236}">
                    <a16:creationId xmlns:a16="http://schemas.microsoft.com/office/drawing/2014/main" xmlns="" id="{6C44C614-2C6C-44BB-9B27-C97A1E92145D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Isosceles Triangle 31">
                <a:extLst>
                  <a:ext uri="{FF2B5EF4-FFF2-40B4-BE49-F238E27FC236}">
                    <a16:creationId xmlns:a16="http://schemas.microsoft.com/office/drawing/2014/main" xmlns="" id="{2037CBF3-F247-498F-8DD7-5910803D20F5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1E7FAB7B-0366-450D-A4A9-06073DBD8A80}"/>
              </a:ext>
            </a:extLst>
          </p:cNvPr>
          <p:cNvGrpSpPr/>
          <p:nvPr/>
        </p:nvGrpSpPr>
        <p:grpSpPr>
          <a:xfrm>
            <a:off x="4911725" y="3765959"/>
            <a:ext cx="6670676" cy="430887"/>
            <a:chOff x="4911725" y="2108610"/>
            <a:chExt cx="6670676" cy="430887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A70A8568-9E0A-4D6C-AF7C-A779549C350A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xmlns="" id="{3212686E-0DAC-4468-A035-77BCC7E844E7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xmlns="" id="{52E004BC-6894-4C2B-A070-45859714BEC7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Rectangle: Top Corners Rounded 36">
                <a:extLst>
                  <a:ext uri="{FF2B5EF4-FFF2-40B4-BE49-F238E27FC236}">
                    <a16:creationId xmlns:a16="http://schemas.microsoft.com/office/drawing/2014/main" xmlns="" id="{1221C558-72F7-4D22-A66A-F63D62602B48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Isosceles Triangle 37">
                <a:extLst>
                  <a:ext uri="{FF2B5EF4-FFF2-40B4-BE49-F238E27FC236}">
                    <a16:creationId xmlns:a16="http://schemas.microsoft.com/office/drawing/2014/main" xmlns="" id="{ED17C36D-5E53-4F18-BBD4-86A51BA63B2E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Isosceles Triangle 38">
                <a:extLst>
                  <a:ext uri="{FF2B5EF4-FFF2-40B4-BE49-F238E27FC236}">
                    <a16:creationId xmlns:a16="http://schemas.microsoft.com/office/drawing/2014/main" xmlns="" id="{2EBF2114-E17C-48B3-985C-14D1CBBE0A8A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8578B2A0-E042-43F3-B80E-0C9868058C5D}"/>
              </a:ext>
            </a:extLst>
          </p:cNvPr>
          <p:cNvGrpSpPr/>
          <p:nvPr/>
        </p:nvGrpSpPr>
        <p:grpSpPr>
          <a:xfrm>
            <a:off x="4911725" y="4580090"/>
            <a:ext cx="6670676" cy="430887"/>
            <a:chOff x="4911725" y="2108610"/>
            <a:chExt cx="6670676" cy="430887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448DE759-3039-4746-9203-8CC89518B968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xmlns="" id="{03B6ECAE-E7D6-41B3-8EC9-9903AF10AA23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xmlns="" id="{A6CDDE7D-ACA7-4BD4-8E20-040B1CF64916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4" name="Rectangle: Top Corners Rounded 43">
                <a:extLst>
                  <a:ext uri="{FF2B5EF4-FFF2-40B4-BE49-F238E27FC236}">
                    <a16:creationId xmlns:a16="http://schemas.microsoft.com/office/drawing/2014/main" xmlns="" id="{8F26CC45-8445-49A1-B554-6AC3A2983345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Isosceles Triangle 44">
                <a:extLst>
                  <a:ext uri="{FF2B5EF4-FFF2-40B4-BE49-F238E27FC236}">
                    <a16:creationId xmlns:a16="http://schemas.microsoft.com/office/drawing/2014/main" xmlns="" id="{7A69FD42-1BD0-463B-A50A-278C72A5BA4A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Isosceles Triangle 45">
                <a:extLst>
                  <a:ext uri="{FF2B5EF4-FFF2-40B4-BE49-F238E27FC236}">
                    <a16:creationId xmlns:a16="http://schemas.microsoft.com/office/drawing/2014/main" xmlns="" id="{8496F3C4-5C8E-4360-A917-BDA1B2C150DB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DCCA5244-7CE1-4C00-89CF-F460567C02F3}"/>
              </a:ext>
            </a:extLst>
          </p:cNvPr>
          <p:cNvGrpSpPr/>
          <p:nvPr/>
        </p:nvGrpSpPr>
        <p:grpSpPr>
          <a:xfrm>
            <a:off x="4911725" y="5394222"/>
            <a:ext cx="6670676" cy="430887"/>
            <a:chOff x="4911725" y="2108610"/>
            <a:chExt cx="6670676" cy="430887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0E025770-E015-4BB1-98EE-B935D370CDAD}"/>
                </a:ext>
              </a:extLst>
            </p:cNvPr>
            <p:cNvSpPr/>
            <p:nvPr/>
          </p:nvSpPr>
          <p:spPr>
            <a:xfrm>
              <a:off x="5435600" y="2108610"/>
              <a:ext cx="6146801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id </a:t>
              </a:r>
              <a:r>
                <a:rPr lang="en-US" sz="1400" dirty="0" err="1"/>
                <a:t>tortor</a:t>
              </a:r>
              <a:r>
                <a:rPr lang="en-US" sz="1400" dirty="0"/>
                <a:t> magna. </a:t>
              </a:r>
              <a:r>
                <a:rPr lang="en-US" sz="1400" dirty="0" err="1"/>
                <a:t>Curabitur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</a:t>
              </a:r>
              <a:r>
                <a:rPr lang="en-US" sz="1400" dirty="0" err="1"/>
                <a:t>ultrices</a:t>
              </a:r>
              <a:r>
                <a:rPr lang="en-US" sz="1400" dirty="0"/>
                <a:t> </a:t>
              </a:r>
              <a:r>
                <a:rPr lang="en-US" sz="1400" dirty="0" err="1"/>
                <a:t>ornare</a:t>
              </a:r>
              <a:r>
                <a:rPr lang="en-US" sz="1400" dirty="0"/>
                <a:t>. Dui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auctor</a:t>
              </a:r>
              <a:r>
                <a:rPr lang="en-US" sz="1400" dirty="0"/>
                <a:t> </a:t>
              </a:r>
              <a:r>
                <a:rPr lang="en-US" sz="1400" dirty="0" err="1"/>
                <a:t>metus</a:t>
              </a:r>
              <a:r>
                <a:rPr lang="en-US" sz="1400" dirty="0"/>
                <a:t>. </a:t>
              </a: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xmlns="" id="{7C9C78A1-1F18-4D6D-8E57-36317A5B7E5E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xmlns="" id="{B621523B-F035-403E-A525-9646B34DDD59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Rectangle: Top Corners Rounded 50">
                <a:extLst>
                  <a:ext uri="{FF2B5EF4-FFF2-40B4-BE49-F238E27FC236}">
                    <a16:creationId xmlns:a16="http://schemas.microsoft.com/office/drawing/2014/main" xmlns="" id="{8D545BD3-58DE-4FC6-A749-737AC6139BE3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Isosceles Triangle 51">
                <a:extLst>
                  <a:ext uri="{FF2B5EF4-FFF2-40B4-BE49-F238E27FC236}">
                    <a16:creationId xmlns:a16="http://schemas.microsoft.com/office/drawing/2014/main" xmlns="" id="{E9A083F0-8033-4A68-9F9E-42F3C27CFBCD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Isosceles Triangle 52">
                <a:extLst>
                  <a:ext uri="{FF2B5EF4-FFF2-40B4-BE49-F238E27FC236}">
                    <a16:creationId xmlns:a16="http://schemas.microsoft.com/office/drawing/2014/main" xmlns="" id="{2FD145D3-F032-4110-B5AE-24EEFAE4BF88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8EE2274C-E216-46E6-9984-EBFFA630B138}"/>
              </a:ext>
            </a:extLst>
          </p:cNvPr>
          <p:cNvCxnSpPr>
            <a:cxnSpLocks/>
          </p:cNvCxnSpPr>
          <p:nvPr/>
        </p:nvCxnSpPr>
        <p:spPr>
          <a:xfrm>
            <a:off x="5461000" y="2760206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55CEFE62-F4AE-435B-ADA2-3BFAE6D97F54}"/>
              </a:ext>
            </a:extLst>
          </p:cNvPr>
          <p:cNvCxnSpPr>
            <a:cxnSpLocks/>
          </p:cNvCxnSpPr>
          <p:nvPr/>
        </p:nvCxnSpPr>
        <p:spPr>
          <a:xfrm>
            <a:off x="5461000" y="3574337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0F98B464-6848-4A75-8586-DF8D0BDD98C0}"/>
              </a:ext>
            </a:extLst>
          </p:cNvPr>
          <p:cNvCxnSpPr>
            <a:cxnSpLocks/>
          </p:cNvCxnSpPr>
          <p:nvPr/>
        </p:nvCxnSpPr>
        <p:spPr>
          <a:xfrm>
            <a:off x="5461000" y="4388468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xmlns="" id="{9F02B74C-EED4-4408-AD9C-B0D067B9F596}"/>
              </a:ext>
            </a:extLst>
          </p:cNvPr>
          <p:cNvCxnSpPr>
            <a:cxnSpLocks/>
          </p:cNvCxnSpPr>
          <p:nvPr/>
        </p:nvCxnSpPr>
        <p:spPr>
          <a:xfrm>
            <a:off x="5461000" y="5202599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5677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xmlns="" id="{8B6688E9-D0FA-4BB4-B45B-7712627B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21" r="622" b="1572"/>
          <a:stretch/>
        </p:blipFill>
        <p:spPr>
          <a:xfrm>
            <a:off x="0" y="0"/>
            <a:ext cx="6124860" cy="6340446"/>
          </a:xfrm>
          <a:custGeom>
            <a:avLst/>
            <a:gdLst>
              <a:gd name="connsiteX0" fmla="*/ 0 w 6124860"/>
              <a:gd name="connsiteY0" fmla="*/ 0 h 6340446"/>
              <a:gd name="connsiteX1" fmla="*/ 5880099 w 6124860"/>
              <a:gd name="connsiteY1" fmla="*/ 0 h 6340446"/>
              <a:gd name="connsiteX2" fmla="*/ 4317999 w 6124860"/>
              <a:gd name="connsiteY2" fmla="*/ 4038600 h 6340446"/>
              <a:gd name="connsiteX3" fmla="*/ 97811 w 6124860"/>
              <a:gd name="connsiteY3" fmla="*/ 5967428 h 6340446"/>
              <a:gd name="connsiteX4" fmla="*/ 0 w 6124860"/>
              <a:gd name="connsiteY4" fmla="*/ 5880101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0" h="6340446">
                <a:moveTo>
                  <a:pt x="0" y="0"/>
                </a:moveTo>
                <a:lnTo>
                  <a:pt x="5880099" y="0"/>
                </a:lnTo>
                <a:cubicBezTo>
                  <a:pt x="6860116" y="980017"/>
                  <a:pt x="4599516" y="1788583"/>
                  <a:pt x="4317999" y="4038600"/>
                </a:cubicBezTo>
                <a:cubicBezTo>
                  <a:pt x="4045280" y="6218304"/>
                  <a:pt x="1168335" y="6822759"/>
                  <a:pt x="97811" y="5967428"/>
                </a:cubicBezTo>
                <a:lnTo>
                  <a:pt x="0" y="5880101"/>
                </a:lnTo>
                <a:close/>
              </a:path>
            </a:pathLst>
          </a:cu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7C7A0B5-BFB5-4409-BD0B-0255B9069DDE}"/>
              </a:ext>
            </a:extLst>
          </p:cNvPr>
          <p:cNvSpPr txBox="1"/>
          <p:nvPr/>
        </p:nvSpPr>
        <p:spPr>
          <a:xfrm>
            <a:off x="5845517" y="4554763"/>
            <a:ext cx="5507836" cy="681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5400" b="1" dirty="0"/>
              <a:t>THANK YOU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4282848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/>
          <p:nvPr/>
        </p:nvSpPr>
        <p:spPr>
          <a:xfrm>
            <a:off x="-1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60000">
              <a:srgbClr val="E7E4F0"/>
            </a:gs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9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1555668" y="439387"/>
            <a:ext cx="7505205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dirty="0" smtClean="0">
              <a:latin typeface="Times"/>
              <a:cs typeface="Times New Roman"/>
            </a:endParaRPr>
          </a:p>
          <a:p>
            <a:pPr algn="just"/>
            <a:r>
              <a:rPr lang="en-US" sz="3200" b="1" dirty="0" smtClean="0">
                <a:latin typeface="Times"/>
                <a:cs typeface="Times New Roman"/>
              </a:rPr>
              <a:t>CONTENTS</a:t>
            </a:r>
          </a:p>
          <a:p>
            <a:pPr algn="just"/>
            <a:endParaRPr lang="en-US" sz="2400" dirty="0" smtClean="0">
              <a:latin typeface="Times"/>
              <a:cs typeface="Times New Roman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7030A0"/>
                </a:solidFill>
                <a:latin typeface="Times"/>
                <a:cs typeface="Times New Roman"/>
              </a:rPr>
              <a:t>Objective </a:t>
            </a:r>
            <a:r>
              <a:rPr lang="en-US" sz="2400" dirty="0">
                <a:solidFill>
                  <a:srgbClr val="7030A0"/>
                </a:solidFill>
                <a:latin typeface="Times"/>
                <a:cs typeface="Times New Roman"/>
              </a:rPr>
              <a:t>of the </a:t>
            </a:r>
            <a:r>
              <a:rPr lang="en-US" sz="2400" dirty="0" smtClean="0">
                <a:solidFill>
                  <a:srgbClr val="7030A0"/>
                </a:solidFill>
                <a:latin typeface="Times"/>
                <a:cs typeface="Times New Roman"/>
              </a:rPr>
              <a:t>Training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7030A0"/>
                </a:solidFill>
                <a:latin typeface="Times"/>
                <a:cs typeface="Times New Roman"/>
              </a:rPr>
              <a:t>Framework  for 8 Weeks</a:t>
            </a:r>
            <a:endParaRPr lang="en-US" sz="2400" dirty="0">
              <a:solidFill>
                <a:srgbClr val="7030A0"/>
              </a:solidFill>
              <a:latin typeface="Times"/>
              <a:cs typeface="Calibri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7030A0"/>
                </a:solidFill>
                <a:latin typeface="Times"/>
                <a:cs typeface="Times New Roman"/>
              </a:rPr>
              <a:t>Overview</a:t>
            </a:r>
            <a:endParaRPr lang="en-US" sz="2400" dirty="0">
              <a:solidFill>
                <a:srgbClr val="7030A0"/>
              </a:solidFill>
              <a:latin typeface="Times"/>
              <a:cs typeface="Calibri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7030A0"/>
                </a:solidFill>
                <a:latin typeface="Times"/>
                <a:cs typeface="Times New Roman"/>
              </a:rPr>
              <a:t>Our Journey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7030A0"/>
                </a:solidFill>
                <a:latin typeface="Times"/>
                <a:cs typeface="Times New Roman"/>
              </a:rPr>
              <a:t>Bank </a:t>
            </a:r>
            <a:r>
              <a:rPr lang="en-US" sz="2400" dirty="0" smtClean="0">
                <a:solidFill>
                  <a:srgbClr val="7030A0"/>
                </a:solidFill>
                <a:latin typeface="Times"/>
                <a:cs typeface="Times New Roman"/>
              </a:rPr>
              <a:t>Application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7030A0"/>
                </a:solidFill>
                <a:latin typeface="Times"/>
                <a:cs typeface="Times New Roman"/>
              </a:rPr>
              <a:t>Full stack Architecture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7030A0"/>
                </a:solidFill>
                <a:latin typeface="Times"/>
                <a:cs typeface="Times New Roman"/>
              </a:rPr>
              <a:t>Tools Used</a:t>
            </a:r>
          </a:p>
          <a:p>
            <a:pPr algn="just"/>
            <a:endParaRPr lang="en-US" dirty="0" smtClean="0">
              <a:latin typeface="Times"/>
              <a:cs typeface="Times New Roman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dirty="0">
              <a:latin typeface="Times"/>
              <a:cs typeface="Calibri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19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F4A23E82-4ADA-4290-A732-46C59CED37BE}"/>
              </a:ext>
            </a:extLst>
          </p:cNvPr>
          <p:cNvSpPr/>
          <p:nvPr/>
        </p:nvSpPr>
        <p:spPr>
          <a:xfrm>
            <a:off x="7064945" y="848716"/>
            <a:ext cx="451366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49881"/>
            <a:ext cx="5242560" cy="400812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935678" y="664050"/>
            <a:ext cx="64601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>
                <a:ln w="3175" cmpd="sng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Times"/>
                <a:ea typeface="+mj-lt"/>
                <a:cs typeface="+mj-lt"/>
              </a:rPr>
              <a:t>OBJECTIVE OF TRAINING</a:t>
            </a:r>
            <a:endParaRPr lang="en-US" sz="32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3701" y="1672795"/>
            <a:ext cx="1004409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457200">
              <a:spcBef>
                <a:spcPct val="20000"/>
              </a:spcBef>
              <a:spcAft>
                <a:spcPts val="600"/>
              </a:spcAft>
              <a:buClr>
                <a:srgbClr val="AB946B"/>
              </a:buClr>
              <a:buSzPct val="115000"/>
            </a:pPr>
            <a:r>
              <a:rPr lang="en-US" sz="3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come a Full Stack developer by gaining all the skills required to work with front-end and back-end technologies.</a:t>
            </a:r>
            <a:endParaRPr lang="en-US" sz="36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648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="" xmlns:a16="http://schemas.microsoft.com/office/drawing/2014/main" id="{F447C58F-8AC4-4CBE-90B8-0A7AB024A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1668" y="6351329"/>
            <a:ext cx="190757" cy="184666"/>
          </a:xfrm>
        </p:spPr>
        <p:txBody>
          <a:bodyPr/>
          <a:lstStyle/>
          <a:p>
            <a:fld id="{CF25293F-90B6-45AB-8342-A371567C769B}" type="slidenum">
              <a:rPr lang="en-ID" smtClean="0">
                <a:solidFill>
                  <a:srgbClr val="652D74"/>
                </a:solidFill>
              </a:rPr>
              <a:t>7</a:t>
            </a:fld>
            <a:endParaRPr lang="en-ID" dirty="0">
              <a:solidFill>
                <a:srgbClr val="652D74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EDF6DB8C-57D2-46FB-8C52-123BFA1033CF}"/>
              </a:ext>
            </a:extLst>
          </p:cNvPr>
          <p:cNvGrpSpPr/>
          <p:nvPr/>
        </p:nvGrpSpPr>
        <p:grpSpPr>
          <a:xfrm>
            <a:off x="4152898" y="1352549"/>
            <a:ext cx="3886204" cy="3886202"/>
            <a:chOff x="4152899" y="1485900"/>
            <a:chExt cx="3886204" cy="3886202"/>
          </a:xfrm>
        </p:grpSpPr>
        <p:sp>
          <p:nvSpPr>
            <p:cNvPr id="4" name="Partial Circle 72">
              <a:extLst>
                <a:ext uri="{FF2B5EF4-FFF2-40B4-BE49-F238E27FC236}">
                  <a16:creationId xmlns="" xmlns:a16="http://schemas.microsoft.com/office/drawing/2014/main" id="{4A0887D0-10BA-4D3F-A419-BD591EA5F052}"/>
                </a:ext>
              </a:extLst>
            </p:cNvPr>
            <p:cNvSpPr/>
            <p:nvPr/>
          </p:nvSpPr>
          <p:spPr>
            <a:xfrm flipH="1">
              <a:off x="4152899" y="1485900"/>
              <a:ext cx="3886204" cy="3886202"/>
            </a:xfrm>
            <a:prstGeom prst="pie">
              <a:avLst>
                <a:gd name="adj1" fmla="val 5400002"/>
                <a:gd name="adj2" fmla="val 16200000"/>
              </a:avLst>
            </a:prstGeom>
            <a:solidFill>
              <a:srgbClr val="1BB57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D">
                <a:solidFill>
                  <a:srgbClr val="652D74"/>
                </a:solidFill>
              </a:endParaRPr>
            </a:p>
          </p:txBody>
        </p:sp>
        <p:sp>
          <p:nvSpPr>
            <p:cNvPr id="5" name="Partial Circle 71">
              <a:extLst>
                <a:ext uri="{FF2B5EF4-FFF2-40B4-BE49-F238E27FC236}">
                  <a16:creationId xmlns="" xmlns:a16="http://schemas.microsoft.com/office/drawing/2014/main" id="{8529C146-5B6D-4026-BB0C-1AE79A646316}"/>
                </a:ext>
              </a:extLst>
            </p:cNvPr>
            <p:cNvSpPr/>
            <p:nvPr/>
          </p:nvSpPr>
          <p:spPr>
            <a:xfrm>
              <a:off x="4152899" y="1485900"/>
              <a:ext cx="3886204" cy="3886202"/>
            </a:xfrm>
            <a:prstGeom prst="pie">
              <a:avLst>
                <a:gd name="adj1" fmla="val 5400002"/>
                <a:gd name="adj2" fmla="val 16200000"/>
              </a:avLst>
            </a:prstGeom>
            <a:solidFill>
              <a:srgbClr val="21D79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D">
                <a:solidFill>
                  <a:srgbClr val="652D74"/>
                </a:solidFill>
              </a:endParaRPr>
            </a:p>
          </p:txBody>
        </p:sp>
      </p:grpSp>
      <p:sp>
        <p:nvSpPr>
          <p:cNvPr id="6" name="Oval 5">
            <a:extLst>
              <a:ext uri="{FF2B5EF4-FFF2-40B4-BE49-F238E27FC236}">
                <a16:creationId xmlns="" xmlns:a16="http://schemas.microsoft.com/office/drawing/2014/main" id="{9F34FF90-352F-4E1C-9C29-7E3A96D36929}"/>
              </a:ext>
            </a:extLst>
          </p:cNvPr>
          <p:cNvSpPr/>
          <p:nvPr/>
        </p:nvSpPr>
        <p:spPr>
          <a:xfrm>
            <a:off x="4905376" y="2105027"/>
            <a:ext cx="2381248" cy="238124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03200" dist="38100" dir="2700000" algn="t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>
              <a:solidFill>
                <a:srgbClr val="652D74"/>
              </a:solidFill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="" xmlns:a16="http://schemas.microsoft.com/office/drawing/2014/main" id="{AC1C538A-CF24-434C-9AD7-14972089F1F0}"/>
              </a:ext>
            </a:extLst>
          </p:cNvPr>
          <p:cNvSpPr txBox="1">
            <a:spLocks/>
          </p:cNvSpPr>
          <p:nvPr/>
        </p:nvSpPr>
        <p:spPr>
          <a:xfrm>
            <a:off x="8966874" y="257287"/>
            <a:ext cx="2545200" cy="1125436"/>
          </a:xfrm>
          <a:prstGeom prst="rect">
            <a:avLst/>
          </a:prstGeom>
          <a:ln>
            <a:noFill/>
          </a:ln>
        </p:spPr>
        <p:txBody>
          <a:bodyPr vert="horz" wrap="square" lIns="10800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Database Concepts  and SQL</a:t>
            </a:r>
          </a:p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Introduction to Applications</a:t>
            </a:r>
            <a:endParaRPr lang="en-US" sz="1800" dirty="0">
              <a:solidFill>
                <a:srgbClr val="652D74"/>
              </a:solidFill>
              <a:latin typeface="Times"/>
              <a:cs typeface="Times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="" xmlns:a16="http://schemas.microsoft.com/office/drawing/2014/main" id="{74B4B8BE-13E0-4CA8-A4E3-245C137F0D99}"/>
              </a:ext>
            </a:extLst>
          </p:cNvPr>
          <p:cNvSpPr txBox="1">
            <a:spLocks/>
          </p:cNvSpPr>
          <p:nvPr/>
        </p:nvSpPr>
        <p:spPr>
          <a:xfrm>
            <a:off x="9025260" y="1829862"/>
            <a:ext cx="2545200" cy="1153136"/>
          </a:xfrm>
          <a:prstGeom prst="rect">
            <a:avLst/>
          </a:prstGeom>
          <a:ln>
            <a:noFill/>
          </a:ln>
        </p:spPr>
        <p:txBody>
          <a:bodyPr vert="horz" wrap="square" lIns="10800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Object Oriented Programming</a:t>
            </a:r>
          </a:p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Data Structures Core Java </a:t>
            </a:r>
            <a:r>
              <a:rPr lang="en-US" sz="2000" dirty="0">
                <a:solidFill>
                  <a:srgbClr val="652D74"/>
                </a:solidFill>
                <a:latin typeface="Times"/>
                <a:cs typeface="Times"/>
              </a:rPr>
              <a:t>Programming</a:t>
            </a:r>
            <a:endParaRPr lang="en-US" sz="2000" dirty="0">
              <a:solidFill>
                <a:srgbClr val="652D74"/>
              </a:solidFill>
              <a:latin typeface="Times"/>
              <a:cs typeface="Times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6C40CE1B-EABE-4C61-8057-3F21F6D94097}"/>
              </a:ext>
            </a:extLst>
          </p:cNvPr>
          <p:cNvSpPr txBox="1">
            <a:spLocks/>
          </p:cNvSpPr>
          <p:nvPr/>
        </p:nvSpPr>
        <p:spPr>
          <a:xfrm>
            <a:off x="8963682" y="3661257"/>
            <a:ext cx="2545200" cy="1125436"/>
          </a:xfrm>
          <a:prstGeom prst="rect">
            <a:avLst/>
          </a:prstGeom>
          <a:ln>
            <a:noFill/>
          </a:ln>
        </p:spPr>
        <p:txBody>
          <a:bodyPr vert="horz" wrap="square" lIns="10800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Project- Banking Application</a:t>
            </a:r>
          </a:p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JDBC and Web Design fundamentals</a:t>
            </a:r>
            <a:endParaRPr lang="en-US" sz="1800" dirty="0">
              <a:solidFill>
                <a:srgbClr val="652D74"/>
              </a:solidFill>
              <a:latin typeface="Times"/>
              <a:cs typeface="Times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="" xmlns:a16="http://schemas.microsoft.com/office/drawing/2014/main" id="{516C1C2C-66EC-4F9E-B5F7-740E0D8DFC33}"/>
              </a:ext>
            </a:extLst>
          </p:cNvPr>
          <p:cNvSpPr txBox="1">
            <a:spLocks/>
          </p:cNvSpPr>
          <p:nvPr/>
        </p:nvSpPr>
        <p:spPr>
          <a:xfrm>
            <a:off x="689548" y="1352549"/>
            <a:ext cx="2545200" cy="249299"/>
          </a:xfrm>
          <a:prstGeom prst="rect">
            <a:avLst/>
          </a:prstGeom>
          <a:ln>
            <a:noFill/>
          </a:ln>
        </p:spPr>
        <p:txBody>
          <a:bodyPr vert="horz" wrap="square" lIns="0" tIns="0" rIns="10800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Project Presentation</a:t>
            </a:r>
            <a:endParaRPr lang="en-US" sz="1800" dirty="0">
              <a:solidFill>
                <a:srgbClr val="652D74"/>
              </a:solidFill>
              <a:latin typeface="Times"/>
              <a:cs typeface="Times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="" xmlns:a16="http://schemas.microsoft.com/office/drawing/2014/main" id="{846163FC-4F73-476F-8B6B-10F88B77AABC}"/>
              </a:ext>
            </a:extLst>
          </p:cNvPr>
          <p:cNvSpPr txBox="1">
            <a:spLocks/>
          </p:cNvSpPr>
          <p:nvPr/>
        </p:nvSpPr>
        <p:spPr>
          <a:xfrm>
            <a:off x="679926" y="2246683"/>
            <a:ext cx="2545200" cy="876137"/>
          </a:xfrm>
          <a:prstGeom prst="rect">
            <a:avLst/>
          </a:prstGeom>
          <a:ln>
            <a:noFill/>
          </a:ln>
        </p:spPr>
        <p:txBody>
          <a:bodyPr vert="horz" wrap="square" lIns="0" tIns="0" rIns="10800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JSP Servlet</a:t>
            </a:r>
          </a:p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Spring REST( Core &amp; MVC)</a:t>
            </a:r>
            <a:endParaRPr lang="en-ID" sz="1800" b="1" dirty="0">
              <a:solidFill>
                <a:srgbClr val="652D74"/>
              </a:solidFill>
            </a:endParaRPr>
          </a:p>
        </p:txBody>
      </p:sp>
      <p:sp>
        <p:nvSpPr>
          <p:cNvPr id="12" name="Content Placeholder 8">
            <a:extLst>
              <a:ext uri="{FF2B5EF4-FFF2-40B4-BE49-F238E27FC236}">
                <a16:creationId xmlns="" xmlns:a16="http://schemas.microsoft.com/office/drawing/2014/main" id="{A0FAA476-2993-4F36-91A8-3BDF3FA36683}"/>
              </a:ext>
            </a:extLst>
          </p:cNvPr>
          <p:cNvSpPr txBox="1">
            <a:spLocks/>
          </p:cNvSpPr>
          <p:nvPr/>
        </p:nvSpPr>
        <p:spPr>
          <a:xfrm>
            <a:off x="711337" y="3483851"/>
            <a:ext cx="2545200" cy="876137"/>
          </a:xfrm>
          <a:prstGeom prst="rect">
            <a:avLst/>
          </a:prstGeom>
          <a:ln>
            <a:noFill/>
          </a:ln>
        </p:spPr>
        <p:txBody>
          <a:bodyPr vert="horz" wrap="square" lIns="0" tIns="0" rIns="10800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Architecture, framework of angular.</a:t>
            </a:r>
          </a:p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JEE Architecture</a:t>
            </a:r>
            <a:endParaRPr lang="en-US" sz="1800" dirty="0">
              <a:solidFill>
                <a:srgbClr val="652D74"/>
              </a:solidFill>
              <a:latin typeface="Times"/>
              <a:cs typeface="Times"/>
            </a:endParaRPr>
          </a:p>
        </p:txBody>
      </p:sp>
      <p:sp>
        <p:nvSpPr>
          <p:cNvPr id="13" name="Content Placeholder 8">
            <a:extLst>
              <a:ext uri="{FF2B5EF4-FFF2-40B4-BE49-F238E27FC236}">
                <a16:creationId xmlns="" xmlns:a16="http://schemas.microsoft.com/office/drawing/2014/main" id="{785DB153-7251-40B9-87BF-C89D70CEB416}"/>
              </a:ext>
            </a:extLst>
          </p:cNvPr>
          <p:cNvSpPr txBox="1">
            <a:spLocks/>
          </p:cNvSpPr>
          <p:nvPr/>
        </p:nvSpPr>
        <p:spPr>
          <a:xfrm>
            <a:off x="689548" y="4989452"/>
            <a:ext cx="2545200" cy="876137"/>
          </a:xfrm>
          <a:prstGeom prst="rect">
            <a:avLst/>
          </a:prstGeom>
          <a:ln>
            <a:noFill/>
          </a:ln>
        </p:spPr>
        <p:txBody>
          <a:bodyPr vert="horz" wrap="square" lIns="0" tIns="0" rIns="10800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Java Script, ES5, ES6, Angular7</a:t>
            </a:r>
          </a:p>
          <a:p>
            <a:r>
              <a:rPr lang="en-US" sz="1800" dirty="0">
                <a:solidFill>
                  <a:srgbClr val="652D74"/>
                </a:solidFill>
                <a:latin typeface="Times"/>
                <a:cs typeface="Times"/>
              </a:rPr>
              <a:t>UML Diagrams</a:t>
            </a:r>
            <a:endParaRPr lang="en-US" sz="1800" dirty="0">
              <a:solidFill>
                <a:srgbClr val="652D74"/>
              </a:solidFill>
              <a:latin typeface="Times"/>
              <a:cs typeface="Times"/>
            </a:endParaRPr>
          </a:p>
        </p:txBody>
      </p:sp>
      <p:sp>
        <p:nvSpPr>
          <p:cNvPr id="14" name="Content Placeholder 8">
            <a:extLst>
              <a:ext uri="{FF2B5EF4-FFF2-40B4-BE49-F238E27FC236}">
                <a16:creationId xmlns="" xmlns:a16="http://schemas.microsoft.com/office/drawing/2014/main" id="{0F11F3D1-6DF7-4FE8-8797-68B000F25553}"/>
              </a:ext>
            </a:extLst>
          </p:cNvPr>
          <p:cNvSpPr txBox="1">
            <a:spLocks/>
          </p:cNvSpPr>
          <p:nvPr/>
        </p:nvSpPr>
        <p:spPr>
          <a:xfrm>
            <a:off x="8951475" y="4989452"/>
            <a:ext cx="1930131" cy="626838"/>
          </a:xfrm>
          <a:prstGeom prst="rect">
            <a:avLst/>
          </a:prstGeom>
          <a:ln>
            <a:noFill/>
          </a:ln>
        </p:spPr>
        <p:txBody>
          <a:bodyPr vert="horz" wrap="none" lIns="10800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652D74"/>
                </a:solidFill>
                <a:latin typeface="Times"/>
                <a:cs typeface="Times"/>
              </a:rPr>
              <a:t>Html, CSS, </a:t>
            </a:r>
          </a:p>
          <a:p>
            <a:r>
              <a:rPr lang="en-US" sz="1800">
                <a:solidFill>
                  <a:srgbClr val="652D74"/>
                </a:solidFill>
                <a:latin typeface="Times"/>
                <a:cs typeface="Times"/>
              </a:rPr>
              <a:t>Bootstrap, AJAX</a:t>
            </a:r>
            <a:endParaRPr lang="en-US" sz="1800" dirty="0">
              <a:solidFill>
                <a:srgbClr val="652D74"/>
              </a:solidFill>
              <a:latin typeface="Times"/>
              <a:cs typeface="Time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="" xmlns:a16="http://schemas.microsoft.com/office/drawing/2014/main" id="{913771F6-87C3-4EA0-9E50-E3CEAFFEBA11}"/>
              </a:ext>
            </a:extLst>
          </p:cNvPr>
          <p:cNvSpPr/>
          <p:nvPr/>
        </p:nvSpPr>
        <p:spPr>
          <a:xfrm>
            <a:off x="4963594" y="1621966"/>
            <a:ext cx="121688" cy="121688"/>
          </a:xfrm>
          <a:prstGeom prst="ellipse">
            <a:avLst/>
          </a:prstGeom>
          <a:solidFill>
            <a:srgbClr val="110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652D74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56A5364F-3BFF-421B-9496-A888A08D7BAD}"/>
              </a:ext>
            </a:extLst>
          </p:cNvPr>
          <p:cNvSpPr/>
          <p:nvPr/>
        </p:nvSpPr>
        <p:spPr>
          <a:xfrm>
            <a:off x="4963594" y="4847644"/>
            <a:ext cx="121688" cy="121688"/>
          </a:xfrm>
          <a:prstGeom prst="ellipse">
            <a:avLst/>
          </a:prstGeom>
          <a:solidFill>
            <a:srgbClr val="110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652D74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CC1CDAD9-ECBC-4EC7-A4C5-FAA4457CA193}"/>
              </a:ext>
            </a:extLst>
          </p:cNvPr>
          <p:cNvSpPr/>
          <p:nvPr/>
        </p:nvSpPr>
        <p:spPr>
          <a:xfrm>
            <a:off x="4214929" y="2628655"/>
            <a:ext cx="121688" cy="121688"/>
          </a:xfrm>
          <a:prstGeom prst="ellipse">
            <a:avLst/>
          </a:prstGeom>
          <a:solidFill>
            <a:srgbClr val="110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652D74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3D2F642D-253A-41E6-AA4F-31DC0C514BD0}"/>
              </a:ext>
            </a:extLst>
          </p:cNvPr>
          <p:cNvSpPr/>
          <p:nvPr/>
        </p:nvSpPr>
        <p:spPr>
          <a:xfrm>
            <a:off x="4214929" y="3840956"/>
            <a:ext cx="121688" cy="121688"/>
          </a:xfrm>
          <a:prstGeom prst="ellipse">
            <a:avLst/>
          </a:prstGeom>
          <a:solidFill>
            <a:srgbClr val="110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652D74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F4D6635E-7892-4D95-A1A2-36EC9419FA57}"/>
              </a:ext>
            </a:extLst>
          </p:cNvPr>
          <p:cNvSpPr/>
          <p:nvPr/>
        </p:nvSpPr>
        <p:spPr>
          <a:xfrm>
            <a:off x="7111483" y="1621966"/>
            <a:ext cx="121688" cy="121688"/>
          </a:xfrm>
          <a:prstGeom prst="ellipse">
            <a:avLst/>
          </a:prstGeom>
          <a:solidFill>
            <a:srgbClr val="110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652D74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016EFC6B-4C19-4EAC-AADF-F00411626953}"/>
              </a:ext>
            </a:extLst>
          </p:cNvPr>
          <p:cNvSpPr/>
          <p:nvPr/>
        </p:nvSpPr>
        <p:spPr>
          <a:xfrm>
            <a:off x="7740133" y="2331168"/>
            <a:ext cx="121688" cy="121688"/>
          </a:xfrm>
          <a:prstGeom prst="ellipse">
            <a:avLst/>
          </a:prstGeom>
          <a:solidFill>
            <a:srgbClr val="110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652D74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6F5E5C6E-4ACD-4DDF-93B5-A7D5ED7DDFED}"/>
              </a:ext>
            </a:extLst>
          </p:cNvPr>
          <p:cNvSpPr/>
          <p:nvPr/>
        </p:nvSpPr>
        <p:spPr>
          <a:xfrm>
            <a:off x="7740133" y="4144032"/>
            <a:ext cx="121688" cy="121688"/>
          </a:xfrm>
          <a:prstGeom prst="ellipse">
            <a:avLst/>
          </a:prstGeom>
          <a:solidFill>
            <a:srgbClr val="110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652D7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44FCD8A6-68D3-4FEF-BFE8-A9ED128507AF}"/>
              </a:ext>
            </a:extLst>
          </p:cNvPr>
          <p:cNvSpPr/>
          <p:nvPr/>
        </p:nvSpPr>
        <p:spPr>
          <a:xfrm>
            <a:off x="7111483" y="4847644"/>
            <a:ext cx="121688" cy="121688"/>
          </a:xfrm>
          <a:prstGeom prst="ellipse">
            <a:avLst/>
          </a:prstGeom>
          <a:solidFill>
            <a:srgbClr val="110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652D74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DBCE6BBC-2568-490A-B8F4-2AE4774CB0E1}"/>
              </a:ext>
            </a:extLst>
          </p:cNvPr>
          <p:cNvGrpSpPr/>
          <p:nvPr/>
        </p:nvGrpSpPr>
        <p:grpSpPr>
          <a:xfrm>
            <a:off x="5139056" y="1777418"/>
            <a:ext cx="398144" cy="347278"/>
            <a:chOff x="3395663" y="1479551"/>
            <a:chExt cx="360363" cy="314325"/>
          </a:xfrm>
          <a:solidFill>
            <a:schemeClr val="bg1"/>
          </a:solidFill>
        </p:grpSpPr>
        <p:sp>
          <p:nvSpPr>
            <p:cNvPr id="24" name="Freeform 45">
              <a:extLst>
                <a:ext uri="{FF2B5EF4-FFF2-40B4-BE49-F238E27FC236}">
                  <a16:creationId xmlns="" xmlns:a16="http://schemas.microsoft.com/office/drawing/2014/main" id="{2AFB2817-BC3F-45F0-ADC8-C5442F1162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5663" y="1479551"/>
              <a:ext cx="285750" cy="314325"/>
            </a:xfrm>
            <a:custGeom>
              <a:avLst/>
              <a:gdLst>
                <a:gd name="T0" fmla="*/ 8 w 1076"/>
                <a:gd name="T1" fmla="*/ 1180 h 1188"/>
                <a:gd name="T2" fmla="*/ 2 w 1076"/>
                <a:gd name="T3" fmla="*/ 1090 h 1188"/>
                <a:gd name="T4" fmla="*/ 28 w 1076"/>
                <a:gd name="T5" fmla="*/ 880 h 1188"/>
                <a:gd name="T6" fmla="*/ 78 w 1076"/>
                <a:gd name="T7" fmla="*/ 820 h 1188"/>
                <a:gd name="T8" fmla="*/ 273 w 1076"/>
                <a:gd name="T9" fmla="*/ 729 h 1188"/>
                <a:gd name="T10" fmla="*/ 379 w 1076"/>
                <a:gd name="T11" fmla="*/ 571 h 1188"/>
                <a:gd name="T12" fmla="*/ 314 w 1076"/>
                <a:gd name="T13" fmla="*/ 506 h 1188"/>
                <a:gd name="T14" fmla="*/ 284 w 1076"/>
                <a:gd name="T15" fmla="*/ 392 h 1188"/>
                <a:gd name="T16" fmla="*/ 267 w 1076"/>
                <a:gd name="T17" fmla="*/ 207 h 1188"/>
                <a:gd name="T18" fmla="*/ 277 w 1076"/>
                <a:gd name="T19" fmla="*/ 119 h 1188"/>
                <a:gd name="T20" fmla="*/ 318 w 1076"/>
                <a:gd name="T21" fmla="*/ 83 h 1188"/>
                <a:gd name="T22" fmla="*/ 373 w 1076"/>
                <a:gd name="T23" fmla="*/ 59 h 1188"/>
                <a:gd name="T24" fmla="*/ 458 w 1076"/>
                <a:gd name="T25" fmla="*/ 13 h 1188"/>
                <a:gd name="T26" fmla="*/ 580 w 1076"/>
                <a:gd name="T27" fmla="*/ 0 h 1188"/>
                <a:gd name="T28" fmla="*/ 697 w 1076"/>
                <a:gd name="T29" fmla="*/ 22 h 1188"/>
                <a:gd name="T30" fmla="*/ 773 w 1076"/>
                <a:gd name="T31" fmla="*/ 88 h 1188"/>
                <a:gd name="T32" fmla="*/ 782 w 1076"/>
                <a:gd name="T33" fmla="*/ 160 h 1188"/>
                <a:gd name="T34" fmla="*/ 746 w 1076"/>
                <a:gd name="T35" fmla="*/ 263 h 1188"/>
                <a:gd name="T36" fmla="*/ 779 w 1076"/>
                <a:gd name="T37" fmla="*/ 324 h 1188"/>
                <a:gd name="T38" fmla="*/ 761 w 1076"/>
                <a:gd name="T39" fmla="*/ 394 h 1188"/>
                <a:gd name="T40" fmla="*/ 731 w 1076"/>
                <a:gd name="T41" fmla="*/ 464 h 1188"/>
                <a:gd name="T42" fmla="*/ 688 w 1076"/>
                <a:gd name="T43" fmla="*/ 567 h 1188"/>
                <a:gd name="T44" fmla="*/ 861 w 1076"/>
                <a:gd name="T45" fmla="*/ 752 h 1188"/>
                <a:gd name="T46" fmla="*/ 1014 w 1076"/>
                <a:gd name="T47" fmla="*/ 831 h 1188"/>
                <a:gd name="T48" fmla="*/ 1057 w 1076"/>
                <a:gd name="T49" fmla="*/ 915 h 1188"/>
                <a:gd name="T50" fmla="*/ 1076 w 1076"/>
                <a:gd name="T51" fmla="*/ 1160 h 1188"/>
                <a:gd name="T52" fmla="*/ 1059 w 1076"/>
                <a:gd name="T53" fmla="*/ 1186 h 1188"/>
                <a:gd name="T54" fmla="*/ 1018 w 1076"/>
                <a:gd name="T55" fmla="*/ 1080 h 1188"/>
                <a:gd name="T56" fmla="*/ 995 w 1076"/>
                <a:gd name="T57" fmla="*/ 898 h 1188"/>
                <a:gd name="T58" fmla="*/ 938 w 1076"/>
                <a:gd name="T59" fmla="*/ 847 h 1188"/>
                <a:gd name="T60" fmla="*/ 642 w 1076"/>
                <a:gd name="T61" fmla="*/ 730 h 1188"/>
                <a:gd name="T62" fmla="*/ 625 w 1076"/>
                <a:gd name="T63" fmla="*/ 712 h 1188"/>
                <a:gd name="T64" fmla="*/ 631 w 1076"/>
                <a:gd name="T65" fmla="*/ 542 h 1188"/>
                <a:gd name="T66" fmla="*/ 658 w 1076"/>
                <a:gd name="T67" fmla="*/ 508 h 1188"/>
                <a:gd name="T68" fmla="*/ 680 w 1076"/>
                <a:gd name="T69" fmla="*/ 413 h 1188"/>
                <a:gd name="T70" fmla="*/ 693 w 1076"/>
                <a:gd name="T71" fmla="*/ 369 h 1188"/>
                <a:gd name="T72" fmla="*/ 717 w 1076"/>
                <a:gd name="T73" fmla="*/ 358 h 1188"/>
                <a:gd name="T74" fmla="*/ 717 w 1076"/>
                <a:gd name="T75" fmla="*/ 313 h 1188"/>
                <a:gd name="T76" fmla="*/ 693 w 1076"/>
                <a:gd name="T77" fmla="*/ 302 h 1188"/>
                <a:gd name="T78" fmla="*/ 681 w 1076"/>
                <a:gd name="T79" fmla="*/ 272 h 1188"/>
                <a:gd name="T80" fmla="*/ 718 w 1076"/>
                <a:gd name="T81" fmla="*/ 186 h 1188"/>
                <a:gd name="T82" fmla="*/ 723 w 1076"/>
                <a:gd name="T83" fmla="*/ 115 h 1188"/>
                <a:gd name="T84" fmla="*/ 682 w 1076"/>
                <a:gd name="T85" fmla="*/ 78 h 1188"/>
                <a:gd name="T86" fmla="*/ 563 w 1076"/>
                <a:gd name="T87" fmla="*/ 57 h 1188"/>
                <a:gd name="T88" fmla="*/ 435 w 1076"/>
                <a:gd name="T89" fmla="*/ 82 h 1188"/>
                <a:gd name="T90" fmla="*/ 403 w 1076"/>
                <a:gd name="T91" fmla="*/ 115 h 1188"/>
                <a:gd name="T92" fmla="*/ 376 w 1076"/>
                <a:gd name="T93" fmla="*/ 137 h 1188"/>
                <a:gd name="T94" fmla="*/ 333 w 1076"/>
                <a:gd name="T95" fmla="*/ 137 h 1188"/>
                <a:gd name="T96" fmla="*/ 321 w 1076"/>
                <a:gd name="T97" fmla="*/ 179 h 1188"/>
                <a:gd name="T98" fmla="*/ 340 w 1076"/>
                <a:gd name="T99" fmla="*/ 279 h 1188"/>
                <a:gd name="T100" fmla="*/ 360 w 1076"/>
                <a:gd name="T101" fmla="*/ 475 h 1188"/>
                <a:gd name="T102" fmla="*/ 428 w 1076"/>
                <a:gd name="T103" fmla="*/ 533 h 1188"/>
                <a:gd name="T104" fmla="*/ 450 w 1076"/>
                <a:gd name="T105" fmla="*/ 550 h 1188"/>
                <a:gd name="T106" fmla="*/ 452 w 1076"/>
                <a:gd name="T107" fmla="*/ 712 h 1188"/>
                <a:gd name="T108" fmla="*/ 435 w 1076"/>
                <a:gd name="T109" fmla="*/ 730 h 1188"/>
                <a:gd name="T110" fmla="*/ 142 w 1076"/>
                <a:gd name="T111" fmla="*/ 846 h 1188"/>
                <a:gd name="T112" fmla="*/ 82 w 1076"/>
                <a:gd name="T113" fmla="*/ 898 h 1188"/>
                <a:gd name="T114" fmla="*/ 60 w 1076"/>
                <a:gd name="T115" fmla="*/ 1048 h 1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76" h="1188">
                  <a:moveTo>
                    <a:pt x="1048" y="1188"/>
                  </a:moveTo>
                  <a:lnTo>
                    <a:pt x="28" y="1188"/>
                  </a:lnTo>
                  <a:lnTo>
                    <a:pt x="28" y="1188"/>
                  </a:lnTo>
                  <a:lnTo>
                    <a:pt x="22" y="1188"/>
                  </a:lnTo>
                  <a:lnTo>
                    <a:pt x="17" y="1186"/>
                  </a:lnTo>
                  <a:lnTo>
                    <a:pt x="12" y="1183"/>
                  </a:lnTo>
                  <a:lnTo>
                    <a:pt x="8" y="1180"/>
                  </a:lnTo>
                  <a:lnTo>
                    <a:pt x="5" y="1176"/>
                  </a:lnTo>
                  <a:lnTo>
                    <a:pt x="2" y="1171"/>
                  </a:lnTo>
                  <a:lnTo>
                    <a:pt x="1" y="1166"/>
                  </a:lnTo>
                  <a:lnTo>
                    <a:pt x="0" y="1160"/>
                  </a:lnTo>
                  <a:lnTo>
                    <a:pt x="0" y="1160"/>
                  </a:lnTo>
                  <a:lnTo>
                    <a:pt x="0" y="1124"/>
                  </a:lnTo>
                  <a:lnTo>
                    <a:pt x="2" y="1090"/>
                  </a:lnTo>
                  <a:lnTo>
                    <a:pt x="4" y="1048"/>
                  </a:lnTo>
                  <a:lnTo>
                    <a:pt x="7" y="1003"/>
                  </a:lnTo>
                  <a:lnTo>
                    <a:pt x="12" y="958"/>
                  </a:lnTo>
                  <a:lnTo>
                    <a:pt x="15" y="936"/>
                  </a:lnTo>
                  <a:lnTo>
                    <a:pt x="19" y="915"/>
                  </a:lnTo>
                  <a:lnTo>
                    <a:pt x="23" y="897"/>
                  </a:lnTo>
                  <a:lnTo>
                    <a:pt x="28" y="880"/>
                  </a:lnTo>
                  <a:lnTo>
                    <a:pt x="28" y="880"/>
                  </a:lnTo>
                  <a:lnTo>
                    <a:pt x="30" y="873"/>
                  </a:lnTo>
                  <a:lnTo>
                    <a:pt x="34" y="867"/>
                  </a:lnTo>
                  <a:lnTo>
                    <a:pt x="41" y="855"/>
                  </a:lnTo>
                  <a:lnTo>
                    <a:pt x="51" y="842"/>
                  </a:lnTo>
                  <a:lnTo>
                    <a:pt x="63" y="831"/>
                  </a:lnTo>
                  <a:lnTo>
                    <a:pt x="78" y="820"/>
                  </a:lnTo>
                  <a:lnTo>
                    <a:pt x="94" y="809"/>
                  </a:lnTo>
                  <a:lnTo>
                    <a:pt x="112" y="798"/>
                  </a:lnTo>
                  <a:lnTo>
                    <a:pt x="131" y="788"/>
                  </a:lnTo>
                  <a:lnTo>
                    <a:pt x="151" y="778"/>
                  </a:lnTo>
                  <a:lnTo>
                    <a:pt x="174" y="769"/>
                  </a:lnTo>
                  <a:lnTo>
                    <a:pt x="221" y="748"/>
                  </a:lnTo>
                  <a:lnTo>
                    <a:pt x="273" y="729"/>
                  </a:lnTo>
                  <a:lnTo>
                    <a:pt x="327" y="710"/>
                  </a:lnTo>
                  <a:lnTo>
                    <a:pt x="327" y="710"/>
                  </a:lnTo>
                  <a:lnTo>
                    <a:pt x="397" y="685"/>
                  </a:lnTo>
                  <a:lnTo>
                    <a:pt x="397" y="582"/>
                  </a:lnTo>
                  <a:lnTo>
                    <a:pt x="397" y="582"/>
                  </a:lnTo>
                  <a:lnTo>
                    <a:pt x="388" y="577"/>
                  </a:lnTo>
                  <a:lnTo>
                    <a:pt x="379" y="571"/>
                  </a:lnTo>
                  <a:lnTo>
                    <a:pt x="368" y="565"/>
                  </a:lnTo>
                  <a:lnTo>
                    <a:pt x="358" y="558"/>
                  </a:lnTo>
                  <a:lnTo>
                    <a:pt x="349" y="549"/>
                  </a:lnTo>
                  <a:lnTo>
                    <a:pt x="340" y="539"/>
                  </a:lnTo>
                  <a:lnTo>
                    <a:pt x="331" y="529"/>
                  </a:lnTo>
                  <a:lnTo>
                    <a:pt x="322" y="518"/>
                  </a:lnTo>
                  <a:lnTo>
                    <a:pt x="314" y="506"/>
                  </a:lnTo>
                  <a:lnTo>
                    <a:pt x="307" y="493"/>
                  </a:lnTo>
                  <a:lnTo>
                    <a:pt x="300" y="479"/>
                  </a:lnTo>
                  <a:lnTo>
                    <a:pt x="295" y="464"/>
                  </a:lnTo>
                  <a:lnTo>
                    <a:pt x="290" y="448"/>
                  </a:lnTo>
                  <a:lnTo>
                    <a:pt x="286" y="430"/>
                  </a:lnTo>
                  <a:lnTo>
                    <a:pt x="284" y="412"/>
                  </a:lnTo>
                  <a:lnTo>
                    <a:pt x="284" y="392"/>
                  </a:lnTo>
                  <a:lnTo>
                    <a:pt x="284" y="279"/>
                  </a:lnTo>
                  <a:lnTo>
                    <a:pt x="284" y="279"/>
                  </a:lnTo>
                  <a:lnTo>
                    <a:pt x="280" y="267"/>
                  </a:lnTo>
                  <a:lnTo>
                    <a:pt x="280" y="267"/>
                  </a:lnTo>
                  <a:lnTo>
                    <a:pt x="276" y="249"/>
                  </a:lnTo>
                  <a:lnTo>
                    <a:pt x="271" y="228"/>
                  </a:lnTo>
                  <a:lnTo>
                    <a:pt x="267" y="207"/>
                  </a:lnTo>
                  <a:lnTo>
                    <a:pt x="264" y="184"/>
                  </a:lnTo>
                  <a:lnTo>
                    <a:pt x="264" y="173"/>
                  </a:lnTo>
                  <a:lnTo>
                    <a:pt x="265" y="161"/>
                  </a:lnTo>
                  <a:lnTo>
                    <a:pt x="266" y="151"/>
                  </a:lnTo>
                  <a:lnTo>
                    <a:pt x="268" y="140"/>
                  </a:lnTo>
                  <a:lnTo>
                    <a:pt x="272" y="129"/>
                  </a:lnTo>
                  <a:lnTo>
                    <a:pt x="277" y="119"/>
                  </a:lnTo>
                  <a:lnTo>
                    <a:pt x="282" y="110"/>
                  </a:lnTo>
                  <a:lnTo>
                    <a:pt x="289" y="102"/>
                  </a:lnTo>
                  <a:lnTo>
                    <a:pt x="289" y="102"/>
                  </a:lnTo>
                  <a:lnTo>
                    <a:pt x="295" y="96"/>
                  </a:lnTo>
                  <a:lnTo>
                    <a:pt x="302" y="90"/>
                  </a:lnTo>
                  <a:lnTo>
                    <a:pt x="310" y="86"/>
                  </a:lnTo>
                  <a:lnTo>
                    <a:pt x="318" y="83"/>
                  </a:lnTo>
                  <a:lnTo>
                    <a:pt x="327" y="80"/>
                  </a:lnTo>
                  <a:lnTo>
                    <a:pt x="337" y="79"/>
                  </a:lnTo>
                  <a:lnTo>
                    <a:pt x="347" y="78"/>
                  </a:lnTo>
                  <a:lnTo>
                    <a:pt x="357" y="78"/>
                  </a:lnTo>
                  <a:lnTo>
                    <a:pt x="357" y="78"/>
                  </a:lnTo>
                  <a:lnTo>
                    <a:pt x="364" y="68"/>
                  </a:lnTo>
                  <a:lnTo>
                    <a:pt x="373" y="59"/>
                  </a:lnTo>
                  <a:lnTo>
                    <a:pt x="383" y="50"/>
                  </a:lnTo>
                  <a:lnTo>
                    <a:pt x="393" y="42"/>
                  </a:lnTo>
                  <a:lnTo>
                    <a:pt x="405" y="34"/>
                  </a:lnTo>
                  <a:lnTo>
                    <a:pt x="417" y="28"/>
                  </a:lnTo>
                  <a:lnTo>
                    <a:pt x="430" y="22"/>
                  </a:lnTo>
                  <a:lnTo>
                    <a:pt x="444" y="17"/>
                  </a:lnTo>
                  <a:lnTo>
                    <a:pt x="458" y="13"/>
                  </a:lnTo>
                  <a:lnTo>
                    <a:pt x="473" y="9"/>
                  </a:lnTo>
                  <a:lnTo>
                    <a:pt x="488" y="6"/>
                  </a:lnTo>
                  <a:lnTo>
                    <a:pt x="503" y="4"/>
                  </a:lnTo>
                  <a:lnTo>
                    <a:pt x="533" y="1"/>
                  </a:lnTo>
                  <a:lnTo>
                    <a:pt x="563" y="0"/>
                  </a:lnTo>
                  <a:lnTo>
                    <a:pt x="563" y="0"/>
                  </a:lnTo>
                  <a:lnTo>
                    <a:pt x="580" y="0"/>
                  </a:lnTo>
                  <a:lnTo>
                    <a:pt x="597" y="1"/>
                  </a:lnTo>
                  <a:lnTo>
                    <a:pt x="614" y="2"/>
                  </a:lnTo>
                  <a:lnTo>
                    <a:pt x="631" y="5"/>
                  </a:lnTo>
                  <a:lnTo>
                    <a:pt x="648" y="8"/>
                  </a:lnTo>
                  <a:lnTo>
                    <a:pt x="664" y="12"/>
                  </a:lnTo>
                  <a:lnTo>
                    <a:pt x="681" y="17"/>
                  </a:lnTo>
                  <a:lnTo>
                    <a:pt x="697" y="22"/>
                  </a:lnTo>
                  <a:lnTo>
                    <a:pt x="711" y="29"/>
                  </a:lnTo>
                  <a:lnTo>
                    <a:pt x="725" y="36"/>
                  </a:lnTo>
                  <a:lnTo>
                    <a:pt x="738" y="45"/>
                  </a:lnTo>
                  <a:lnTo>
                    <a:pt x="749" y="55"/>
                  </a:lnTo>
                  <a:lnTo>
                    <a:pt x="759" y="65"/>
                  </a:lnTo>
                  <a:lnTo>
                    <a:pt x="767" y="76"/>
                  </a:lnTo>
                  <a:lnTo>
                    <a:pt x="773" y="88"/>
                  </a:lnTo>
                  <a:lnTo>
                    <a:pt x="779" y="102"/>
                  </a:lnTo>
                  <a:lnTo>
                    <a:pt x="779" y="102"/>
                  </a:lnTo>
                  <a:lnTo>
                    <a:pt x="781" y="113"/>
                  </a:lnTo>
                  <a:lnTo>
                    <a:pt x="783" y="125"/>
                  </a:lnTo>
                  <a:lnTo>
                    <a:pt x="783" y="136"/>
                  </a:lnTo>
                  <a:lnTo>
                    <a:pt x="783" y="149"/>
                  </a:lnTo>
                  <a:lnTo>
                    <a:pt x="782" y="160"/>
                  </a:lnTo>
                  <a:lnTo>
                    <a:pt x="780" y="171"/>
                  </a:lnTo>
                  <a:lnTo>
                    <a:pt x="775" y="192"/>
                  </a:lnTo>
                  <a:lnTo>
                    <a:pt x="768" y="212"/>
                  </a:lnTo>
                  <a:lnTo>
                    <a:pt x="761" y="231"/>
                  </a:lnTo>
                  <a:lnTo>
                    <a:pt x="754" y="248"/>
                  </a:lnTo>
                  <a:lnTo>
                    <a:pt x="746" y="263"/>
                  </a:lnTo>
                  <a:lnTo>
                    <a:pt x="746" y="263"/>
                  </a:lnTo>
                  <a:lnTo>
                    <a:pt x="753" y="269"/>
                  </a:lnTo>
                  <a:lnTo>
                    <a:pt x="760" y="276"/>
                  </a:lnTo>
                  <a:lnTo>
                    <a:pt x="765" y="284"/>
                  </a:lnTo>
                  <a:lnTo>
                    <a:pt x="770" y="293"/>
                  </a:lnTo>
                  <a:lnTo>
                    <a:pt x="774" y="302"/>
                  </a:lnTo>
                  <a:lnTo>
                    <a:pt x="777" y="313"/>
                  </a:lnTo>
                  <a:lnTo>
                    <a:pt x="779" y="324"/>
                  </a:lnTo>
                  <a:lnTo>
                    <a:pt x="780" y="335"/>
                  </a:lnTo>
                  <a:lnTo>
                    <a:pt x="780" y="335"/>
                  </a:lnTo>
                  <a:lnTo>
                    <a:pt x="779" y="350"/>
                  </a:lnTo>
                  <a:lnTo>
                    <a:pt x="777" y="362"/>
                  </a:lnTo>
                  <a:lnTo>
                    <a:pt x="772" y="374"/>
                  </a:lnTo>
                  <a:lnTo>
                    <a:pt x="767" y="385"/>
                  </a:lnTo>
                  <a:lnTo>
                    <a:pt x="761" y="394"/>
                  </a:lnTo>
                  <a:lnTo>
                    <a:pt x="754" y="402"/>
                  </a:lnTo>
                  <a:lnTo>
                    <a:pt x="745" y="409"/>
                  </a:lnTo>
                  <a:lnTo>
                    <a:pt x="736" y="414"/>
                  </a:lnTo>
                  <a:lnTo>
                    <a:pt x="736" y="414"/>
                  </a:lnTo>
                  <a:lnTo>
                    <a:pt x="735" y="432"/>
                  </a:lnTo>
                  <a:lnTo>
                    <a:pt x="733" y="449"/>
                  </a:lnTo>
                  <a:lnTo>
                    <a:pt x="731" y="464"/>
                  </a:lnTo>
                  <a:lnTo>
                    <a:pt x="728" y="478"/>
                  </a:lnTo>
                  <a:lnTo>
                    <a:pt x="725" y="490"/>
                  </a:lnTo>
                  <a:lnTo>
                    <a:pt x="722" y="502"/>
                  </a:lnTo>
                  <a:lnTo>
                    <a:pt x="714" y="523"/>
                  </a:lnTo>
                  <a:lnTo>
                    <a:pt x="705" y="541"/>
                  </a:lnTo>
                  <a:lnTo>
                    <a:pt x="697" y="556"/>
                  </a:lnTo>
                  <a:lnTo>
                    <a:pt x="688" y="567"/>
                  </a:lnTo>
                  <a:lnTo>
                    <a:pt x="680" y="576"/>
                  </a:lnTo>
                  <a:lnTo>
                    <a:pt x="680" y="685"/>
                  </a:lnTo>
                  <a:lnTo>
                    <a:pt x="680" y="685"/>
                  </a:lnTo>
                  <a:lnTo>
                    <a:pt x="756" y="712"/>
                  </a:lnTo>
                  <a:lnTo>
                    <a:pt x="756" y="712"/>
                  </a:lnTo>
                  <a:lnTo>
                    <a:pt x="811" y="732"/>
                  </a:lnTo>
                  <a:lnTo>
                    <a:pt x="861" y="752"/>
                  </a:lnTo>
                  <a:lnTo>
                    <a:pt x="909" y="770"/>
                  </a:lnTo>
                  <a:lnTo>
                    <a:pt x="930" y="780"/>
                  </a:lnTo>
                  <a:lnTo>
                    <a:pt x="950" y="790"/>
                  </a:lnTo>
                  <a:lnTo>
                    <a:pt x="968" y="800"/>
                  </a:lnTo>
                  <a:lnTo>
                    <a:pt x="986" y="810"/>
                  </a:lnTo>
                  <a:lnTo>
                    <a:pt x="1001" y="820"/>
                  </a:lnTo>
                  <a:lnTo>
                    <a:pt x="1014" y="831"/>
                  </a:lnTo>
                  <a:lnTo>
                    <a:pt x="1026" y="842"/>
                  </a:lnTo>
                  <a:lnTo>
                    <a:pt x="1035" y="855"/>
                  </a:lnTo>
                  <a:lnTo>
                    <a:pt x="1043" y="867"/>
                  </a:lnTo>
                  <a:lnTo>
                    <a:pt x="1048" y="880"/>
                  </a:lnTo>
                  <a:lnTo>
                    <a:pt x="1048" y="880"/>
                  </a:lnTo>
                  <a:lnTo>
                    <a:pt x="1053" y="897"/>
                  </a:lnTo>
                  <a:lnTo>
                    <a:pt x="1057" y="915"/>
                  </a:lnTo>
                  <a:lnTo>
                    <a:pt x="1061" y="936"/>
                  </a:lnTo>
                  <a:lnTo>
                    <a:pt x="1064" y="958"/>
                  </a:lnTo>
                  <a:lnTo>
                    <a:pt x="1069" y="1003"/>
                  </a:lnTo>
                  <a:lnTo>
                    <a:pt x="1073" y="1048"/>
                  </a:lnTo>
                  <a:lnTo>
                    <a:pt x="1075" y="1090"/>
                  </a:lnTo>
                  <a:lnTo>
                    <a:pt x="1076" y="1124"/>
                  </a:lnTo>
                  <a:lnTo>
                    <a:pt x="1076" y="1160"/>
                  </a:lnTo>
                  <a:lnTo>
                    <a:pt x="1076" y="1160"/>
                  </a:lnTo>
                  <a:lnTo>
                    <a:pt x="1076" y="1166"/>
                  </a:lnTo>
                  <a:lnTo>
                    <a:pt x="1074" y="1171"/>
                  </a:lnTo>
                  <a:lnTo>
                    <a:pt x="1072" y="1176"/>
                  </a:lnTo>
                  <a:lnTo>
                    <a:pt x="1068" y="1180"/>
                  </a:lnTo>
                  <a:lnTo>
                    <a:pt x="1064" y="1183"/>
                  </a:lnTo>
                  <a:lnTo>
                    <a:pt x="1059" y="1186"/>
                  </a:lnTo>
                  <a:lnTo>
                    <a:pt x="1054" y="1188"/>
                  </a:lnTo>
                  <a:lnTo>
                    <a:pt x="1048" y="1188"/>
                  </a:lnTo>
                  <a:lnTo>
                    <a:pt x="1048" y="1188"/>
                  </a:lnTo>
                  <a:close/>
                  <a:moveTo>
                    <a:pt x="56" y="1131"/>
                  </a:moveTo>
                  <a:lnTo>
                    <a:pt x="1020" y="1131"/>
                  </a:lnTo>
                  <a:lnTo>
                    <a:pt x="1020" y="1131"/>
                  </a:lnTo>
                  <a:lnTo>
                    <a:pt x="1018" y="1080"/>
                  </a:lnTo>
                  <a:lnTo>
                    <a:pt x="1016" y="1048"/>
                  </a:lnTo>
                  <a:lnTo>
                    <a:pt x="1014" y="1015"/>
                  </a:lnTo>
                  <a:lnTo>
                    <a:pt x="1011" y="983"/>
                  </a:lnTo>
                  <a:lnTo>
                    <a:pt x="1007" y="950"/>
                  </a:lnTo>
                  <a:lnTo>
                    <a:pt x="1002" y="922"/>
                  </a:lnTo>
                  <a:lnTo>
                    <a:pt x="998" y="909"/>
                  </a:lnTo>
                  <a:lnTo>
                    <a:pt x="995" y="898"/>
                  </a:lnTo>
                  <a:lnTo>
                    <a:pt x="995" y="898"/>
                  </a:lnTo>
                  <a:lnTo>
                    <a:pt x="991" y="889"/>
                  </a:lnTo>
                  <a:lnTo>
                    <a:pt x="985" y="881"/>
                  </a:lnTo>
                  <a:lnTo>
                    <a:pt x="975" y="873"/>
                  </a:lnTo>
                  <a:lnTo>
                    <a:pt x="965" y="864"/>
                  </a:lnTo>
                  <a:lnTo>
                    <a:pt x="952" y="856"/>
                  </a:lnTo>
                  <a:lnTo>
                    <a:pt x="938" y="847"/>
                  </a:lnTo>
                  <a:lnTo>
                    <a:pt x="922" y="839"/>
                  </a:lnTo>
                  <a:lnTo>
                    <a:pt x="905" y="831"/>
                  </a:lnTo>
                  <a:lnTo>
                    <a:pt x="867" y="814"/>
                  </a:lnTo>
                  <a:lnTo>
                    <a:pt x="825" y="798"/>
                  </a:lnTo>
                  <a:lnTo>
                    <a:pt x="737" y="766"/>
                  </a:lnTo>
                  <a:lnTo>
                    <a:pt x="737" y="766"/>
                  </a:lnTo>
                  <a:lnTo>
                    <a:pt x="642" y="730"/>
                  </a:lnTo>
                  <a:lnTo>
                    <a:pt x="642" y="730"/>
                  </a:lnTo>
                  <a:lnTo>
                    <a:pt x="638" y="728"/>
                  </a:lnTo>
                  <a:lnTo>
                    <a:pt x="634" y="726"/>
                  </a:lnTo>
                  <a:lnTo>
                    <a:pt x="631" y="723"/>
                  </a:lnTo>
                  <a:lnTo>
                    <a:pt x="628" y="720"/>
                  </a:lnTo>
                  <a:lnTo>
                    <a:pt x="626" y="716"/>
                  </a:lnTo>
                  <a:lnTo>
                    <a:pt x="625" y="712"/>
                  </a:lnTo>
                  <a:lnTo>
                    <a:pt x="624" y="708"/>
                  </a:lnTo>
                  <a:lnTo>
                    <a:pt x="623" y="704"/>
                  </a:lnTo>
                  <a:lnTo>
                    <a:pt x="623" y="563"/>
                  </a:lnTo>
                  <a:lnTo>
                    <a:pt x="623" y="563"/>
                  </a:lnTo>
                  <a:lnTo>
                    <a:pt x="624" y="556"/>
                  </a:lnTo>
                  <a:lnTo>
                    <a:pt x="627" y="549"/>
                  </a:lnTo>
                  <a:lnTo>
                    <a:pt x="631" y="542"/>
                  </a:lnTo>
                  <a:lnTo>
                    <a:pt x="637" y="538"/>
                  </a:lnTo>
                  <a:lnTo>
                    <a:pt x="637" y="538"/>
                  </a:lnTo>
                  <a:lnTo>
                    <a:pt x="637" y="538"/>
                  </a:lnTo>
                  <a:lnTo>
                    <a:pt x="638" y="536"/>
                  </a:lnTo>
                  <a:lnTo>
                    <a:pt x="643" y="531"/>
                  </a:lnTo>
                  <a:lnTo>
                    <a:pt x="650" y="522"/>
                  </a:lnTo>
                  <a:lnTo>
                    <a:pt x="658" y="508"/>
                  </a:lnTo>
                  <a:lnTo>
                    <a:pt x="662" y="499"/>
                  </a:lnTo>
                  <a:lnTo>
                    <a:pt x="666" y="489"/>
                  </a:lnTo>
                  <a:lnTo>
                    <a:pt x="670" y="477"/>
                  </a:lnTo>
                  <a:lnTo>
                    <a:pt x="673" y="463"/>
                  </a:lnTo>
                  <a:lnTo>
                    <a:pt x="677" y="449"/>
                  </a:lnTo>
                  <a:lnTo>
                    <a:pt x="679" y="431"/>
                  </a:lnTo>
                  <a:lnTo>
                    <a:pt x="680" y="413"/>
                  </a:lnTo>
                  <a:lnTo>
                    <a:pt x="680" y="392"/>
                  </a:lnTo>
                  <a:lnTo>
                    <a:pt x="680" y="392"/>
                  </a:lnTo>
                  <a:lnTo>
                    <a:pt x="681" y="387"/>
                  </a:lnTo>
                  <a:lnTo>
                    <a:pt x="683" y="381"/>
                  </a:lnTo>
                  <a:lnTo>
                    <a:pt x="685" y="377"/>
                  </a:lnTo>
                  <a:lnTo>
                    <a:pt x="689" y="372"/>
                  </a:lnTo>
                  <a:lnTo>
                    <a:pt x="693" y="369"/>
                  </a:lnTo>
                  <a:lnTo>
                    <a:pt x="698" y="366"/>
                  </a:lnTo>
                  <a:lnTo>
                    <a:pt x="703" y="365"/>
                  </a:lnTo>
                  <a:lnTo>
                    <a:pt x="709" y="364"/>
                  </a:lnTo>
                  <a:lnTo>
                    <a:pt x="709" y="364"/>
                  </a:lnTo>
                  <a:lnTo>
                    <a:pt x="712" y="364"/>
                  </a:lnTo>
                  <a:lnTo>
                    <a:pt x="715" y="362"/>
                  </a:lnTo>
                  <a:lnTo>
                    <a:pt x="717" y="358"/>
                  </a:lnTo>
                  <a:lnTo>
                    <a:pt x="719" y="355"/>
                  </a:lnTo>
                  <a:lnTo>
                    <a:pt x="722" y="346"/>
                  </a:lnTo>
                  <a:lnTo>
                    <a:pt x="723" y="335"/>
                  </a:lnTo>
                  <a:lnTo>
                    <a:pt x="723" y="335"/>
                  </a:lnTo>
                  <a:lnTo>
                    <a:pt x="722" y="326"/>
                  </a:lnTo>
                  <a:lnTo>
                    <a:pt x="719" y="317"/>
                  </a:lnTo>
                  <a:lnTo>
                    <a:pt x="717" y="313"/>
                  </a:lnTo>
                  <a:lnTo>
                    <a:pt x="715" y="310"/>
                  </a:lnTo>
                  <a:lnTo>
                    <a:pt x="712" y="308"/>
                  </a:lnTo>
                  <a:lnTo>
                    <a:pt x="709" y="307"/>
                  </a:lnTo>
                  <a:lnTo>
                    <a:pt x="709" y="307"/>
                  </a:lnTo>
                  <a:lnTo>
                    <a:pt x="703" y="307"/>
                  </a:lnTo>
                  <a:lnTo>
                    <a:pt x="698" y="305"/>
                  </a:lnTo>
                  <a:lnTo>
                    <a:pt x="693" y="302"/>
                  </a:lnTo>
                  <a:lnTo>
                    <a:pt x="689" y="299"/>
                  </a:lnTo>
                  <a:lnTo>
                    <a:pt x="685" y="295"/>
                  </a:lnTo>
                  <a:lnTo>
                    <a:pt x="683" y="290"/>
                  </a:lnTo>
                  <a:lnTo>
                    <a:pt x="681" y="285"/>
                  </a:lnTo>
                  <a:lnTo>
                    <a:pt x="680" y="279"/>
                  </a:lnTo>
                  <a:lnTo>
                    <a:pt x="680" y="279"/>
                  </a:lnTo>
                  <a:lnTo>
                    <a:pt x="681" y="272"/>
                  </a:lnTo>
                  <a:lnTo>
                    <a:pt x="684" y="264"/>
                  </a:lnTo>
                  <a:lnTo>
                    <a:pt x="688" y="255"/>
                  </a:lnTo>
                  <a:lnTo>
                    <a:pt x="693" y="244"/>
                  </a:lnTo>
                  <a:lnTo>
                    <a:pt x="693" y="244"/>
                  </a:lnTo>
                  <a:lnTo>
                    <a:pt x="706" y="218"/>
                  </a:lnTo>
                  <a:lnTo>
                    <a:pt x="712" y="202"/>
                  </a:lnTo>
                  <a:lnTo>
                    <a:pt x="718" y="186"/>
                  </a:lnTo>
                  <a:lnTo>
                    <a:pt x="723" y="169"/>
                  </a:lnTo>
                  <a:lnTo>
                    <a:pt x="725" y="151"/>
                  </a:lnTo>
                  <a:lnTo>
                    <a:pt x="726" y="142"/>
                  </a:lnTo>
                  <a:lnTo>
                    <a:pt x="726" y="133"/>
                  </a:lnTo>
                  <a:lnTo>
                    <a:pt x="725" y="124"/>
                  </a:lnTo>
                  <a:lnTo>
                    <a:pt x="723" y="115"/>
                  </a:lnTo>
                  <a:lnTo>
                    <a:pt x="723" y="115"/>
                  </a:lnTo>
                  <a:lnTo>
                    <a:pt x="721" y="109"/>
                  </a:lnTo>
                  <a:lnTo>
                    <a:pt x="718" y="103"/>
                  </a:lnTo>
                  <a:lnTo>
                    <a:pt x="713" y="98"/>
                  </a:lnTo>
                  <a:lnTo>
                    <a:pt x="707" y="92"/>
                  </a:lnTo>
                  <a:lnTo>
                    <a:pt x="699" y="87"/>
                  </a:lnTo>
                  <a:lnTo>
                    <a:pt x="691" y="82"/>
                  </a:lnTo>
                  <a:lnTo>
                    <a:pt x="682" y="78"/>
                  </a:lnTo>
                  <a:lnTo>
                    <a:pt x="671" y="73"/>
                  </a:lnTo>
                  <a:lnTo>
                    <a:pt x="660" y="70"/>
                  </a:lnTo>
                  <a:lnTo>
                    <a:pt x="648" y="66"/>
                  </a:lnTo>
                  <a:lnTo>
                    <a:pt x="622" y="61"/>
                  </a:lnTo>
                  <a:lnTo>
                    <a:pt x="594" y="58"/>
                  </a:lnTo>
                  <a:lnTo>
                    <a:pt x="563" y="57"/>
                  </a:lnTo>
                  <a:lnTo>
                    <a:pt x="563" y="57"/>
                  </a:lnTo>
                  <a:lnTo>
                    <a:pt x="533" y="58"/>
                  </a:lnTo>
                  <a:lnTo>
                    <a:pt x="504" y="61"/>
                  </a:lnTo>
                  <a:lnTo>
                    <a:pt x="479" y="66"/>
                  </a:lnTo>
                  <a:lnTo>
                    <a:pt x="466" y="70"/>
                  </a:lnTo>
                  <a:lnTo>
                    <a:pt x="455" y="73"/>
                  </a:lnTo>
                  <a:lnTo>
                    <a:pt x="445" y="78"/>
                  </a:lnTo>
                  <a:lnTo>
                    <a:pt x="435" y="82"/>
                  </a:lnTo>
                  <a:lnTo>
                    <a:pt x="427" y="87"/>
                  </a:lnTo>
                  <a:lnTo>
                    <a:pt x="420" y="92"/>
                  </a:lnTo>
                  <a:lnTo>
                    <a:pt x="414" y="98"/>
                  </a:lnTo>
                  <a:lnTo>
                    <a:pt x="409" y="103"/>
                  </a:lnTo>
                  <a:lnTo>
                    <a:pt x="405" y="109"/>
                  </a:lnTo>
                  <a:lnTo>
                    <a:pt x="403" y="115"/>
                  </a:lnTo>
                  <a:lnTo>
                    <a:pt x="403" y="115"/>
                  </a:lnTo>
                  <a:lnTo>
                    <a:pt x="401" y="121"/>
                  </a:lnTo>
                  <a:lnTo>
                    <a:pt x="398" y="125"/>
                  </a:lnTo>
                  <a:lnTo>
                    <a:pt x="395" y="129"/>
                  </a:lnTo>
                  <a:lnTo>
                    <a:pt x="391" y="132"/>
                  </a:lnTo>
                  <a:lnTo>
                    <a:pt x="386" y="135"/>
                  </a:lnTo>
                  <a:lnTo>
                    <a:pt x="381" y="136"/>
                  </a:lnTo>
                  <a:lnTo>
                    <a:pt x="376" y="137"/>
                  </a:lnTo>
                  <a:lnTo>
                    <a:pt x="369" y="136"/>
                  </a:lnTo>
                  <a:lnTo>
                    <a:pt x="369" y="136"/>
                  </a:lnTo>
                  <a:lnTo>
                    <a:pt x="359" y="135"/>
                  </a:lnTo>
                  <a:lnTo>
                    <a:pt x="348" y="134"/>
                  </a:lnTo>
                  <a:lnTo>
                    <a:pt x="343" y="134"/>
                  </a:lnTo>
                  <a:lnTo>
                    <a:pt x="338" y="136"/>
                  </a:lnTo>
                  <a:lnTo>
                    <a:pt x="333" y="137"/>
                  </a:lnTo>
                  <a:lnTo>
                    <a:pt x="330" y="141"/>
                  </a:lnTo>
                  <a:lnTo>
                    <a:pt x="330" y="141"/>
                  </a:lnTo>
                  <a:lnTo>
                    <a:pt x="327" y="145"/>
                  </a:lnTo>
                  <a:lnTo>
                    <a:pt x="324" y="151"/>
                  </a:lnTo>
                  <a:lnTo>
                    <a:pt x="323" y="157"/>
                  </a:lnTo>
                  <a:lnTo>
                    <a:pt x="322" y="163"/>
                  </a:lnTo>
                  <a:lnTo>
                    <a:pt x="321" y="179"/>
                  </a:lnTo>
                  <a:lnTo>
                    <a:pt x="323" y="195"/>
                  </a:lnTo>
                  <a:lnTo>
                    <a:pt x="326" y="212"/>
                  </a:lnTo>
                  <a:lnTo>
                    <a:pt x="329" y="228"/>
                  </a:lnTo>
                  <a:lnTo>
                    <a:pt x="335" y="253"/>
                  </a:lnTo>
                  <a:lnTo>
                    <a:pt x="335" y="253"/>
                  </a:lnTo>
                  <a:lnTo>
                    <a:pt x="338" y="268"/>
                  </a:lnTo>
                  <a:lnTo>
                    <a:pt x="340" y="279"/>
                  </a:lnTo>
                  <a:lnTo>
                    <a:pt x="340" y="392"/>
                  </a:lnTo>
                  <a:lnTo>
                    <a:pt x="340" y="392"/>
                  </a:lnTo>
                  <a:lnTo>
                    <a:pt x="341" y="412"/>
                  </a:lnTo>
                  <a:lnTo>
                    <a:pt x="344" y="430"/>
                  </a:lnTo>
                  <a:lnTo>
                    <a:pt x="348" y="447"/>
                  </a:lnTo>
                  <a:lnTo>
                    <a:pt x="354" y="462"/>
                  </a:lnTo>
                  <a:lnTo>
                    <a:pt x="360" y="475"/>
                  </a:lnTo>
                  <a:lnTo>
                    <a:pt x="368" y="486"/>
                  </a:lnTo>
                  <a:lnTo>
                    <a:pt x="377" y="496"/>
                  </a:lnTo>
                  <a:lnTo>
                    <a:pt x="386" y="505"/>
                  </a:lnTo>
                  <a:lnTo>
                    <a:pt x="394" y="513"/>
                  </a:lnTo>
                  <a:lnTo>
                    <a:pt x="402" y="519"/>
                  </a:lnTo>
                  <a:lnTo>
                    <a:pt x="417" y="528"/>
                  </a:lnTo>
                  <a:lnTo>
                    <a:pt x="428" y="533"/>
                  </a:lnTo>
                  <a:lnTo>
                    <a:pt x="433" y="535"/>
                  </a:lnTo>
                  <a:lnTo>
                    <a:pt x="433" y="535"/>
                  </a:lnTo>
                  <a:lnTo>
                    <a:pt x="438" y="537"/>
                  </a:lnTo>
                  <a:lnTo>
                    <a:pt x="441" y="539"/>
                  </a:lnTo>
                  <a:lnTo>
                    <a:pt x="445" y="542"/>
                  </a:lnTo>
                  <a:lnTo>
                    <a:pt x="448" y="545"/>
                  </a:lnTo>
                  <a:lnTo>
                    <a:pt x="450" y="550"/>
                  </a:lnTo>
                  <a:lnTo>
                    <a:pt x="452" y="554"/>
                  </a:lnTo>
                  <a:lnTo>
                    <a:pt x="453" y="558"/>
                  </a:lnTo>
                  <a:lnTo>
                    <a:pt x="453" y="563"/>
                  </a:lnTo>
                  <a:lnTo>
                    <a:pt x="453" y="704"/>
                  </a:lnTo>
                  <a:lnTo>
                    <a:pt x="453" y="704"/>
                  </a:lnTo>
                  <a:lnTo>
                    <a:pt x="453" y="708"/>
                  </a:lnTo>
                  <a:lnTo>
                    <a:pt x="452" y="712"/>
                  </a:lnTo>
                  <a:lnTo>
                    <a:pt x="450" y="716"/>
                  </a:lnTo>
                  <a:lnTo>
                    <a:pt x="448" y="720"/>
                  </a:lnTo>
                  <a:lnTo>
                    <a:pt x="445" y="723"/>
                  </a:lnTo>
                  <a:lnTo>
                    <a:pt x="442" y="726"/>
                  </a:lnTo>
                  <a:lnTo>
                    <a:pt x="439" y="728"/>
                  </a:lnTo>
                  <a:lnTo>
                    <a:pt x="435" y="730"/>
                  </a:lnTo>
                  <a:lnTo>
                    <a:pt x="435" y="730"/>
                  </a:lnTo>
                  <a:lnTo>
                    <a:pt x="346" y="764"/>
                  </a:lnTo>
                  <a:lnTo>
                    <a:pt x="346" y="764"/>
                  </a:lnTo>
                  <a:lnTo>
                    <a:pt x="260" y="795"/>
                  </a:lnTo>
                  <a:lnTo>
                    <a:pt x="218" y="811"/>
                  </a:lnTo>
                  <a:lnTo>
                    <a:pt x="178" y="828"/>
                  </a:lnTo>
                  <a:lnTo>
                    <a:pt x="159" y="837"/>
                  </a:lnTo>
                  <a:lnTo>
                    <a:pt x="142" y="846"/>
                  </a:lnTo>
                  <a:lnTo>
                    <a:pt x="127" y="855"/>
                  </a:lnTo>
                  <a:lnTo>
                    <a:pt x="114" y="864"/>
                  </a:lnTo>
                  <a:lnTo>
                    <a:pt x="102" y="872"/>
                  </a:lnTo>
                  <a:lnTo>
                    <a:pt x="93" y="881"/>
                  </a:lnTo>
                  <a:lnTo>
                    <a:pt x="86" y="889"/>
                  </a:lnTo>
                  <a:lnTo>
                    <a:pt x="84" y="893"/>
                  </a:lnTo>
                  <a:lnTo>
                    <a:pt x="82" y="898"/>
                  </a:lnTo>
                  <a:lnTo>
                    <a:pt x="82" y="898"/>
                  </a:lnTo>
                  <a:lnTo>
                    <a:pt x="79" y="909"/>
                  </a:lnTo>
                  <a:lnTo>
                    <a:pt x="76" y="922"/>
                  </a:lnTo>
                  <a:lnTo>
                    <a:pt x="71" y="950"/>
                  </a:lnTo>
                  <a:lnTo>
                    <a:pt x="65" y="983"/>
                  </a:lnTo>
                  <a:lnTo>
                    <a:pt x="62" y="1015"/>
                  </a:lnTo>
                  <a:lnTo>
                    <a:pt x="60" y="1048"/>
                  </a:lnTo>
                  <a:lnTo>
                    <a:pt x="58" y="1080"/>
                  </a:lnTo>
                  <a:lnTo>
                    <a:pt x="56" y="1131"/>
                  </a:lnTo>
                  <a:lnTo>
                    <a:pt x="56" y="11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25" name="Freeform 46">
              <a:extLst>
                <a:ext uri="{FF2B5EF4-FFF2-40B4-BE49-F238E27FC236}">
                  <a16:creationId xmlns="" xmlns:a16="http://schemas.microsoft.com/office/drawing/2014/main" id="{5F7F5578-3E72-436B-A8B0-DC8EC8BB6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388" y="1481138"/>
              <a:ext cx="147638" cy="312738"/>
            </a:xfrm>
            <a:custGeom>
              <a:avLst/>
              <a:gdLst>
                <a:gd name="T0" fmla="*/ 378 w 559"/>
                <a:gd name="T1" fmla="*/ 1181 h 1183"/>
                <a:gd name="T2" fmla="*/ 361 w 559"/>
                <a:gd name="T3" fmla="*/ 1161 h 1183"/>
                <a:gd name="T4" fmla="*/ 365 w 559"/>
                <a:gd name="T5" fmla="*/ 1138 h 1183"/>
                <a:gd name="T6" fmla="*/ 390 w 559"/>
                <a:gd name="T7" fmla="*/ 1126 h 1183"/>
                <a:gd name="T8" fmla="*/ 497 w 559"/>
                <a:gd name="T9" fmla="*/ 1010 h 1183"/>
                <a:gd name="T10" fmla="*/ 477 w 559"/>
                <a:gd name="T11" fmla="*/ 893 h 1183"/>
                <a:gd name="T12" fmla="*/ 446 w 559"/>
                <a:gd name="T13" fmla="*/ 854 h 1183"/>
                <a:gd name="T14" fmla="*/ 353 w 559"/>
                <a:gd name="T15" fmla="*/ 796 h 1183"/>
                <a:gd name="T16" fmla="*/ 124 w 559"/>
                <a:gd name="T17" fmla="*/ 697 h 1183"/>
                <a:gd name="T18" fmla="*/ 111 w 559"/>
                <a:gd name="T19" fmla="*/ 687 h 1183"/>
                <a:gd name="T20" fmla="*/ 106 w 559"/>
                <a:gd name="T21" fmla="*/ 586 h 1183"/>
                <a:gd name="T22" fmla="*/ 119 w 559"/>
                <a:gd name="T23" fmla="*/ 562 h 1183"/>
                <a:gd name="T24" fmla="*/ 133 w 559"/>
                <a:gd name="T25" fmla="*/ 546 h 1183"/>
                <a:gd name="T26" fmla="*/ 155 w 559"/>
                <a:gd name="T27" fmla="*/ 487 h 1183"/>
                <a:gd name="T28" fmla="*/ 162 w 559"/>
                <a:gd name="T29" fmla="*/ 415 h 1183"/>
                <a:gd name="T30" fmla="*/ 174 w 559"/>
                <a:gd name="T31" fmla="*/ 392 h 1183"/>
                <a:gd name="T32" fmla="*/ 195 w 559"/>
                <a:gd name="T33" fmla="*/ 387 h 1183"/>
                <a:gd name="T34" fmla="*/ 204 w 559"/>
                <a:gd name="T35" fmla="*/ 372 h 1183"/>
                <a:gd name="T36" fmla="*/ 202 w 559"/>
                <a:gd name="T37" fmla="*/ 341 h 1183"/>
                <a:gd name="T38" fmla="*/ 191 w 559"/>
                <a:gd name="T39" fmla="*/ 330 h 1183"/>
                <a:gd name="T40" fmla="*/ 170 w 559"/>
                <a:gd name="T41" fmla="*/ 322 h 1183"/>
                <a:gd name="T42" fmla="*/ 162 w 559"/>
                <a:gd name="T43" fmla="*/ 302 h 1183"/>
                <a:gd name="T44" fmla="*/ 188 w 559"/>
                <a:gd name="T45" fmla="*/ 239 h 1183"/>
                <a:gd name="T46" fmla="*/ 209 w 559"/>
                <a:gd name="T47" fmla="*/ 156 h 1183"/>
                <a:gd name="T48" fmla="*/ 203 w 559"/>
                <a:gd name="T49" fmla="*/ 122 h 1183"/>
                <a:gd name="T50" fmla="*/ 161 w 559"/>
                <a:gd name="T51" fmla="*/ 80 h 1183"/>
                <a:gd name="T52" fmla="*/ 115 w 559"/>
                <a:gd name="T53" fmla="*/ 60 h 1183"/>
                <a:gd name="T54" fmla="*/ 56 w 559"/>
                <a:gd name="T55" fmla="*/ 65 h 1183"/>
                <a:gd name="T56" fmla="*/ 28 w 559"/>
                <a:gd name="T57" fmla="*/ 77 h 1183"/>
                <a:gd name="T58" fmla="*/ 4 w 559"/>
                <a:gd name="T59" fmla="*/ 64 h 1183"/>
                <a:gd name="T60" fmla="*/ 0 w 559"/>
                <a:gd name="T61" fmla="*/ 43 h 1183"/>
                <a:gd name="T62" fmla="*/ 12 w 559"/>
                <a:gd name="T63" fmla="*/ 24 h 1183"/>
                <a:gd name="T64" fmla="*/ 98 w 559"/>
                <a:gd name="T65" fmla="*/ 0 h 1183"/>
                <a:gd name="T66" fmla="*/ 173 w 559"/>
                <a:gd name="T67" fmla="*/ 21 h 1183"/>
                <a:gd name="T68" fmla="*/ 247 w 559"/>
                <a:gd name="T69" fmla="*/ 85 h 1183"/>
                <a:gd name="T70" fmla="*/ 260 w 559"/>
                <a:gd name="T71" fmla="*/ 115 h 1183"/>
                <a:gd name="T72" fmla="*/ 263 w 559"/>
                <a:gd name="T73" fmla="*/ 175 h 1183"/>
                <a:gd name="T74" fmla="*/ 235 w 559"/>
                <a:gd name="T75" fmla="*/ 270 h 1183"/>
                <a:gd name="T76" fmla="*/ 248 w 559"/>
                <a:gd name="T77" fmla="*/ 306 h 1183"/>
                <a:gd name="T78" fmla="*/ 261 w 559"/>
                <a:gd name="T79" fmla="*/ 359 h 1183"/>
                <a:gd name="T80" fmla="*/ 246 w 559"/>
                <a:gd name="T81" fmla="*/ 413 h 1183"/>
                <a:gd name="T82" fmla="*/ 219 w 559"/>
                <a:gd name="T83" fmla="*/ 437 h 1183"/>
                <a:gd name="T84" fmla="*/ 211 w 559"/>
                <a:gd name="T85" fmla="*/ 501 h 1183"/>
                <a:gd name="T86" fmla="*/ 179 w 559"/>
                <a:gd name="T87" fmla="*/ 579 h 1183"/>
                <a:gd name="T88" fmla="*/ 245 w 559"/>
                <a:gd name="T89" fmla="*/ 684 h 1183"/>
                <a:gd name="T90" fmla="*/ 404 w 559"/>
                <a:gd name="T91" fmla="*/ 759 h 1183"/>
                <a:gd name="T92" fmla="*/ 498 w 559"/>
                <a:gd name="T93" fmla="*/ 824 h 1183"/>
                <a:gd name="T94" fmla="*/ 531 w 559"/>
                <a:gd name="T95" fmla="*/ 875 h 1183"/>
                <a:gd name="T96" fmla="*/ 552 w 559"/>
                <a:gd name="T97" fmla="*/ 998 h 1183"/>
                <a:gd name="T98" fmla="*/ 559 w 559"/>
                <a:gd name="T99" fmla="*/ 1155 h 1183"/>
                <a:gd name="T100" fmla="*/ 547 w 559"/>
                <a:gd name="T101" fmla="*/ 1178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59" h="1183">
                  <a:moveTo>
                    <a:pt x="531" y="1183"/>
                  </a:moveTo>
                  <a:lnTo>
                    <a:pt x="390" y="1183"/>
                  </a:lnTo>
                  <a:lnTo>
                    <a:pt x="390" y="1183"/>
                  </a:lnTo>
                  <a:lnTo>
                    <a:pt x="384" y="1183"/>
                  </a:lnTo>
                  <a:lnTo>
                    <a:pt x="378" y="1181"/>
                  </a:lnTo>
                  <a:lnTo>
                    <a:pt x="373" y="1178"/>
                  </a:lnTo>
                  <a:lnTo>
                    <a:pt x="369" y="1175"/>
                  </a:lnTo>
                  <a:lnTo>
                    <a:pt x="365" y="1171"/>
                  </a:lnTo>
                  <a:lnTo>
                    <a:pt x="363" y="1166"/>
                  </a:lnTo>
                  <a:lnTo>
                    <a:pt x="361" y="1161"/>
                  </a:lnTo>
                  <a:lnTo>
                    <a:pt x="361" y="1155"/>
                  </a:lnTo>
                  <a:lnTo>
                    <a:pt x="361" y="1155"/>
                  </a:lnTo>
                  <a:lnTo>
                    <a:pt x="361" y="1148"/>
                  </a:lnTo>
                  <a:lnTo>
                    <a:pt x="363" y="1143"/>
                  </a:lnTo>
                  <a:lnTo>
                    <a:pt x="365" y="1138"/>
                  </a:lnTo>
                  <a:lnTo>
                    <a:pt x="369" y="1134"/>
                  </a:lnTo>
                  <a:lnTo>
                    <a:pt x="373" y="1131"/>
                  </a:lnTo>
                  <a:lnTo>
                    <a:pt x="378" y="1128"/>
                  </a:lnTo>
                  <a:lnTo>
                    <a:pt x="384" y="1127"/>
                  </a:lnTo>
                  <a:lnTo>
                    <a:pt x="390" y="1126"/>
                  </a:lnTo>
                  <a:lnTo>
                    <a:pt x="502" y="1126"/>
                  </a:lnTo>
                  <a:lnTo>
                    <a:pt x="502" y="1126"/>
                  </a:lnTo>
                  <a:lnTo>
                    <a:pt x="501" y="1075"/>
                  </a:lnTo>
                  <a:lnTo>
                    <a:pt x="499" y="1043"/>
                  </a:lnTo>
                  <a:lnTo>
                    <a:pt x="497" y="1010"/>
                  </a:lnTo>
                  <a:lnTo>
                    <a:pt x="494" y="978"/>
                  </a:lnTo>
                  <a:lnTo>
                    <a:pt x="489" y="945"/>
                  </a:lnTo>
                  <a:lnTo>
                    <a:pt x="484" y="917"/>
                  </a:lnTo>
                  <a:lnTo>
                    <a:pt x="480" y="904"/>
                  </a:lnTo>
                  <a:lnTo>
                    <a:pt x="477" y="893"/>
                  </a:lnTo>
                  <a:lnTo>
                    <a:pt x="477" y="893"/>
                  </a:lnTo>
                  <a:lnTo>
                    <a:pt x="473" y="884"/>
                  </a:lnTo>
                  <a:lnTo>
                    <a:pt x="466" y="874"/>
                  </a:lnTo>
                  <a:lnTo>
                    <a:pt x="457" y="864"/>
                  </a:lnTo>
                  <a:lnTo>
                    <a:pt x="446" y="854"/>
                  </a:lnTo>
                  <a:lnTo>
                    <a:pt x="432" y="842"/>
                  </a:lnTo>
                  <a:lnTo>
                    <a:pt x="416" y="831"/>
                  </a:lnTo>
                  <a:lnTo>
                    <a:pt x="398" y="820"/>
                  </a:lnTo>
                  <a:lnTo>
                    <a:pt x="376" y="808"/>
                  </a:lnTo>
                  <a:lnTo>
                    <a:pt x="353" y="796"/>
                  </a:lnTo>
                  <a:lnTo>
                    <a:pt x="328" y="783"/>
                  </a:lnTo>
                  <a:lnTo>
                    <a:pt x="300" y="770"/>
                  </a:lnTo>
                  <a:lnTo>
                    <a:pt x="269" y="756"/>
                  </a:lnTo>
                  <a:lnTo>
                    <a:pt x="202" y="727"/>
                  </a:lnTo>
                  <a:lnTo>
                    <a:pt x="124" y="697"/>
                  </a:lnTo>
                  <a:lnTo>
                    <a:pt x="124" y="697"/>
                  </a:lnTo>
                  <a:lnTo>
                    <a:pt x="120" y="695"/>
                  </a:lnTo>
                  <a:lnTo>
                    <a:pt x="117" y="693"/>
                  </a:lnTo>
                  <a:lnTo>
                    <a:pt x="114" y="690"/>
                  </a:lnTo>
                  <a:lnTo>
                    <a:pt x="111" y="687"/>
                  </a:lnTo>
                  <a:lnTo>
                    <a:pt x="109" y="683"/>
                  </a:lnTo>
                  <a:lnTo>
                    <a:pt x="107" y="679"/>
                  </a:lnTo>
                  <a:lnTo>
                    <a:pt x="106" y="675"/>
                  </a:lnTo>
                  <a:lnTo>
                    <a:pt x="106" y="671"/>
                  </a:lnTo>
                  <a:lnTo>
                    <a:pt x="106" y="586"/>
                  </a:lnTo>
                  <a:lnTo>
                    <a:pt x="106" y="586"/>
                  </a:lnTo>
                  <a:lnTo>
                    <a:pt x="107" y="579"/>
                  </a:lnTo>
                  <a:lnTo>
                    <a:pt x="110" y="572"/>
                  </a:lnTo>
                  <a:lnTo>
                    <a:pt x="114" y="566"/>
                  </a:lnTo>
                  <a:lnTo>
                    <a:pt x="119" y="562"/>
                  </a:lnTo>
                  <a:lnTo>
                    <a:pt x="119" y="562"/>
                  </a:lnTo>
                  <a:lnTo>
                    <a:pt x="119" y="562"/>
                  </a:lnTo>
                  <a:lnTo>
                    <a:pt x="121" y="560"/>
                  </a:lnTo>
                  <a:lnTo>
                    <a:pt x="126" y="555"/>
                  </a:lnTo>
                  <a:lnTo>
                    <a:pt x="133" y="546"/>
                  </a:lnTo>
                  <a:lnTo>
                    <a:pt x="141" y="531"/>
                  </a:lnTo>
                  <a:lnTo>
                    <a:pt x="145" y="522"/>
                  </a:lnTo>
                  <a:lnTo>
                    <a:pt x="149" y="512"/>
                  </a:lnTo>
                  <a:lnTo>
                    <a:pt x="152" y="500"/>
                  </a:lnTo>
                  <a:lnTo>
                    <a:pt x="155" y="487"/>
                  </a:lnTo>
                  <a:lnTo>
                    <a:pt x="158" y="472"/>
                  </a:lnTo>
                  <a:lnTo>
                    <a:pt x="160" y="455"/>
                  </a:lnTo>
                  <a:lnTo>
                    <a:pt x="162" y="436"/>
                  </a:lnTo>
                  <a:lnTo>
                    <a:pt x="162" y="415"/>
                  </a:lnTo>
                  <a:lnTo>
                    <a:pt x="162" y="415"/>
                  </a:lnTo>
                  <a:lnTo>
                    <a:pt x="163" y="410"/>
                  </a:lnTo>
                  <a:lnTo>
                    <a:pt x="164" y="404"/>
                  </a:lnTo>
                  <a:lnTo>
                    <a:pt x="167" y="400"/>
                  </a:lnTo>
                  <a:lnTo>
                    <a:pt x="170" y="396"/>
                  </a:lnTo>
                  <a:lnTo>
                    <a:pt x="174" y="392"/>
                  </a:lnTo>
                  <a:lnTo>
                    <a:pt x="180" y="390"/>
                  </a:lnTo>
                  <a:lnTo>
                    <a:pt x="185" y="388"/>
                  </a:lnTo>
                  <a:lnTo>
                    <a:pt x="191" y="387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7" y="385"/>
                  </a:lnTo>
                  <a:lnTo>
                    <a:pt x="199" y="382"/>
                  </a:lnTo>
                  <a:lnTo>
                    <a:pt x="199" y="382"/>
                  </a:lnTo>
                  <a:lnTo>
                    <a:pt x="202" y="378"/>
                  </a:lnTo>
                  <a:lnTo>
                    <a:pt x="204" y="372"/>
                  </a:lnTo>
                  <a:lnTo>
                    <a:pt x="205" y="366"/>
                  </a:lnTo>
                  <a:lnTo>
                    <a:pt x="205" y="359"/>
                  </a:lnTo>
                  <a:lnTo>
                    <a:pt x="205" y="359"/>
                  </a:lnTo>
                  <a:lnTo>
                    <a:pt x="204" y="350"/>
                  </a:lnTo>
                  <a:lnTo>
                    <a:pt x="202" y="341"/>
                  </a:lnTo>
                  <a:lnTo>
                    <a:pt x="200" y="336"/>
                  </a:lnTo>
                  <a:lnTo>
                    <a:pt x="197" y="333"/>
                  </a:lnTo>
                  <a:lnTo>
                    <a:pt x="195" y="331"/>
                  </a:lnTo>
                  <a:lnTo>
                    <a:pt x="191" y="330"/>
                  </a:lnTo>
                  <a:lnTo>
                    <a:pt x="191" y="330"/>
                  </a:lnTo>
                  <a:lnTo>
                    <a:pt x="186" y="330"/>
                  </a:lnTo>
                  <a:lnTo>
                    <a:pt x="180" y="328"/>
                  </a:lnTo>
                  <a:lnTo>
                    <a:pt x="175" y="326"/>
                  </a:lnTo>
                  <a:lnTo>
                    <a:pt x="170" y="322"/>
                  </a:lnTo>
                  <a:lnTo>
                    <a:pt x="170" y="322"/>
                  </a:lnTo>
                  <a:lnTo>
                    <a:pt x="167" y="318"/>
                  </a:lnTo>
                  <a:lnTo>
                    <a:pt x="164" y="313"/>
                  </a:lnTo>
                  <a:lnTo>
                    <a:pt x="163" y="308"/>
                  </a:lnTo>
                  <a:lnTo>
                    <a:pt x="162" y="302"/>
                  </a:lnTo>
                  <a:lnTo>
                    <a:pt x="162" y="302"/>
                  </a:lnTo>
                  <a:lnTo>
                    <a:pt x="163" y="295"/>
                  </a:lnTo>
                  <a:lnTo>
                    <a:pt x="165" y="287"/>
                  </a:lnTo>
                  <a:lnTo>
                    <a:pt x="174" y="267"/>
                  </a:lnTo>
                  <a:lnTo>
                    <a:pt x="174" y="267"/>
                  </a:lnTo>
                  <a:lnTo>
                    <a:pt x="188" y="239"/>
                  </a:lnTo>
                  <a:lnTo>
                    <a:pt x="194" y="221"/>
                  </a:lnTo>
                  <a:lnTo>
                    <a:pt x="200" y="203"/>
                  </a:lnTo>
                  <a:lnTo>
                    <a:pt x="205" y="184"/>
                  </a:lnTo>
                  <a:lnTo>
                    <a:pt x="208" y="165"/>
                  </a:lnTo>
                  <a:lnTo>
                    <a:pt x="209" y="156"/>
                  </a:lnTo>
                  <a:lnTo>
                    <a:pt x="209" y="147"/>
                  </a:lnTo>
                  <a:lnTo>
                    <a:pt x="208" y="138"/>
                  </a:lnTo>
                  <a:lnTo>
                    <a:pt x="206" y="128"/>
                  </a:lnTo>
                  <a:lnTo>
                    <a:pt x="206" y="128"/>
                  </a:lnTo>
                  <a:lnTo>
                    <a:pt x="203" y="122"/>
                  </a:lnTo>
                  <a:lnTo>
                    <a:pt x="199" y="114"/>
                  </a:lnTo>
                  <a:lnTo>
                    <a:pt x="192" y="105"/>
                  </a:lnTo>
                  <a:lnTo>
                    <a:pt x="184" y="97"/>
                  </a:lnTo>
                  <a:lnTo>
                    <a:pt x="173" y="88"/>
                  </a:lnTo>
                  <a:lnTo>
                    <a:pt x="161" y="80"/>
                  </a:lnTo>
                  <a:lnTo>
                    <a:pt x="148" y="72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25" y="62"/>
                  </a:lnTo>
                  <a:lnTo>
                    <a:pt x="115" y="60"/>
                  </a:lnTo>
                  <a:lnTo>
                    <a:pt x="104" y="58"/>
                  </a:lnTo>
                  <a:lnTo>
                    <a:pt x="93" y="57"/>
                  </a:lnTo>
                  <a:lnTo>
                    <a:pt x="81" y="58"/>
                  </a:lnTo>
                  <a:lnTo>
                    <a:pt x="68" y="61"/>
                  </a:lnTo>
                  <a:lnTo>
                    <a:pt x="56" y="65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38" y="75"/>
                  </a:lnTo>
                  <a:lnTo>
                    <a:pt x="33" y="76"/>
                  </a:lnTo>
                  <a:lnTo>
                    <a:pt x="28" y="77"/>
                  </a:lnTo>
                  <a:lnTo>
                    <a:pt x="22" y="76"/>
                  </a:lnTo>
                  <a:lnTo>
                    <a:pt x="17" y="75"/>
                  </a:lnTo>
                  <a:lnTo>
                    <a:pt x="12" y="72"/>
                  </a:lnTo>
                  <a:lnTo>
                    <a:pt x="8" y="69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2" y="59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43"/>
                  </a:lnTo>
                  <a:lnTo>
                    <a:pt x="2" y="38"/>
                  </a:lnTo>
                  <a:lnTo>
                    <a:pt x="4" y="33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28" y="15"/>
                  </a:lnTo>
                  <a:lnTo>
                    <a:pt x="44" y="8"/>
                  </a:lnTo>
                  <a:lnTo>
                    <a:pt x="61" y="3"/>
                  </a:lnTo>
                  <a:lnTo>
                    <a:pt x="80" y="1"/>
                  </a:lnTo>
                  <a:lnTo>
                    <a:pt x="98" y="0"/>
                  </a:lnTo>
                  <a:lnTo>
                    <a:pt x="117" y="2"/>
                  </a:lnTo>
                  <a:lnTo>
                    <a:pt x="135" y="6"/>
                  </a:lnTo>
                  <a:lnTo>
                    <a:pt x="154" y="12"/>
                  </a:lnTo>
                  <a:lnTo>
                    <a:pt x="154" y="12"/>
                  </a:lnTo>
                  <a:lnTo>
                    <a:pt x="173" y="21"/>
                  </a:lnTo>
                  <a:lnTo>
                    <a:pt x="192" y="31"/>
                  </a:lnTo>
                  <a:lnTo>
                    <a:pt x="208" y="44"/>
                  </a:lnTo>
                  <a:lnTo>
                    <a:pt x="223" y="57"/>
                  </a:lnTo>
                  <a:lnTo>
                    <a:pt x="236" y="71"/>
                  </a:lnTo>
                  <a:lnTo>
                    <a:pt x="247" y="85"/>
                  </a:lnTo>
                  <a:lnTo>
                    <a:pt x="252" y="93"/>
                  </a:lnTo>
                  <a:lnTo>
                    <a:pt x="255" y="100"/>
                  </a:lnTo>
                  <a:lnTo>
                    <a:pt x="258" y="107"/>
                  </a:lnTo>
                  <a:lnTo>
                    <a:pt x="260" y="115"/>
                  </a:lnTo>
                  <a:lnTo>
                    <a:pt x="260" y="115"/>
                  </a:lnTo>
                  <a:lnTo>
                    <a:pt x="263" y="126"/>
                  </a:lnTo>
                  <a:lnTo>
                    <a:pt x="264" y="139"/>
                  </a:lnTo>
                  <a:lnTo>
                    <a:pt x="265" y="151"/>
                  </a:lnTo>
                  <a:lnTo>
                    <a:pt x="265" y="163"/>
                  </a:lnTo>
                  <a:lnTo>
                    <a:pt x="263" y="175"/>
                  </a:lnTo>
                  <a:lnTo>
                    <a:pt x="262" y="186"/>
                  </a:lnTo>
                  <a:lnTo>
                    <a:pt x="257" y="209"/>
                  </a:lnTo>
                  <a:lnTo>
                    <a:pt x="250" y="231"/>
                  </a:lnTo>
                  <a:lnTo>
                    <a:pt x="243" y="252"/>
                  </a:lnTo>
                  <a:lnTo>
                    <a:pt x="235" y="270"/>
                  </a:lnTo>
                  <a:lnTo>
                    <a:pt x="228" y="286"/>
                  </a:lnTo>
                  <a:lnTo>
                    <a:pt x="228" y="286"/>
                  </a:lnTo>
                  <a:lnTo>
                    <a:pt x="235" y="292"/>
                  </a:lnTo>
                  <a:lnTo>
                    <a:pt x="242" y="298"/>
                  </a:lnTo>
                  <a:lnTo>
                    <a:pt x="248" y="306"/>
                  </a:lnTo>
                  <a:lnTo>
                    <a:pt x="252" y="315"/>
                  </a:lnTo>
                  <a:lnTo>
                    <a:pt x="256" y="325"/>
                  </a:lnTo>
                  <a:lnTo>
                    <a:pt x="259" y="335"/>
                  </a:lnTo>
                  <a:lnTo>
                    <a:pt x="261" y="348"/>
                  </a:lnTo>
                  <a:lnTo>
                    <a:pt x="261" y="359"/>
                  </a:lnTo>
                  <a:lnTo>
                    <a:pt x="261" y="359"/>
                  </a:lnTo>
                  <a:lnTo>
                    <a:pt x="260" y="374"/>
                  </a:lnTo>
                  <a:lnTo>
                    <a:pt x="257" y="388"/>
                  </a:lnTo>
                  <a:lnTo>
                    <a:pt x="253" y="402"/>
                  </a:lnTo>
                  <a:lnTo>
                    <a:pt x="246" y="413"/>
                  </a:lnTo>
                  <a:lnTo>
                    <a:pt x="246" y="413"/>
                  </a:lnTo>
                  <a:lnTo>
                    <a:pt x="240" y="421"/>
                  </a:lnTo>
                  <a:lnTo>
                    <a:pt x="234" y="428"/>
                  </a:lnTo>
                  <a:lnTo>
                    <a:pt x="227" y="433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18" y="456"/>
                  </a:lnTo>
                  <a:lnTo>
                    <a:pt x="216" y="472"/>
                  </a:lnTo>
                  <a:lnTo>
                    <a:pt x="214" y="487"/>
                  </a:lnTo>
                  <a:lnTo>
                    <a:pt x="211" y="501"/>
                  </a:lnTo>
                  <a:lnTo>
                    <a:pt x="208" y="514"/>
                  </a:lnTo>
                  <a:lnTo>
                    <a:pt x="204" y="525"/>
                  </a:lnTo>
                  <a:lnTo>
                    <a:pt x="196" y="548"/>
                  </a:lnTo>
                  <a:lnTo>
                    <a:pt x="188" y="565"/>
                  </a:lnTo>
                  <a:lnTo>
                    <a:pt x="179" y="579"/>
                  </a:lnTo>
                  <a:lnTo>
                    <a:pt x="170" y="590"/>
                  </a:lnTo>
                  <a:lnTo>
                    <a:pt x="162" y="599"/>
                  </a:lnTo>
                  <a:lnTo>
                    <a:pt x="162" y="652"/>
                  </a:lnTo>
                  <a:lnTo>
                    <a:pt x="162" y="652"/>
                  </a:lnTo>
                  <a:lnTo>
                    <a:pt x="245" y="684"/>
                  </a:lnTo>
                  <a:lnTo>
                    <a:pt x="283" y="700"/>
                  </a:lnTo>
                  <a:lnTo>
                    <a:pt x="317" y="715"/>
                  </a:lnTo>
                  <a:lnTo>
                    <a:pt x="348" y="729"/>
                  </a:lnTo>
                  <a:lnTo>
                    <a:pt x="376" y="745"/>
                  </a:lnTo>
                  <a:lnTo>
                    <a:pt x="404" y="759"/>
                  </a:lnTo>
                  <a:lnTo>
                    <a:pt x="427" y="772"/>
                  </a:lnTo>
                  <a:lnTo>
                    <a:pt x="448" y="786"/>
                  </a:lnTo>
                  <a:lnTo>
                    <a:pt x="467" y="799"/>
                  </a:lnTo>
                  <a:lnTo>
                    <a:pt x="484" y="812"/>
                  </a:lnTo>
                  <a:lnTo>
                    <a:pt x="498" y="824"/>
                  </a:lnTo>
                  <a:lnTo>
                    <a:pt x="509" y="837"/>
                  </a:lnTo>
                  <a:lnTo>
                    <a:pt x="519" y="850"/>
                  </a:lnTo>
                  <a:lnTo>
                    <a:pt x="526" y="863"/>
                  </a:lnTo>
                  <a:lnTo>
                    <a:pt x="531" y="875"/>
                  </a:lnTo>
                  <a:lnTo>
                    <a:pt x="531" y="875"/>
                  </a:lnTo>
                  <a:lnTo>
                    <a:pt x="536" y="892"/>
                  </a:lnTo>
                  <a:lnTo>
                    <a:pt x="540" y="910"/>
                  </a:lnTo>
                  <a:lnTo>
                    <a:pt x="544" y="931"/>
                  </a:lnTo>
                  <a:lnTo>
                    <a:pt x="547" y="953"/>
                  </a:lnTo>
                  <a:lnTo>
                    <a:pt x="552" y="998"/>
                  </a:lnTo>
                  <a:lnTo>
                    <a:pt x="555" y="1043"/>
                  </a:lnTo>
                  <a:lnTo>
                    <a:pt x="557" y="1085"/>
                  </a:lnTo>
                  <a:lnTo>
                    <a:pt x="558" y="1119"/>
                  </a:lnTo>
                  <a:lnTo>
                    <a:pt x="559" y="1155"/>
                  </a:lnTo>
                  <a:lnTo>
                    <a:pt x="559" y="1155"/>
                  </a:lnTo>
                  <a:lnTo>
                    <a:pt x="558" y="1161"/>
                  </a:lnTo>
                  <a:lnTo>
                    <a:pt x="557" y="1166"/>
                  </a:lnTo>
                  <a:lnTo>
                    <a:pt x="554" y="1171"/>
                  </a:lnTo>
                  <a:lnTo>
                    <a:pt x="551" y="1175"/>
                  </a:lnTo>
                  <a:lnTo>
                    <a:pt x="547" y="1178"/>
                  </a:lnTo>
                  <a:lnTo>
                    <a:pt x="542" y="1181"/>
                  </a:lnTo>
                  <a:lnTo>
                    <a:pt x="537" y="1183"/>
                  </a:lnTo>
                  <a:lnTo>
                    <a:pt x="531" y="1183"/>
                  </a:lnTo>
                  <a:lnTo>
                    <a:pt x="531" y="1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="" xmlns:a16="http://schemas.microsoft.com/office/drawing/2014/main" id="{15D9008A-5051-4AC0-9DC1-A17DEAA7D7D5}"/>
              </a:ext>
            </a:extLst>
          </p:cNvPr>
          <p:cNvGrpSpPr/>
          <p:nvPr/>
        </p:nvGrpSpPr>
        <p:grpSpPr>
          <a:xfrm>
            <a:off x="4499930" y="2525539"/>
            <a:ext cx="389376" cy="398142"/>
            <a:chOff x="9163050" y="3608388"/>
            <a:chExt cx="352426" cy="360363"/>
          </a:xfrm>
          <a:solidFill>
            <a:schemeClr val="bg1"/>
          </a:solidFill>
        </p:grpSpPr>
        <p:sp>
          <p:nvSpPr>
            <p:cNvPr id="27" name="Freeform 326">
              <a:extLst>
                <a:ext uri="{FF2B5EF4-FFF2-40B4-BE49-F238E27FC236}">
                  <a16:creationId xmlns="" xmlns:a16="http://schemas.microsoft.com/office/drawing/2014/main" id="{55157BF2-2C44-4485-BC38-81123BD761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93213" y="3608388"/>
              <a:ext cx="119063" cy="120650"/>
            </a:xfrm>
            <a:custGeom>
              <a:avLst/>
              <a:gdLst>
                <a:gd name="T0" fmla="*/ 203 w 453"/>
                <a:gd name="T1" fmla="*/ 453 h 454"/>
                <a:gd name="T2" fmla="*/ 138 w 453"/>
                <a:gd name="T3" fmla="*/ 435 h 454"/>
                <a:gd name="T4" fmla="*/ 83 w 453"/>
                <a:gd name="T5" fmla="*/ 402 h 454"/>
                <a:gd name="T6" fmla="*/ 38 w 453"/>
                <a:gd name="T7" fmla="*/ 354 h 454"/>
                <a:gd name="T8" fmla="*/ 10 w 453"/>
                <a:gd name="T9" fmla="*/ 294 h 454"/>
                <a:gd name="T10" fmla="*/ 0 w 453"/>
                <a:gd name="T11" fmla="*/ 227 h 454"/>
                <a:gd name="T12" fmla="*/ 4 w 453"/>
                <a:gd name="T13" fmla="*/ 181 h 454"/>
                <a:gd name="T14" fmla="*/ 27 w 453"/>
                <a:gd name="T15" fmla="*/ 119 h 454"/>
                <a:gd name="T16" fmla="*/ 67 w 453"/>
                <a:gd name="T17" fmla="*/ 67 h 454"/>
                <a:gd name="T18" fmla="*/ 118 w 453"/>
                <a:gd name="T19" fmla="*/ 27 h 454"/>
                <a:gd name="T20" fmla="*/ 181 w 453"/>
                <a:gd name="T21" fmla="*/ 5 h 454"/>
                <a:gd name="T22" fmla="*/ 226 w 453"/>
                <a:gd name="T23" fmla="*/ 0 h 454"/>
                <a:gd name="T24" fmla="*/ 294 w 453"/>
                <a:gd name="T25" fmla="*/ 10 h 454"/>
                <a:gd name="T26" fmla="*/ 353 w 453"/>
                <a:gd name="T27" fmla="*/ 40 h 454"/>
                <a:gd name="T28" fmla="*/ 402 w 453"/>
                <a:gd name="T29" fmla="*/ 83 h 454"/>
                <a:gd name="T30" fmla="*/ 435 w 453"/>
                <a:gd name="T31" fmla="*/ 139 h 454"/>
                <a:gd name="T32" fmla="*/ 452 w 453"/>
                <a:gd name="T33" fmla="*/ 204 h 454"/>
                <a:gd name="T34" fmla="*/ 452 w 453"/>
                <a:gd name="T35" fmla="*/ 251 h 454"/>
                <a:gd name="T36" fmla="*/ 435 w 453"/>
                <a:gd name="T37" fmla="*/ 315 h 454"/>
                <a:gd name="T38" fmla="*/ 402 w 453"/>
                <a:gd name="T39" fmla="*/ 371 h 454"/>
                <a:gd name="T40" fmla="*/ 353 w 453"/>
                <a:gd name="T41" fmla="*/ 415 h 454"/>
                <a:gd name="T42" fmla="*/ 294 w 453"/>
                <a:gd name="T43" fmla="*/ 444 h 454"/>
                <a:gd name="T44" fmla="*/ 226 w 453"/>
                <a:gd name="T45" fmla="*/ 454 h 454"/>
                <a:gd name="T46" fmla="*/ 226 w 453"/>
                <a:gd name="T47" fmla="*/ 57 h 454"/>
                <a:gd name="T48" fmla="*/ 176 w 453"/>
                <a:gd name="T49" fmla="*/ 65 h 454"/>
                <a:gd name="T50" fmla="*/ 131 w 453"/>
                <a:gd name="T51" fmla="*/ 86 h 454"/>
                <a:gd name="T52" fmla="*/ 96 w 453"/>
                <a:gd name="T53" fmla="*/ 119 h 454"/>
                <a:gd name="T54" fmla="*/ 70 w 453"/>
                <a:gd name="T55" fmla="*/ 161 h 454"/>
                <a:gd name="T56" fmla="*/ 58 w 453"/>
                <a:gd name="T57" fmla="*/ 209 h 454"/>
                <a:gd name="T58" fmla="*/ 58 w 453"/>
                <a:gd name="T59" fmla="*/ 245 h 454"/>
                <a:gd name="T60" fmla="*/ 70 w 453"/>
                <a:gd name="T61" fmla="*/ 293 h 454"/>
                <a:gd name="T62" fmla="*/ 96 w 453"/>
                <a:gd name="T63" fmla="*/ 335 h 454"/>
                <a:gd name="T64" fmla="*/ 131 w 453"/>
                <a:gd name="T65" fmla="*/ 368 h 454"/>
                <a:gd name="T66" fmla="*/ 176 w 453"/>
                <a:gd name="T67" fmla="*/ 389 h 454"/>
                <a:gd name="T68" fmla="*/ 226 w 453"/>
                <a:gd name="T69" fmla="*/ 397 h 454"/>
                <a:gd name="T70" fmla="*/ 261 w 453"/>
                <a:gd name="T71" fmla="*/ 394 h 454"/>
                <a:gd name="T72" fmla="*/ 308 w 453"/>
                <a:gd name="T73" fmla="*/ 377 h 454"/>
                <a:gd name="T74" fmla="*/ 346 w 453"/>
                <a:gd name="T75" fmla="*/ 348 h 454"/>
                <a:gd name="T76" fmla="*/ 376 w 453"/>
                <a:gd name="T77" fmla="*/ 308 h 454"/>
                <a:gd name="T78" fmla="*/ 393 w 453"/>
                <a:gd name="T79" fmla="*/ 262 h 454"/>
                <a:gd name="T80" fmla="*/ 397 w 453"/>
                <a:gd name="T81" fmla="*/ 227 h 454"/>
                <a:gd name="T82" fmla="*/ 389 w 453"/>
                <a:gd name="T83" fmla="*/ 177 h 454"/>
                <a:gd name="T84" fmla="*/ 368 w 453"/>
                <a:gd name="T85" fmla="*/ 132 h 454"/>
                <a:gd name="T86" fmla="*/ 334 w 453"/>
                <a:gd name="T87" fmla="*/ 96 h 454"/>
                <a:gd name="T88" fmla="*/ 293 w 453"/>
                <a:gd name="T89" fmla="*/ 70 h 454"/>
                <a:gd name="T90" fmla="*/ 244 w 453"/>
                <a:gd name="T91" fmla="*/ 58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3" h="454">
                  <a:moveTo>
                    <a:pt x="226" y="454"/>
                  </a:moveTo>
                  <a:lnTo>
                    <a:pt x="226" y="454"/>
                  </a:lnTo>
                  <a:lnTo>
                    <a:pt x="203" y="453"/>
                  </a:lnTo>
                  <a:lnTo>
                    <a:pt x="181" y="450"/>
                  </a:lnTo>
                  <a:lnTo>
                    <a:pt x="160" y="444"/>
                  </a:lnTo>
                  <a:lnTo>
                    <a:pt x="138" y="435"/>
                  </a:lnTo>
                  <a:lnTo>
                    <a:pt x="118" y="426"/>
                  </a:lnTo>
                  <a:lnTo>
                    <a:pt x="100" y="415"/>
                  </a:lnTo>
                  <a:lnTo>
                    <a:pt x="83" y="402"/>
                  </a:lnTo>
                  <a:lnTo>
                    <a:pt x="67" y="387"/>
                  </a:lnTo>
                  <a:lnTo>
                    <a:pt x="51" y="371"/>
                  </a:lnTo>
                  <a:lnTo>
                    <a:pt x="38" y="354"/>
                  </a:lnTo>
                  <a:lnTo>
                    <a:pt x="27" y="335"/>
                  </a:lnTo>
                  <a:lnTo>
                    <a:pt x="18" y="315"/>
                  </a:lnTo>
                  <a:lnTo>
                    <a:pt x="10" y="294"/>
                  </a:lnTo>
                  <a:lnTo>
                    <a:pt x="4" y="273"/>
                  </a:lnTo>
                  <a:lnTo>
                    <a:pt x="1" y="251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1" y="204"/>
                  </a:lnTo>
                  <a:lnTo>
                    <a:pt x="4" y="181"/>
                  </a:lnTo>
                  <a:lnTo>
                    <a:pt x="10" y="160"/>
                  </a:lnTo>
                  <a:lnTo>
                    <a:pt x="18" y="139"/>
                  </a:lnTo>
                  <a:lnTo>
                    <a:pt x="27" y="119"/>
                  </a:lnTo>
                  <a:lnTo>
                    <a:pt x="38" y="100"/>
                  </a:lnTo>
                  <a:lnTo>
                    <a:pt x="51" y="83"/>
                  </a:lnTo>
                  <a:lnTo>
                    <a:pt x="67" y="67"/>
                  </a:lnTo>
                  <a:lnTo>
                    <a:pt x="83" y="52"/>
                  </a:lnTo>
                  <a:lnTo>
                    <a:pt x="100" y="40"/>
                  </a:lnTo>
                  <a:lnTo>
                    <a:pt x="118" y="27"/>
                  </a:lnTo>
                  <a:lnTo>
                    <a:pt x="138" y="18"/>
                  </a:lnTo>
                  <a:lnTo>
                    <a:pt x="160" y="10"/>
                  </a:lnTo>
                  <a:lnTo>
                    <a:pt x="181" y="5"/>
                  </a:lnTo>
                  <a:lnTo>
                    <a:pt x="203" y="1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49" y="1"/>
                  </a:lnTo>
                  <a:lnTo>
                    <a:pt x="273" y="5"/>
                  </a:lnTo>
                  <a:lnTo>
                    <a:pt x="294" y="10"/>
                  </a:lnTo>
                  <a:lnTo>
                    <a:pt x="315" y="18"/>
                  </a:lnTo>
                  <a:lnTo>
                    <a:pt x="334" y="27"/>
                  </a:lnTo>
                  <a:lnTo>
                    <a:pt x="353" y="40"/>
                  </a:lnTo>
                  <a:lnTo>
                    <a:pt x="371" y="52"/>
                  </a:lnTo>
                  <a:lnTo>
                    <a:pt x="387" y="67"/>
                  </a:lnTo>
                  <a:lnTo>
                    <a:pt x="402" y="83"/>
                  </a:lnTo>
                  <a:lnTo>
                    <a:pt x="415" y="100"/>
                  </a:lnTo>
                  <a:lnTo>
                    <a:pt x="426" y="119"/>
                  </a:lnTo>
                  <a:lnTo>
                    <a:pt x="435" y="139"/>
                  </a:lnTo>
                  <a:lnTo>
                    <a:pt x="443" y="160"/>
                  </a:lnTo>
                  <a:lnTo>
                    <a:pt x="448" y="181"/>
                  </a:lnTo>
                  <a:lnTo>
                    <a:pt x="452" y="204"/>
                  </a:lnTo>
                  <a:lnTo>
                    <a:pt x="453" y="227"/>
                  </a:lnTo>
                  <a:lnTo>
                    <a:pt x="453" y="227"/>
                  </a:lnTo>
                  <a:lnTo>
                    <a:pt x="452" y="251"/>
                  </a:lnTo>
                  <a:lnTo>
                    <a:pt x="448" y="273"/>
                  </a:lnTo>
                  <a:lnTo>
                    <a:pt x="443" y="294"/>
                  </a:lnTo>
                  <a:lnTo>
                    <a:pt x="435" y="315"/>
                  </a:lnTo>
                  <a:lnTo>
                    <a:pt x="426" y="335"/>
                  </a:lnTo>
                  <a:lnTo>
                    <a:pt x="415" y="354"/>
                  </a:lnTo>
                  <a:lnTo>
                    <a:pt x="402" y="371"/>
                  </a:lnTo>
                  <a:lnTo>
                    <a:pt x="387" y="387"/>
                  </a:lnTo>
                  <a:lnTo>
                    <a:pt x="371" y="402"/>
                  </a:lnTo>
                  <a:lnTo>
                    <a:pt x="353" y="415"/>
                  </a:lnTo>
                  <a:lnTo>
                    <a:pt x="334" y="426"/>
                  </a:lnTo>
                  <a:lnTo>
                    <a:pt x="315" y="435"/>
                  </a:lnTo>
                  <a:lnTo>
                    <a:pt x="294" y="444"/>
                  </a:lnTo>
                  <a:lnTo>
                    <a:pt x="273" y="450"/>
                  </a:lnTo>
                  <a:lnTo>
                    <a:pt x="249" y="453"/>
                  </a:lnTo>
                  <a:lnTo>
                    <a:pt x="226" y="454"/>
                  </a:lnTo>
                  <a:lnTo>
                    <a:pt x="226" y="454"/>
                  </a:lnTo>
                  <a:close/>
                  <a:moveTo>
                    <a:pt x="226" y="57"/>
                  </a:moveTo>
                  <a:lnTo>
                    <a:pt x="226" y="57"/>
                  </a:lnTo>
                  <a:lnTo>
                    <a:pt x="209" y="58"/>
                  </a:lnTo>
                  <a:lnTo>
                    <a:pt x="193" y="61"/>
                  </a:lnTo>
                  <a:lnTo>
                    <a:pt x="176" y="65"/>
                  </a:lnTo>
                  <a:lnTo>
                    <a:pt x="161" y="70"/>
                  </a:lnTo>
                  <a:lnTo>
                    <a:pt x="145" y="78"/>
                  </a:lnTo>
                  <a:lnTo>
                    <a:pt x="131" y="86"/>
                  </a:lnTo>
                  <a:lnTo>
                    <a:pt x="118" y="96"/>
                  </a:lnTo>
                  <a:lnTo>
                    <a:pt x="106" y="107"/>
                  </a:lnTo>
                  <a:lnTo>
                    <a:pt x="96" y="119"/>
                  </a:lnTo>
                  <a:lnTo>
                    <a:pt x="86" y="132"/>
                  </a:lnTo>
                  <a:lnTo>
                    <a:pt x="77" y="146"/>
                  </a:lnTo>
                  <a:lnTo>
                    <a:pt x="70" y="161"/>
                  </a:lnTo>
                  <a:lnTo>
                    <a:pt x="65" y="177"/>
                  </a:lnTo>
                  <a:lnTo>
                    <a:pt x="60" y="193"/>
                  </a:lnTo>
                  <a:lnTo>
                    <a:pt x="58" y="209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8" y="245"/>
                  </a:lnTo>
                  <a:lnTo>
                    <a:pt x="60" y="262"/>
                  </a:lnTo>
                  <a:lnTo>
                    <a:pt x="65" y="278"/>
                  </a:lnTo>
                  <a:lnTo>
                    <a:pt x="70" y="293"/>
                  </a:lnTo>
                  <a:lnTo>
                    <a:pt x="77" y="308"/>
                  </a:lnTo>
                  <a:lnTo>
                    <a:pt x="86" y="322"/>
                  </a:lnTo>
                  <a:lnTo>
                    <a:pt x="96" y="335"/>
                  </a:lnTo>
                  <a:lnTo>
                    <a:pt x="106" y="348"/>
                  </a:lnTo>
                  <a:lnTo>
                    <a:pt x="118" y="358"/>
                  </a:lnTo>
                  <a:lnTo>
                    <a:pt x="131" y="368"/>
                  </a:lnTo>
                  <a:lnTo>
                    <a:pt x="145" y="377"/>
                  </a:lnTo>
                  <a:lnTo>
                    <a:pt x="161" y="384"/>
                  </a:lnTo>
                  <a:lnTo>
                    <a:pt x="176" y="389"/>
                  </a:lnTo>
                  <a:lnTo>
                    <a:pt x="193" y="394"/>
                  </a:lnTo>
                  <a:lnTo>
                    <a:pt x="209" y="396"/>
                  </a:lnTo>
                  <a:lnTo>
                    <a:pt x="226" y="397"/>
                  </a:lnTo>
                  <a:lnTo>
                    <a:pt x="226" y="397"/>
                  </a:lnTo>
                  <a:lnTo>
                    <a:pt x="244" y="396"/>
                  </a:lnTo>
                  <a:lnTo>
                    <a:pt x="261" y="394"/>
                  </a:lnTo>
                  <a:lnTo>
                    <a:pt x="277" y="389"/>
                  </a:lnTo>
                  <a:lnTo>
                    <a:pt x="293" y="384"/>
                  </a:lnTo>
                  <a:lnTo>
                    <a:pt x="308" y="377"/>
                  </a:lnTo>
                  <a:lnTo>
                    <a:pt x="321" y="368"/>
                  </a:lnTo>
                  <a:lnTo>
                    <a:pt x="334" y="358"/>
                  </a:lnTo>
                  <a:lnTo>
                    <a:pt x="346" y="348"/>
                  </a:lnTo>
                  <a:lnTo>
                    <a:pt x="358" y="335"/>
                  </a:lnTo>
                  <a:lnTo>
                    <a:pt x="368" y="322"/>
                  </a:lnTo>
                  <a:lnTo>
                    <a:pt x="376" y="308"/>
                  </a:lnTo>
                  <a:lnTo>
                    <a:pt x="384" y="293"/>
                  </a:lnTo>
                  <a:lnTo>
                    <a:pt x="389" y="278"/>
                  </a:lnTo>
                  <a:lnTo>
                    <a:pt x="393" y="262"/>
                  </a:lnTo>
                  <a:lnTo>
                    <a:pt x="396" y="245"/>
                  </a:lnTo>
                  <a:lnTo>
                    <a:pt x="397" y="227"/>
                  </a:lnTo>
                  <a:lnTo>
                    <a:pt x="397" y="227"/>
                  </a:lnTo>
                  <a:lnTo>
                    <a:pt x="396" y="209"/>
                  </a:lnTo>
                  <a:lnTo>
                    <a:pt x="393" y="193"/>
                  </a:lnTo>
                  <a:lnTo>
                    <a:pt x="389" y="177"/>
                  </a:lnTo>
                  <a:lnTo>
                    <a:pt x="384" y="161"/>
                  </a:lnTo>
                  <a:lnTo>
                    <a:pt x="376" y="146"/>
                  </a:lnTo>
                  <a:lnTo>
                    <a:pt x="368" y="132"/>
                  </a:lnTo>
                  <a:lnTo>
                    <a:pt x="358" y="119"/>
                  </a:lnTo>
                  <a:lnTo>
                    <a:pt x="346" y="107"/>
                  </a:lnTo>
                  <a:lnTo>
                    <a:pt x="334" y="96"/>
                  </a:lnTo>
                  <a:lnTo>
                    <a:pt x="321" y="86"/>
                  </a:lnTo>
                  <a:lnTo>
                    <a:pt x="308" y="78"/>
                  </a:lnTo>
                  <a:lnTo>
                    <a:pt x="293" y="70"/>
                  </a:lnTo>
                  <a:lnTo>
                    <a:pt x="277" y="65"/>
                  </a:lnTo>
                  <a:lnTo>
                    <a:pt x="261" y="61"/>
                  </a:lnTo>
                  <a:lnTo>
                    <a:pt x="244" y="58"/>
                  </a:lnTo>
                  <a:lnTo>
                    <a:pt x="226" y="57"/>
                  </a:lnTo>
                  <a:lnTo>
                    <a:pt x="226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28" name="Freeform 327">
              <a:extLst>
                <a:ext uri="{FF2B5EF4-FFF2-40B4-BE49-F238E27FC236}">
                  <a16:creationId xmlns="" xmlns:a16="http://schemas.microsoft.com/office/drawing/2014/main" id="{3DD37673-D218-4413-9F30-E08E8396E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3050" y="3743326"/>
              <a:ext cx="179388" cy="225425"/>
            </a:xfrm>
            <a:custGeom>
              <a:avLst/>
              <a:gdLst>
                <a:gd name="T0" fmla="*/ 226 w 680"/>
                <a:gd name="T1" fmla="*/ 851 h 851"/>
                <a:gd name="T2" fmla="*/ 221 w 680"/>
                <a:gd name="T3" fmla="*/ 851 h 851"/>
                <a:gd name="T4" fmla="*/ 210 w 680"/>
                <a:gd name="T5" fmla="*/ 845 h 851"/>
                <a:gd name="T6" fmla="*/ 203 w 680"/>
                <a:gd name="T7" fmla="*/ 838 h 851"/>
                <a:gd name="T8" fmla="*/ 199 w 680"/>
                <a:gd name="T9" fmla="*/ 828 h 851"/>
                <a:gd name="T10" fmla="*/ 198 w 680"/>
                <a:gd name="T11" fmla="*/ 470 h 851"/>
                <a:gd name="T12" fmla="*/ 175 w 680"/>
                <a:gd name="T13" fmla="*/ 454 h 851"/>
                <a:gd name="T14" fmla="*/ 133 w 680"/>
                <a:gd name="T15" fmla="*/ 416 h 851"/>
                <a:gd name="T16" fmla="*/ 96 w 680"/>
                <a:gd name="T17" fmla="*/ 373 h 851"/>
                <a:gd name="T18" fmla="*/ 64 w 680"/>
                <a:gd name="T19" fmla="*/ 322 h 851"/>
                <a:gd name="T20" fmla="*/ 39 w 680"/>
                <a:gd name="T21" fmla="*/ 266 h 851"/>
                <a:gd name="T22" fmla="*/ 20 w 680"/>
                <a:gd name="T23" fmla="*/ 204 h 851"/>
                <a:gd name="T24" fmla="*/ 7 w 680"/>
                <a:gd name="T25" fmla="*/ 138 h 851"/>
                <a:gd name="T26" fmla="*/ 0 w 680"/>
                <a:gd name="T27" fmla="*/ 66 h 851"/>
                <a:gd name="T28" fmla="*/ 0 w 680"/>
                <a:gd name="T29" fmla="*/ 28 h 851"/>
                <a:gd name="T30" fmla="*/ 2 w 680"/>
                <a:gd name="T31" fmla="*/ 17 h 851"/>
                <a:gd name="T32" fmla="*/ 8 w 680"/>
                <a:gd name="T33" fmla="*/ 8 h 851"/>
                <a:gd name="T34" fmla="*/ 17 w 680"/>
                <a:gd name="T35" fmla="*/ 2 h 851"/>
                <a:gd name="T36" fmla="*/ 28 w 680"/>
                <a:gd name="T37" fmla="*/ 0 h 851"/>
                <a:gd name="T38" fmla="*/ 651 w 680"/>
                <a:gd name="T39" fmla="*/ 0 h 851"/>
                <a:gd name="T40" fmla="*/ 662 w 680"/>
                <a:gd name="T41" fmla="*/ 2 h 851"/>
                <a:gd name="T42" fmla="*/ 671 w 680"/>
                <a:gd name="T43" fmla="*/ 8 h 851"/>
                <a:gd name="T44" fmla="*/ 678 w 680"/>
                <a:gd name="T45" fmla="*/ 17 h 851"/>
                <a:gd name="T46" fmla="*/ 680 w 680"/>
                <a:gd name="T47" fmla="*/ 28 h 851"/>
                <a:gd name="T48" fmla="*/ 679 w 680"/>
                <a:gd name="T49" fmla="*/ 66 h 851"/>
                <a:gd name="T50" fmla="*/ 672 w 680"/>
                <a:gd name="T51" fmla="*/ 138 h 851"/>
                <a:gd name="T52" fmla="*/ 659 w 680"/>
                <a:gd name="T53" fmla="*/ 204 h 851"/>
                <a:gd name="T54" fmla="*/ 640 w 680"/>
                <a:gd name="T55" fmla="*/ 266 h 851"/>
                <a:gd name="T56" fmla="*/ 615 w 680"/>
                <a:gd name="T57" fmla="*/ 322 h 851"/>
                <a:gd name="T58" fmla="*/ 584 w 680"/>
                <a:gd name="T59" fmla="*/ 373 h 851"/>
                <a:gd name="T60" fmla="*/ 546 w 680"/>
                <a:gd name="T61" fmla="*/ 416 h 851"/>
                <a:gd name="T62" fmla="*/ 505 w 680"/>
                <a:gd name="T63" fmla="*/ 454 h 851"/>
                <a:gd name="T64" fmla="*/ 482 w 680"/>
                <a:gd name="T65" fmla="*/ 822 h 851"/>
                <a:gd name="T66" fmla="*/ 481 w 680"/>
                <a:gd name="T67" fmla="*/ 828 h 851"/>
                <a:gd name="T68" fmla="*/ 477 w 680"/>
                <a:gd name="T69" fmla="*/ 838 h 851"/>
                <a:gd name="T70" fmla="*/ 468 w 680"/>
                <a:gd name="T71" fmla="*/ 845 h 851"/>
                <a:gd name="T72" fmla="*/ 458 w 680"/>
                <a:gd name="T73" fmla="*/ 851 h 851"/>
                <a:gd name="T74" fmla="*/ 453 w 680"/>
                <a:gd name="T75" fmla="*/ 851 h 851"/>
                <a:gd name="T76" fmla="*/ 425 w 680"/>
                <a:gd name="T77" fmla="*/ 794 h 851"/>
                <a:gd name="T78" fmla="*/ 425 w 680"/>
                <a:gd name="T79" fmla="*/ 454 h 851"/>
                <a:gd name="T80" fmla="*/ 428 w 680"/>
                <a:gd name="T81" fmla="*/ 440 h 851"/>
                <a:gd name="T82" fmla="*/ 439 w 680"/>
                <a:gd name="T83" fmla="*/ 429 h 851"/>
                <a:gd name="T84" fmla="*/ 459 w 680"/>
                <a:gd name="T85" fmla="*/ 416 h 851"/>
                <a:gd name="T86" fmla="*/ 497 w 680"/>
                <a:gd name="T87" fmla="*/ 386 h 851"/>
                <a:gd name="T88" fmla="*/ 529 w 680"/>
                <a:gd name="T89" fmla="*/ 350 h 851"/>
                <a:gd name="T90" fmla="*/ 557 w 680"/>
                <a:gd name="T91" fmla="*/ 308 h 851"/>
                <a:gd name="T92" fmla="*/ 581 w 680"/>
                <a:gd name="T93" fmla="*/ 261 h 851"/>
                <a:gd name="T94" fmla="*/ 600 w 680"/>
                <a:gd name="T95" fmla="*/ 208 h 851"/>
                <a:gd name="T96" fmla="*/ 613 w 680"/>
                <a:gd name="T97" fmla="*/ 151 h 851"/>
                <a:gd name="T98" fmla="*/ 621 w 680"/>
                <a:gd name="T99" fmla="*/ 89 h 851"/>
                <a:gd name="T100" fmla="*/ 56 w 680"/>
                <a:gd name="T101" fmla="*/ 57 h 851"/>
                <a:gd name="T102" fmla="*/ 58 w 680"/>
                <a:gd name="T103" fmla="*/ 89 h 851"/>
                <a:gd name="T104" fmla="*/ 67 w 680"/>
                <a:gd name="T105" fmla="*/ 151 h 851"/>
                <a:gd name="T106" fmla="*/ 80 w 680"/>
                <a:gd name="T107" fmla="*/ 208 h 851"/>
                <a:gd name="T108" fmla="*/ 98 w 680"/>
                <a:gd name="T109" fmla="*/ 261 h 851"/>
                <a:gd name="T110" fmla="*/ 122 w 680"/>
                <a:gd name="T111" fmla="*/ 308 h 851"/>
                <a:gd name="T112" fmla="*/ 149 w 680"/>
                <a:gd name="T113" fmla="*/ 350 h 851"/>
                <a:gd name="T114" fmla="*/ 183 w 680"/>
                <a:gd name="T115" fmla="*/ 386 h 851"/>
                <a:gd name="T116" fmla="*/ 220 w 680"/>
                <a:gd name="T117" fmla="*/ 416 h 851"/>
                <a:gd name="T118" fmla="*/ 240 w 680"/>
                <a:gd name="T119" fmla="*/ 429 h 851"/>
                <a:gd name="T120" fmla="*/ 250 w 680"/>
                <a:gd name="T121" fmla="*/ 440 h 851"/>
                <a:gd name="T122" fmla="*/ 254 w 680"/>
                <a:gd name="T123" fmla="*/ 454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80" h="851">
                  <a:moveTo>
                    <a:pt x="453" y="851"/>
                  </a:moveTo>
                  <a:lnTo>
                    <a:pt x="226" y="851"/>
                  </a:lnTo>
                  <a:lnTo>
                    <a:pt x="226" y="851"/>
                  </a:lnTo>
                  <a:lnTo>
                    <a:pt x="221" y="851"/>
                  </a:lnTo>
                  <a:lnTo>
                    <a:pt x="215" y="849"/>
                  </a:lnTo>
                  <a:lnTo>
                    <a:pt x="210" y="845"/>
                  </a:lnTo>
                  <a:lnTo>
                    <a:pt x="206" y="842"/>
                  </a:lnTo>
                  <a:lnTo>
                    <a:pt x="203" y="838"/>
                  </a:lnTo>
                  <a:lnTo>
                    <a:pt x="200" y="833"/>
                  </a:lnTo>
                  <a:lnTo>
                    <a:pt x="199" y="828"/>
                  </a:lnTo>
                  <a:lnTo>
                    <a:pt x="198" y="822"/>
                  </a:lnTo>
                  <a:lnTo>
                    <a:pt x="198" y="470"/>
                  </a:lnTo>
                  <a:lnTo>
                    <a:pt x="198" y="470"/>
                  </a:lnTo>
                  <a:lnTo>
                    <a:pt x="175" y="454"/>
                  </a:lnTo>
                  <a:lnTo>
                    <a:pt x="153" y="436"/>
                  </a:lnTo>
                  <a:lnTo>
                    <a:pt x="133" y="416"/>
                  </a:lnTo>
                  <a:lnTo>
                    <a:pt x="114" y="395"/>
                  </a:lnTo>
                  <a:lnTo>
                    <a:pt x="96" y="373"/>
                  </a:lnTo>
                  <a:lnTo>
                    <a:pt x="80" y="349"/>
                  </a:lnTo>
                  <a:lnTo>
                    <a:pt x="64" y="322"/>
                  </a:lnTo>
                  <a:lnTo>
                    <a:pt x="51" y="295"/>
                  </a:lnTo>
                  <a:lnTo>
                    <a:pt x="39" y="266"/>
                  </a:lnTo>
                  <a:lnTo>
                    <a:pt x="29" y="236"/>
                  </a:lnTo>
                  <a:lnTo>
                    <a:pt x="20" y="204"/>
                  </a:lnTo>
                  <a:lnTo>
                    <a:pt x="13" y="172"/>
                  </a:lnTo>
                  <a:lnTo>
                    <a:pt x="7" y="138"/>
                  </a:lnTo>
                  <a:lnTo>
                    <a:pt x="3" y="102"/>
                  </a:lnTo>
                  <a:lnTo>
                    <a:pt x="0" y="6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4" y="13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2" y="1"/>
                  </a:lnTo>
                  <a:lnTo>
                    <a:pt x="28" y="0"/>
                  </a:lnTo>
                  <a:lnTo>
                    <a:pt x="651" y="0"/>
                  </a:lnTo>
                  <a:lnTo>
                    <a:pt x="651" y="0"/>
                  </a:lnTo>
                  <a:lnTo>
                    <a:pt x="657" y="1"/>
                  </a:lnTo>
                  <a:lnTo>
                    <a:pt x="662" y="2"/>
                  </a:lnTo>
                  <a:lnTo>
                    <a:pt x="667" y="5"/>
                  </a:lnTo>
                  <a:lnTo>
                    <a:pt x="671" y="8"/>
                  </a:lnTo>
                  <a:lnTo>
                    <a:pt x="675" y="13"/>
                  </a:lnTo>
                  <a:lnTo>
                    <a:pt x="678" y="17"/>
                  </a:lnTo>
                  <a:lnTo>
                    <a:pt x="680" y="23"/>
                  </a:lnTo>
                  <a:lnTo>
                    <a:pt x="680" y="28"/>
                  </a:lnTo>
                  <a:lnTo>
                    <a:pt x="680" y="28"/>
                  </a:lnTo>
                  <a:lnTo>
                    <a:pt x="679" y="66"/>
                  </a:lnTo>
                  <a:lnTo>
                    <a:pt x="677" y="102"/>
                  </a:lnTo>
                  <a:lnTo>
                    <a:pt x="672" y="138"/>
                  </a:lnTo>
                  <a:lnTo>
                    <a:pt x="666" y="172"/>
                  </a:lnTo>
                  <a:lnTo>
                    <a:pt x="659" y="204"/>
                  </a:lnTo>
                  <a:lnTo>
                    <a:pt x="650" y="236"/>
                  </a:lnTo>
                  <a:lnTo>
                    <a:pt x="640" y="266"/>
                  </a:lnTo>
                  <a:lnTo>
                    <a:pt x="628" y="295"/>
                  </a:lnTo>
                  <a:lnTo>
                    <a:pt x="615" y="322"/>
                  </a:lnTo>
                  <a:lnTo>
                    <a:pt x="600" y="349"/>
                  </a:lnTo>
                  <a:lnTo>
                    <a:pt x="584" y="373"/>
                  </a:lnTo>
                  <a:lnTo>
                    <a:pt x="565" y="395"/>
                  </a:lnTo>
                  <a:lnTo>
                    <a:pt x="546" y="416"/>
                  </a:lnTo>
                  <a:lnTo>
                    <a:pt x="526" y="436"/>
                  </a:lnTo>
                  <a:lnTo>
                    <a:pt x="505" y="454"/>
                  </a:lnTo>
                  <a:lnTo>
                    <a:pt x="482" y="470"/>
                  </a:lnTo>
                  <a:lnTo>
                    <a:pt x="482" y="822"/>
                  </a:lnTo>
                  <a:lnTo>
                    <a:pt x="482" y="822"/>
                  </a:lnTo>
                  <a:lnTo>
                    <a:pt x="481" y="828"/>
                  </a:lnTo>
                  <a:lnTo>
                    <a:pt x="480" y="833"/>
                  </a:lnTo>
                  <a:lnTo>
                    <a:pt x="477" y="838"/>
                  </a:lnTo>
                  <a:lnTo>
                    <a:pt x="474" y="842"/>
                  </a:lnTo>
                  <a:lnTo>
                    <a:pt x="468" y="845"/>
                  </a:lnTo>
                  <a:lnTo>
                    <a:pt x="464" y="849"/>
                  </a:lnTo>
                  <a:lnTo>
                    <a:pt x="458" y="851"/>
                  </a:lnTo>
                  <a:lnTo>
                    <a:pt x="453" y="851"/>
                  </a:lnTo>
                  <a:lnTo>
                    <a:pt x="453" y="851"/>
                  </a:lnTo>
                  <a:close/>
                  <a:moveTo>
                    <a:pt x="254" y="794"/>
                  </a:moveTo>
                  <a:lnTo>
                    <a:pt x="425" y="794"/>
                  </a:lnTo>
                  <a:lnTo>
                    <a:pt x="425" y="454"/>
                  </a:lnTo>
                  <a:lnTo>
                    <a:pt x="425" y="454"/>
                  </a:lnTo>
                  <a:lnTo>
                    <a:pt x="426" y="447"/>
                  </a:lnTo>
                  <a:lnTo>
                    <a:pt x="428" y="440"/>
                  </a:lnTo>
                  <a:lnTo>
                    <a:pt x="433" y="433"/>
                  </a:lnTo>
                  <a:lnTo>
                    <a:pt x="439" y="429"/>
                  </a:lnTo>
                  <a:lnTo>
                    <a:pt x="439" y="429"/>
                  </a:lnTo>
                  <a:lnTo>
                    <a:pt x="459" y="416"/>
                  </a:lnTo>
                  <a:lnTo>
                    <a:pt x="479" y="402"/>
                  </a:lnTo>
                  <a:lnTo>
                    <a:pt x="497" y="386"/>
                  </a:lnTo>
                  <a:lnTo>
                    <a:pt x="514" y="369"/>
                  </a:lnTo>
                  <a:lnTo>
                    <a:pt x="529" y="350"/>
                  </a:lnTo>
                  <a:lnTo>
                    <a:pt x="544" y="329"/>
                  </a:lnTo>
                  <a:lnTo>
                    <a:pt x="557" y="308"/>
                  </a:lnTo>
                  <a:lnTo>
                    <a:pt x="569" y="285"/>
                  </a:lnTo>
                  <a:lnTo>
                    <a:pt x="581" y="261"/>
                  </a:lnTo>
                  <a:lnTo>
                    <a:pt x="591" y="234"/>
                  </a:lnTo>
                  <a:lnTo>
                    <a:pt x="600" y="208"/>
                  </a:lnTo>
                  <a:lnTo>
                    <a:pt x="607" y="180"/>
                  </a:lnTo>
                  <a:lnTo>
                    <a:pt x="613" y="151"/>
                  </a:lnTo>
                  <a:lnTo>
                    <a:pt x="617" y="120"/>
                  </a:lnTo>
                  <a:lnTo>
                    <a:pt x="621" y="89"/>
                  </a:lnTo>
                  <a:lnTo>
                    <a:pt x="623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8" y="89"/>
                  </a:lnTo>
                  <a:lnTo>
                    <a:pt x="61" y="120"/>
                  </a:lnTo>
                  <a:lnTo>
                    <a:pt x="67" y="151"/>
                  </a:lnTo>
                  <a:lnTo>
                    <a:pt x="73" y="180"/>
                  </a:lnTo>
                  <a:lnTo>
                    <a:pt x="80" y="208"/>
                  </a:lnTo>
                  <a:lnTo>
                    <a:pt x="89" y="234"/>
                  </a:lnTo>
                  <a:lnTo>
                    <a:pt x="98" y="261"/>
                  </a:lnTo>
                  <a:lnTo>
                    <a:pt x="109" y="285"/>
                  </a:lnTo>
                  <a:lnTo>
                    <a:pt x="122" y="308"/>
                  </a:lnTo>
                  <a:lnTo>
                    <a:pt x="135" y="329"/>
                  </a:lnTo>
                  <a:lnTo>
                    <a:pt x="149" y="350"/>
                  </a:lnTo>
                  <a:lnTo>
                    <a:pt x="165" y="369"/>
                  </a:lnTo>
                  <a:lnTo>
                    <a:pt x="183" y="386"/>
                  </a:lnTo>
                  <a:lnTo>
                    <a:pt x="201" y="402"/>
                  </a:lnTo>
                  <a:lnTo>
                    <a:pt x="220" y="416"/>
                  </a:lnTo>
                  <a:lnTo>
                    <a:pt x="240" y="429"/>
                  </a:lnTo>
                  <a:lnTo>
                    <a:pt x="240" y="429"/>
                  </a:lnTo>
                  <a:lnTo>
                    <a:pt x="246" y="433"/>
                  </a:lnTo>
                  <a:lnTo>
                    <a:pt x="250" y="440"/>
                  </a:lnTo>
                  <a:lnTo>
                    <a:pt x="253" y="447"/>
                  </a:lnTo>
                  <a:lnTo>
                    <a:pt x="254" y="454"/>
                  </a:lnTo>
                  <a:lnTo>
                    <a:pt x="254" y="7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29" name="Freeform 328">
              <a:extLst>
                <a:ext uri="{FF2B5EF4-FFF2-40B4-BE49-F238E27FC236}">
                  <a16:creationId xmlns="" xmlns:a16="http://schemas.microsoft.com/office/drawing/2014/main" id="{B2D2178A-D7A0-42B5-9F53-552139BBA7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29725" y="3743326"/>
              <a:ext cx="46038" cy="120650"/>
            </a:xfrm>
            <a:custGeom>
              <a:avLst/>
              <a:gdLst>
                <a:gd name="T0" fmla="*/ 85 w 170"/>
                <a:gd name="T1" fmla="*/ 454 h 454"/>
                <a:gd name="T2" fmla="*/ 85 w 170"/>
                <a:gd name="T3" fmla="*/ 454 h 454"/>
                <a:gd name="T4" fmla="*/ 80 w 170"/>
                <a:gd name="T5" fmla="*/ 454 h 454"/>
                <a:gd name="T6" fmla="*/ 75 w 170"/>
                <a:gd name="T7" fmla="*/ 452 h 454"/>
                <a:gd name="T8" fmla="*/ 70 w 170"/>
                <a:gd name="T9" fmla="*/ 450 h 454"/>
                <a:gd name="T10" fmla="*/ 66 w 170"/>
                <a:gd name="T11" fmla="*/ 446 h 454"/>
                <a:gd name="T12" fmla="*/ 8 w 170"/>
                <a:gd name="T13" fmla="*/ 389 h 454"/>
                <a:gd name="T14" fmla="*/ 8 w 170"/>
                <a:gd name="T15" fmla="*/ 389 h 454"/>
                <a:gd name="T16" fmla="*/ 5 w 170"/>
                <a:gd name="T17" fmla="*/ 384 h 454"/>
                <a:gd name="T18" fmla="*/ 2 w 170"/>
                <a:gd name="T19" fmla="*/ 379 h 454"/>
                <a:gd name="T20" fmla="*/ 0 w 170"/>
                <a:gd name="T21" fmla="*/ 373 h 454"/>
                <a:gd name="T22" fmla="*/ 0 w 170"/>
                <a:gd name="T23" fmla="*/ 367 h 454"/>
                <a:gd name="T24" fmla="*/ 29 w 170"/>
                <a:gd name="T25" fmla="*/ 26 h 454"/>
                <a:gd name="T26" fmla="*/ 29 w 170"/>
                <a:gd name="T27" fmla="*/ 26 h 454"/>
                <a:gd name="T28" fmla="*/ 30 w 170"/>
                <a:gd name="T29" fmla="*/ 21 h 454"/>
                <a:gd name="T30" fmla="*/ 32 w 170"/>
                <a:gd name="T31" fmla="*/ 16 h 454"/>
                <a:gd name="T32" fmla="*/ 35 w 170"/>
                <a:gd name="T33" fmla="*/ 11 h 454"/>
                <a:gd name="T34" fmla="*/ 38 w 170"/>
                <a:gd name="T35" fmla="*/ 8 h 454"/>
                <a:gd name="T36" fmla="*/ 42 w 170"/>
                <a:gd name="T37" fmla="*/ 5 h 454"/>
                <a:gd name="T38" fmla="*/ 47 w 170"/>
                <a:gd name="T39" fmla="*/ 2 h 454"/>
                <a:gd name="T40" fmla="*/ 52 w 170"/>
                <a:gd name="T41" fmla="*/ 1 h 454"/>
                <a:gd name="T42" fmla="*/ 57 w 170"/>
                <a:gd name="T43" fmla="*/ 0 h 454"/>
                <a:gd name="T44" fmla="*/ 113 w 170"/>
                <a:gd name="T45" fmla="*/ 0 h 454"/>
                <a:gd name="T46" fmla="*/ 113 w 170"/>
                <a:gd name="T47" fmla="*/ 0 h 454"/>
                <a:gd name="T48" fmla="*/ 120 w 170"/>
                <a:gd name="T49" fmla="*/ 1 h 454"/>
                <a:gd name="T50" fmla="*/ 125 w 170"/>
                <a:gd name="T51" fmla="*/ 2 h 454"/>
                <a:gd name="T52" fmla="*/ 129 w 170"/>
                <a:gd name="T53" fmla="*/ 5 h 454"/>
                <a:gd name="T54" fmla="*/ 133 w 170"/>
                <a:gd name="T55" fmla="*/ 8 h 454"/>
                <a:gd name="T56" fmla="*/ 137 w 170"/>
                <a:gd name="T57" fmla="*/ 11 h 454"/>
                <a:gd name="T58" fmla="*/ 140 w 170"/>
                <a:gd name="T59" fmla="*/ 16 h 454"/>
                <a:gd name="T60" fmla="*/ 141 w 170"/>
                <a:gd name="T61" fmla="*/ 21 h 454"/>
                <a:gd name="T62" fmla="*/ 142 w 170"/>
                <a:gd name="T63" fmla="*/ 26 h 454"/>
                <a:gd name="T64" fmla="*/ 170 w 170"/>
                <a:gd name="T65" fmla="*/ 367 h 454"/>
                <a:gd name="T66" fmla="*/ 170 w 170"/>
                <a:gd name="T67" fmla="*/ 367 h 454"/>
                <a:gd name="T68" fmla="*/ 170 w 170"/>
                <a:gd name="T69" fmla="*/ 373 h 454"/>
                <a:gd name="T70" fmla="*/ 169 w 170"/>
                <a:gd name="T71" fmla="*/ 379 h 454"/>
                <a:gd name="T72" fmla="*/ 166 w 170"/>
                <a:gd name="T73" fmla="*/ 384 h 454"/>
                <a:gd name="T74" fmla="*/ 162 w 170"/>
                <a:gd name="T75" fmla="*/ 389 h 454"/>
                <a:gd name="T76" fmla="*/ 105 w 170"/>
                <a:gd name="T77" fmla="*/ 446 h 454"/>
                <a:gd name="T78" fmla="*/ 105 w 170"/>
                <a:gd name="T79" fmla="*/ 446 h 454"/>
                <a:gd name="T80" fmla="*/ 101 w 170"/>
                <a:gd name="T81" fmla="*/ 450 h 454"/>
                <a:gd name="T82" fmla="*/ 96 w 170"/>
                <a:gd name="T83" fmla="*/ 452 h 454"/>
                <a:gd name="T84" fmla="*/ 91 w 170"/>
                <a:gd name="T85" fmla="*/ 454 h 454"/>
                <a:gd name="T86" fmla="*/ 85 w 170"/>
                <a:gd name="T87" fmla="*/ 454 h 454"/>
                <a:gd name="T88" fmla="*/ 85 w 170"/>
                <a:gd name="T89" fmla="*/ 454 h 454"/>
                <a:gd name="T90" fmla="*/ 58 w 170"/>
                <a:gd name="T91" fmla="*/ 358 h 454"/>
                <a:gd name="T92" fmla="*/ 85 w 170"/>
                <a:gd name="T93" fmla="*/ 385 h 454"/>
                <a:gd name="T94" fmla="*/ 112 w 170"/>
                <a:gd name="T95" fmla="*/ 358 h 454"/>
                <a:gd name="T96" fmla="*/ 88 w 170"/>
                <a:gd name="T97" fmla="*/ 57 h 454"/>
                <a:gd name="T98" fmla="*/ 83 w 170"/>
                <a:gd name="T99" fmla="*/ 57 h 454"/>
                <a:gd name="T100" fmla="*/ 58 w 170"/>
                <a:gd name="T101" fmla="*/ 358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454">
                  <a:moveTo>
                    <a:pt x="85" y="454"/>
                  </a:moveTo>
                  <a:lnTo>
                    <a:pt x="85" y="454"/>
                  </a:lnTo>
                  <a:lnTo>
                    <a:pt x="80" y="454"/>
                  </a:lnTo>
                  <a:lnTo>
                    <a:pt x="75" y="452"/>
                  </a:lnTo>
                  <a:lnTo>
                    <a:pt x="70" y="450"/>
                  </a:lnTo>
                  <a:lnTo>
                    <a:pt x="66" y="446"/>
                  </a:lnTo>
                  <a:lnTo>
                    <a:pt x="8" y="389"/>
                  </a:lnTo>
                  <a:lnTo>
                    <a:pt x="8" y="389"/>
                  </a:lnTo>
                  <a:lnTo>
                    <a:pt x="5" y="384"/>
                  </a:lnTo>
                  <a:lnTo>
                    <a:pt x="2" y="379"/>
                  </a:lnTo>
                  <a:lnTo>
                    <a:pt x="0" y="373"/>
                  </a:lnTo>
                  <a:lnTo>
                    <a:pt x="0" y="367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30" y="21"/>
                  </a:lnTo>
                  <a:lnTo>
                    <a:pt x="32" y="16"/>
                  </a:lnTo>
                  <a:lnTo>
                    <a:pt x="35" y="11"/>
                  </a:lnTo>
                  <a:lnTo>
                    <a:pt x="38" y="8"/>
                  </a:lnTo>
                  <a:lnTo>
                    <a:pt x="42" y="5"/>
                  </a:lnTo>
                  <a:lnTo>
                    <a:pt x="47" y="2"/>
                  </a:lnTo>
                  <a:lnTo>
                    <a:pt x="52" y="1"/>
                  </a:lnTo>
                  <a:lnTo>
                    <a:pt x="57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20" y="1"/>
                  </a:lnTo>
                  <a:lnTo>
                    <a:pt x="125" y="2"/>
                  </a:lnTo>
                  <a:lnTo>
                    <a:pt x="129" y="5"/>
                  </a:lnTo>
                  <a:lnTo>
                    <a:pt x="133" y="8"/>
                  </a:lnTo>
                  <a:lnTo>
                    <a:pt x="137" y="11"/>
                  </a:lnTo>
                  <a:lnTo>
                    <a:pt x="140" y="16"/>
                  </a:lnTo>
                  <a:lnTo>
                    <a:pt x="141" y="21"/>
                  </a:lnTo>
                  <a:lnTo>
                    <a:pt x="142" y="26"/>
                  </a:lnTo>
                  <a:lnTo>
                    <a:pt x="170" y="367"/>
                  </a:lnTo>
                  <a:lnTo>
                    <a:pt x="170" y="367"/>
                  </a:lnTo>
                  <a:lnTo>
                    <a:pt x="170" y="373"/>
                  </a:lnTo>
                  <a:lnTo>
                    <a:pt x="169" y="379"/>
                  </a:lnTo>
                  <a:lnTo>
                    <a:pt x="166" y="384"/>
                  </a:lnTo>
                  <a:lnTo>
                    <a:pt x="162" y="389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50"/>
                  </a:lnTo>
                  <a:lnTo>
                    <a:pt x="96" y="452"/>
                  </a:lnTo>
                  <a:lnTo>
                    <a:pt x="91" y="454"/>
                  </a:lnTo>
                  <a:lnTo>
                    <a:pt x="85" y="454"/>
                  </a:lnTo>
                  <a:lnTo>
                    <a:pt x="85" y="454"/>
                  </a:lnTo>
                  <a:close/>
                  <a:moveTo>
                    <a:pt x="58" y="358"/>
                  </a:moveTo>
                  <a:lnTo>
                    <a:pt x="85" y="385"/>
                  </a:lnTo>
                  <a:lnTo>
                    <a:pt x="112" y="358"/>
                  </a:lnTo>
                  <a:lnTo>
                    <a:pt x="88" y="57"/>
                  </a:lnTo>
                  <a:lnTo>
                    <a:pt x="83" y="57"/>
                  </a:lnTo>
                  <a:lnTo>
                    <a:pt x="58" y="3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30" name="Freeform 329">
              <a:extLst>
                <a:ext uri="{FF2B5EF4-FFF2-40B4-BE49-F238E27FC236}">
                  <a16:creationId xmlns="" xmlns:a16="http://schemas.microsoft.com/office/drawing/2014/main" id="{4AC60FA8-0CC9-45CD-A6CB-A4C829F0A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2438" y="3636963"/>
              <a:ext cx="71438" cy="71438"/>
            </a:xfrm>
            <a:custGeom>
              <a:avLst/>
              <a:gdLst>
                <a:gd name="T0" fmla="*/ 244 w 272"/>
                <a:gd name="T1" fmla="*/ 273 h 273"/>
                <a:gd name="T2" fmla="*/ 244 w 272"/>
                <a:gd name="T3" fmla="*/ 273 h 273"/>
                <a:gd name="T4" fmla="*/ 238 w 272"/>
                <a:gd name="T5" fmla="*/ 273 h 273"/>
                <a:gd name="T6" fmla="*/ 233 w 272"/>
                <a:gd name="T7" fmla="*/ 271 h 273"/>
                <a:gd name="T8" fmla="*/ 228 w 272"/>
                <a:gd name="T9" fmla="*/ 269 h 273"/>
                <a:gd name="T10" fmla="*/ 224 w 272"/>
                <a:gd name="T11" fmla="*/ 265 h 273"/>
                <a:gd name="T12" fmla="*/ 8 w 272"/>
                <a:gd name="T13" fmla="*/ 49 h 273"/>
                <a:gd name="T14" fmla="*/ 8 w 272"/>
                <a:gd name="T15" fmla="*/ 49 h 273"/>
                <a:gd name="T16" fmla="*/ 4 w 272"/>
                <a:gd name="T17" fmla="*/ 45 h 273"/>
                <a:gd name="T18" fmla="*/ 2 w 272"/>
                <a:gd name="T19" fmla="*/ 40 h 273"/>
                <a:gd name="T20" fmla="*/ 0 w 272"/>
                <a:gd name="T21" fmla="*/ 35 h 273"/>
                <a:gd name="T22" fmla="*/ 0 w 272"/>
                <a:gd name="T23" fmla="*/ 29 h 273"/>
                <a:gd name="T24" fmla="*/ 0 w 272"/>
                <a:gd name="T25" fmla="*/ 23 h 273"/>
                <a:gd name="T26" fmla="*/ 2 w 272"/>
                <a:gd name="T27" fmla="*/ 18 h 273"/>
                <a:gd name="T28" fmla="*/ 4 w 272"/>
                <a:gd name="T29" fmla="*/ 13 h 273"/>
                <a:gd name="T30" fmla="*/ 8 w 272"/>
                <a:gd name="T31" fmla="*/ 9 h 273"/>
                <a:gd name="T32" fmla="*/ 8 w 272"/>
                <a:gd name="T33" fmla="*/ 9 h 273"/>
                <a:gd name="T34" fmla="*/ 12 w 272"/>
                <a:gd name="T35" fmla="*/ 5 h 273"/>
                <a:gd name="T36" fmla="*/ 17 w 272"/>
                <a:gd name="T37" fmla="*/ 2 h 273"/>
                <a:gd name="T38" fmla="*/ 23 w 272"/>
                <a:gd name="T39" fmla="*/ 1 h 273"/>
                <a:gd name="T40" fmla="*/ 28 w 272"/>
                <a:gd name="T41" fmla="*/ 0 h 273"/>
                <a:gd name="T42" fmla="*/ 33 w 272"/>
                <a:gd name="T43" fmla="*/ 1 h 273"/>
                <a:gd name="T44" fmla="*/ 38 w 272"/>
                <a:gd name="T45" fmla="*/ 2 h 273"/>
                <a:gd name="T46" fmla="*/ 43 w 272"/>
                <a:gd name="T47" fmla="*/ 5 h 273"/>
                <a:gd name="T48" fmla="*/ 48 w 272"/>
                <a:gd name="T49" fmla="*/ 9 h 273"/>
                <a:gd name="T50" fmla="*/ 264 w 272"/>
                <a:gd name="T51" fmla="*/ 225 h 273"/>
                <a:gd name="T52" fmla="*/ 264 w 272"/>
                <a:gd name="T53" fmla="*/ 225 h 273"/>
                <a:gd name="T54" fmla="*/ 267 w 272"/>
                <a:gd name="T55" fmla="*/ 229 h 273"/>
                <a:gd name="T56" fmla="*/ 270 w 272"/>
                <a:gd name="T57" fmla="*/ 235 h 273"/>
                <a:gd name="T58" fmla="*/ 271 w 272"/>
                <a:gd name="T59" fmla="*/ 240 h 273"/>
                <a:gd name="T60" fmla="*/ 272 w 272"/>
                <a:gd name="T61" fmla="*/ 245 h 273"/>
                <a:gd name="T62" fmla="*/ 271 w 272"/>
                <a:gd name="T63" fmla="*/ 251 h 273"/>
                <a:gd name="T64" fmla="*/ 270 w 272"/>
                <a:gd name="T65" fmla="*/ 256 h 273"/>
                <a:gd name="T66" fmla="*/ 267 w 272"/>
                <a:gd name="T67" fmla="*/ 261 h 273"/>
                <a:gd name="T68" fmla="*/ 264 w 272"/>
                <a:gd name="T69" fmla="*/ 265 h 273"/>
                <a:gd name="T70" fmla="*/ 264 w 272"/>
                <a:gd name="T71" fmla="*/ 265 h 273"/>
                <a:gd name="T72" fmla="*/ 259 w 272"/>
                <a:gd name="T73" fmla="*/ 269 h 273"/>
                <a:gd name="T74" fmla="*/ 254 w 272"/>
                <a:gd name="T75" fmla="*/ 271 h 273"/>
                <a:gd name="T76" fmla="*/ 249 w 272"/>
                <a:gd name="T77" fmla="*/ 273 h 273"/>
                <a:gd name="T78" fmla="*/ 244 w 272"/>
                <a:gd name="T79" fmla="*/ 273 h 273"/>
                <a:gd name="T80" fmla="*/ 244 w 272"/>
                <a:gd name="T81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2" h="273">
                  <a:moveTo>
                    <a:pt x="244" y="273"/>
                  </a:moveTo>
                  <a:lnTo>
                    <a:pt x="244" y="273"/>
                  </a:lnTo>
                  <a:lnTo>
                    <a:pt x="238" y="273"/>
                  </a:lnTo>
                  <a:lnTo>
                    <a:pt x="233" y="271"/>
                  </a:lnTo>
                  <a:lnTo>
                    <a:pt x="228" y="269"/>
                  </a:lnTo>
                  <a:lnTo>
                    <a:pt x="224" y="265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4" y="45"/>
                  </a:lnTo>
                  <a:lnTo>
                    <a:pt x="2" y="40"/>
                  </a:lnTo>
                  <a:lnTo>
                    <a:pt x="0" y="35"/>
                  </a:lnTo>
                  <a:lnTo>
                    <a:pt x="0" y="29"/>
                  </a:lnTo>
                  <a:lnTo>
                    <a:pt x="0" y="23"/>
                  </a:lnTo>
                  <a:lnTo>
                    <a:pt x="2" y="18"/>
                  </a:lnTo>
                  <a:lnTo>
                    <a:pt x="4" y="13"/>
                  </a:lnTo>
                  <a:lnTo>
                    <a:pt x="8" y="9"/>
                  </a:lnTo>
                  <a:lnTo>
                    <a:pt x="8" y="9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3" y="1"/>
                  </a:lnTo>
                  <a:lnTo>
                    <a:pt x="28" y="0"/>
                  </a:lnTo>
                  <a:lnTo>
                    <a:pt x="33" y="1"/>
                  </a:lnTo>
                  <a:lnTo>
                    <a:pt x="38" y="2"/>
                  </a:lnTo>
                  <a:lnTo>
                    <a:pt x="43" y="5"/>
                  </a:lnTo>
                  <a:lnTo>
                    <a:pt x="48" y="9"/>
                  </a:lnTo>
                  <a:lnTo>
                    <a:pt x="264" y="225"/>
                  </a:lnTo>
                  <a:lnTo>
                    <a:pt x="264" y="225"/>
                  </a:lnTo>
                  <a:lnTo>
                    <a:pt x="267" y="229"/>
                  </a:lnTo>
                  <a:lnTo>
                    <a:pt x="270" y="235"/>
                  </a:lnTo>
                  <a:lnTo>
                    <a:pt x="271" y="240"/>
                  </a:lnTo>
                  <a:lnTo>
                    <a:pt x="272" y="245"/>
                  </a:lnTo>
                  <a:lnTo>
                    <a:pt x="271" y="251"/>
                  </a:lnTo>
                  <a:lnTo>
                    <a:pt x="270" y="256"/>
                  </a:lnTo>
                  <a:lnTo>
                    <a:pt x="267" y="261"/>
                  </a:lnTo>
                  <a:lnTo>
                    <a:pt x="264" y="265"/>
                  </a:lnTo>
                  <a:lnTo>
                    <a:pt x="264" y="265"/>
                  </a:lnTo>
                  <a:lnTo>
                    <a:pt x="259" y="269"/>
                  </a:lnTo>
                  <a:lnTo>
                    <a:pt x="254" y="271"/>
                  </a:lnTo>
                  <a:lnTo>
                    <a:pt x="249" y="273"/>
                  </a:lnTo>
                  <a:lnTo>
                    <a:pt x="244" y="273"/>
                  </a:lnTo>
                  <a:lnTo>
                    <a:pt x="244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31" name="Freeform 330">
              <a:extLst>
                <a:ext uri="{FF2B5EF4-FFF2-40B4-BE49-F238E27FC236}">
                  <a16:creationId xmlns="" xmlns:a16="http://schemas.microsoft.com/office/drawing/2014/main" id="{BA42BC74-89C9-42E2-A2CB-DBFA5EDE7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2438" y="3636963"/>
              <a:ext cx="71438" cy="71438"/>
            </a:xfrm>
            <a:custGeom>
              <a:avLst/>
              <a:gdLst>
                <a:gd name="T0" fmla="*/ 28 w 272"/>
                <a:gd name="T1" fmla="*/ 273 h 273"/>
                <a:gd name="T2" fmla="*/ 28 w 272"/>
                <a:gd name="T3" fmla="*/ 273 h 273"/>
                <a:gd name="T4" fmla="*/ 23 w 272"/>
                <a:gd name="T5" fmla="*/ 273 h 273"/>
                <a:gd name="T6" fmla="*/ 17 w 272"/>
                <a:gd name="T7" fmla="*/ 271 h 273"/>
                <a:gd name="T8" fmla="*/ 12 w 272"/>
                <a:gd name="T9" fmla="*/ 269 h 273"/>
                <a:gd name="T10" fmla="*/ 8 w 272"/>
                <a:gd name="T11" fmla="*/ 265 h 273"/>
                <a:gd name="T12" fmla="*/ 8 w 272"/>
                <a:gd name="T13" fmla="*/ 265 h 273"/>
                <a:gd name="T14" fmla="*/ 4 w 272"/>
                <a:gd name="T15" fmla="*/ 261 h 273"/>
                <a:gd name="T16" fmla="*/ 2 w 272"/>
                <a:gd name="T17" fmla="*/ 256 h 273"/>
                <a:gd name="T18" fmla="*/ 0 w 272"/>
                <a:gd name="T19" fmla="*/ 251 h 273"/>
                <a:gd name="T20" fmla="*/ 0 w 272"/>
                <a:gd name="T21" fmla="*/ 245 h 273"/>
                <a:gd name="T22" fmla="*/ 0 w 272"/>
                <a:gd name="T23" fmla="*/ 240 h 273"/>
                <a:gd name="T24" fmla="*/ 2 w 272"/>
                <a:gd name="T25" fmla="*/ 235 h 273"/>
                <a:gd name="T26" fmla="*/ 4 w 272"/>
                <a:gd name="T27" fmla="*/ 229 h 273"/>
                <a:gd name="T28" fmla="*/ 8 w 272"/>
                <a:gd name="T29" fmla="*/ 225 h 273"/>
                <a:gd name="T30" fmla="*/ 224 w 272"/>
                <a:gd name="T31" fmla="*/ 9 h 273"/>
                <a:gd name="T32" fmla="*/ 224 w 272"/>
                <a:gd name="T33" fmla="*/ 9 h 273"/>
                <a:gd name="T34" fmla="*/ 228 w 272"/>
                <a:gd name="T35" fmla="*/ 5 h 273"/>
                <a:gd name="T36" fmla="*/ 233 w 272"/>
                <a:gd name="T37" fmla="*/ 2 h 273"/>
                <a:gd name="T38" fmla="*/ 238 w 272"/>
                <a:gd name="T39" fmla="*/ 1 h 273"/>
                <a:gd name="T40" fmla="*/ 244 w 272"/>
                <a:gd name="T41" fmla="*/ 0 h 273"/>
                <a:gd name="T42" fmla="*/ 249 w 272"/>
                <a:gd name="T43" fmla="*/ 1 h 273"/>
                <a:gd name="T44" fmla="*/ 254 w 272"/>
                <a:gd name="T45" fmla="*/ 2 h 273"/>
                <a:gd name="T46" fmla="*/ 259 w 272"/>
                <a:gd name="T47" fmla="*/ 5 h 273"/>
                <a:gd name="T48" fmla="*/ 264 w 272"/>
                <a:gd name="T49" fmla="*/ 9 h 273"/>
                <a:gd name="T50" fmla="*/ 264 w 272"/>
                <a:gd name="T51" fmla="*/ 9 h 273"/>
                <a:gd name="T52" fmla="*/ 267 w 272"/>
                <a:gd name="T53" fmla="*/ 13 h 273"/>
                <a:gd name="T54" fmla="*/ 270 w 272"/>
                <a:gd name="T55" fmla="*/ 18 h 273"/>
                <a:gd name="T56" fmla="*/ 271 w 272"/>
                <a:gd name="T57" fmla="*/ 23 h 273"/>
                <a:gd name="T58" fmla="*/ 272 w 272"/>
                <a:gd name="T59" fmla="*/ 29 h 273"/>
                <a:gd name="T60" fmla="*/ 271 w 272"/>
                <a:gd name="T61" fmla="*/ 35 h 273"/>
                <a:gd name="T62" fmla="*/ 270 w 272"/>
                <a:gd name="T63" fmla="*/ 40 h 273"/>
                <a:gd name="T64" fmla="*/ 267 w 272"/>
                <a:gd name="T65" fmla="*/ 45 h 273"/>
                <a:gd name="T66" fmla="*/ 264 w 272"/>
                <a:gd name="T67" fmla="*/ 49 h 273"/>
                <a:gd name="T68" fmla="*/ 48 w 272"/>
                <a:gd name="T69" fmla="*/ 265 h 273"/>
                <a:gd name="T70" fmla="*/ 48 w 272"/>
                <a:gd name="T71" fmla="*/ 265 h 273"/>
                <a:gd name="T72" fmla="*/ 43 w 272"/>
                <a:gd name="T73" fmla="*/ 269 h 273"/>
                <a:gd name="T74" fmla="*/ 38 w 272"/>
                <a:gd name="T75" fmla="*/ 271 h 273"/>
                <a:gd name="T76" fmla="*/ 33 w 272"/>
                <a:gd name="T77" fmla="*/ 273 h 273"/>
                <a:gd name="T78" fmla="*/ 28 w 272"/>
                <a:gd name="T79" fmla="*/ 273 h 273"/>
                <a:gd name="T80" fmla="*/ 28 w 272"/>
                <a:gd name="T81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2" h="273">
                  <a:moveTo>
                    <a:pt x="28" y="273"/>
                  </a:moveTo>
                  <a:lnTo>
                    <a:pt x="28" y="273"/>
                  </a:lnTo>
                  <a:lnTo>
                    <a:pt x="23" y="273"/>
                  </a:lnTo>
                  <a:lnTo>
                    <a:pt x="17" y="271"/>
                  </a:lnTo>
                  <a:lnTo>
                    <a:pt x="12" y="269"/>
                  </a:lnTo>
                  <a:lnTo>
                    <a:pt x="8" y="265"/>
                  </a:lnTo>
                  <a:lnTo>
                    <a:pt x="8" y="265"/>
                  </a:lnTo>
                  <a:lnTo>
                    <a:pt x="4" y="261"/>
                  </a:lnTo>
                  <a:lnTo>
                    <a:pt x="2" y="256"/>
                  </a:lnTo>
                  <a:lnTo>
                    <a:pt x="0" y="251"/>
                  </a:lnTo>
                  <a:lnTo>
                    <a:pt x="0" y="245"/>
                  </a:lnTo>
                  <a:lnTo>
                    <a:pt x="0" y="240"/>
                  </a:lnTo>
                  <a:lnTo>
                    <a:pt x="2" y="235"/>
                  </a:lnTo>
                  <a:lnTo>
                    <a:pt x="4" y="229"/>
                  </a:lnTo>
                  <a:lnTo>
                    <a:pt x="8" y="225"/>
                  </a:lnTo>
                  <a:lnTo>
                    <a:pt x="224" y="9"/>
                  </a:lnTo>
                  <a:lnTo>
                    <a:pt x="224" y="9"/>
                  </a:lnTo>
                  <a:lnTo>
                    <a:pt x="228" y="5"/>
                  </a:lnTo>
                  <a:lnTo>
                    <a:pt x="233" y="2"/>
                  </a:lnTo>
                  <a:lnTo>
                    <a:pt x="238" y="1"/>
                  </a:lnTo>
                  <a:lnTo>
                    <a:pt x="244" y="0"/>
                  </a:lnTo>
                  <a:lnTo>
                    <a:pt x="249" y="1"/>
                  </a:lnTo>
                  <a:lnTo>
                    <a:pt x="254" y="2"/>
                  </a:lnTo>
                  <a:lnTo>
                    <a:pt x="259" y="5"/>
                  </a:lnTo>
                  <a:lnTo>
                    <a:pt x="264" y="9"/>
                  </a:lnTo>
                  <a:lnTo>
                    <a:pt x="264" y="9"/>
                  </a:lnTo>
                  <a:lnTo>
                    <a:pt x="267" y="13"/>
                  </a:lnTo>
                  <a:lnTo>
                    <a:pt x="270" y="18"/>
                  </a:lnTo>
                  <a:lnTo>
                    <a:pt x="271" y="23"/>
                  </a:lnTo>
                  <a:lnTo>
                    <a:pt x="272" y="29"/>
                  </a:lnTo>
                  <a:lnTo>
                    <a:pt x="271" y="35"/>
                  </a:lnTo>
                  <a:lnTo>
                    <a:pt x="270" y="40"/>
                  </a:lnTo>
                  <a:lnTo>
                    <a:pt x="267" y="45"/>
                  </a:lnTo>
                  <a:lnTo>
                    <a:pt x="264" y="49"/>
                  </a:lnTo>
                  <a:lnTo>
                    <a:pt x="48" y="265"/>
                  </a:lnTo>
                  <a:lnTo>
                    <a:pt x="48" y="265"/>
                  </a:lnTo>
                  <a:lnTo>
                    <a:pt x="43" y="269"/>
                  </a:lnTo>
                  <a:lnTo>
                    <a:pt x="38" y="271"/>
                  </a:lnTo>
                  <a:lnTo>
                    <a:pt x="33" y="273"/>
                  </a:lnTo>
                  <a:lnTo>
                    <a:pt x="28" y="273"/>
                  </a:lnTo>
                  <a:lnTo>
                    <a:pt x="28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32" name="Freeform 331">
              <a:extLst>
                <a:ext uri="{FF2B5EF4-FFF2-40B4-BE49-F238E27FC236}">
                  <a16:creationId xmlns="" xmlns:a16="http://schemas.microsoft.com/office/drawing/2014/main" id="{4F04047C-BE6E-4EA0-AE5E-8F86220F8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0863" y="3743326"/>
              <a:ext cx="74613" cy="76200"/>
            </a:xfrm>
            <a:custGeom>
              <a:avLst/>
              <a:gdLst>
                <a:gd name="T0" fmla="*/ 127 w 284"/>
                <a:gd name="T1" fmla="*/ 283 h 284"/>
                <a:gd name="T2" fmla="*/ 87 w 284"/>
                <a:gd name="T3" fmla="*/ 273 h 284"/>
                <a:gd name="T4" fmla="*/ 52 w 284"/>
                <a:gd name="T5" fmla="*/ 252 h 284"/>
                <a:gd name="T6" fmla="*/ 24 w 284"/>
                <a:gd name="T7" fmla="*/ 221 h 284"/>
                <a:gd name="T8" fmla="*/ 6 w 284"/>
                <a:gd name="T9" fmla="*/ 184 h 284"/>
                <a:gd name="T10" fmla="*/ 0 w 284"/>
                <a:gd name="T11" fmla="*/ 143 h 284"/>
                <a:gd name="T12" fmla="*/ 3 w 284"/>
                <a:gd name="T13" fmla="*/ 113 h 284"/>
                <a:gd name="T14" fmla="*/ 17 w 284"/>
                <a:gd name="T15" fmla="*/ 75 h 284"/>
                <a:gd name="T16" fmla="*/ 42 w 284"/>
                <a:gd name="T17" fmla="*/ 42 h 284"/>
                <a:gd name="T18" fmla="*/ 74 w 284"/>
                <a:gd name="T19" fmla="*/ 17 h 284"/>
                <a:gd name="T20" fmla="*/ 113 w 284"/>
                <a:gd name="T21" fmla="*/ 3 h 284"/>
                <a:gd name="T22" fmla="*/ 142 w 284"/>
                <a:gd name="T23" fmla="*/ 0 h 284"/>
                <a:gd name="T24" fmla="*/ 184 w 284"/>
                <a:gd name="T25" fmla="*/ 7 h 284"/>
                <a:gd name="T26" fmla="*/ 221 w 284"/>
                <a:gd name="T27" fmla="*/ 24 h 284"/>
                <a:gd name="T28" fmla="*/ 252 w 284"/>
                <a:gd name="T29" fmla="*/ 52 h 284"/>
                <a:gd name="T30" fmla="*/ 273 w 284"/>
                <a:gd name="T31" fmla="*/ 87 h 284"/>
                <a:gd name="T32" fmla="*/ 283 w 284"/>
                <a:gd name="T33" fmla="*/ 127 h 284"/>
                <a:gd name="T34" fmla="*/ 283 w 284"/>
                <a:gd name="T35" fmla="*/ 157 h 284"/>
                <a:gd name="T36" fmla="*/ 273 w 284"/>
                <a:gd name="T37" fmla="*/ 197 h 284"/>
                <a:gd name="T38" fmla="*/ 252 w 284"/>
                <a:gd name="T39" fmla="*/ 232 h 284"/>
                <a:gd name="T40" fmla="*/ 221 w 284"/>
                <a:gd name="T41" fmla="*/ 260 h 284"/>
                <a:gd name="T42" fmla="*/ 184 w 284"/>
                <a:gd name="T43" fmla="*/ 278 h 284"/>
                <a:gd name="T44" fmla="*/ 142 w 284"/>
                <a:gd name="T45" fmla="*/ 284 h 284"/>
                <a:gd name="T46" fmla="*/ 142 w 284"/>
                <a:gd name="T47" fmla="*/ 57 h 284"/>
                <a:gd name="T48" fmla="*/ 116 w 284"/>
                <a:gd name="T49" fmla="*/ 61 h 284"/>
                <a:gd name="T50" fmla="*/ 94 w 284"/>
                <a:gd name="T51" fmla="*/ 72 h 284"/>
                <a:gd name="T52" fmla="*/ 76 w 284"/>
                <a:gd name="T53" fmla="*/ 88 h 284"/>
                <a:gd name="T54" fmla="*/ 64 w 284"/>
                <a:gd name="T55" fmla="*/ 109 h 284"/>
                <a:gd name="T56" fmla="*/ 58 w 284"/>
                <a:gd name="T57" fmla="*/ 134 h 284"/>
                <a:gd name="T58" fmla="*/ 58 w 284"/>
                <a:gd name="T59" fmla="*/ 151 h 284"/>
                <a:gd name="T60" fmla="*/ 64 w 284"/>
                <a:gd name="T61" fmla="*/ 175 h 284"/>
                <a:gd name="T62" fmla="*/ 76 w 284"/>
                <a:gd name="T63" fmla="*/ 196 h 284"/>
                <a:gd name="T64" fmla="*/ 94 w 284"/>
                <a:gd name="T65" fmla="*/ 212 h 284"/>
                <a:gd name="T66" fmla="*/ 116 w 284"/>
                <a:gd name="T67" fmla="*/ 223 h 284"/>
                <a:gd name="T68" fmla="*/ 142 w 284"/>
                <a:gd name="T69" fmla="*/ 227 h 284"/>
                <a:gd name="T70" fmla="*/ 159 w 284"/>
                <a:gd name="T71" fmla="*/ 225 h 284"/>
                <a:gd name="T72" fmla="*/ 182 w 284"/>
                <a:gd name="T73" fmla="*/ 217 h 284"/>
                <a:gd name="T74" fmla="*/ 202 w 284"/>
                <a:gd name="T75" fmla="*/ 202 h 284"/>
                <a:gd name="T76" fmla="*/ 216 w 284"/>
                <a:gd name="T77" fmla="*/ 183 h 284"/>
                <a:gd name="T78" fmla="*/ 225 w 284"/>
                <a:gd name="T79" fmla="*/ 159 h 284"/>
                <a:gd name="T80" fmla="*/ 226 w 284"/>
                <a:gd name="T81" fmla="*/ 143 h 284"/>
                <a:gd name="T82" fmla="*/ 223 w 284"/>
                <a:gd name="T83" fmla="*/ 117 h 284"/>
                <a:gd name="T84" fmla="*/ 212 w 284"/>
                <a:gd name="T85" fmla="*/ 95 h 284"/>
                <a:gd name="T86" fmla="*/ 196 w 284"/>
                <a:gd name="T87" fmla="*/ 77 h 284"/>
                <a:gd name="T88" fmla="*/ 175 w 284"/>
                <a:gd name="T89" fmla="*/ 64 h 284"/>
                <a:gd name="T90" fmla="*/ 151 w 284"/>
                <a:gd name="T91" fmla="*/ 58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4" h="284">
                  <a:moveTo>
                    <a:pt x="142" y="284"/>
                  </a:moveTo>
                  <a:lnTo>
                    <a:pt x="142" y="284"/>
                  </a:lnTo>
                  <a:lnTo>
                    <a:pt x="127" y="283"/>
                  </a:lnTo>
                  <a:lnTo>
                    <a:pt x="113" y="281"/>
                  </a:lnTo>
                  <a:lnTo>
                    <a:pt x="100" y="278"/>
                  </a:lnTo>
                  <a:lnTo>
                    <a:pt x="87" y="273"/>
                  </a:lnTo>
                  <a:lnTo>
                    <a:pt x="74" y="267"/>
                  </a:lnTo>
                  <a:lnTo>
                    <a:pt x="63" y="260"/>
                  </a:lnTo>
                  <a:lnTo>
                    <a:pt x="52" y="252"/>
                  </a:lnTo>
                  <a:lnTo>
                    <a:pt x="42" y="243"/>
                  </a:lnTo>
                  <a:lnTo>
                    <a:pt x="33" y="232"/>
                  </a:lnTo>
                  <a:lnTo>
                    <a:pt x="24" y="221"/>
                  </a:lnTo>
                  <a:lnTo>
                    <a:pt x="17" y="209"/>
                  </a:lnTo>
                  <a:lnTo>
                    <a:pt x="11" y="197"/>
                  </a:lnTo>
                  <a:lnTo>
                    <a:pt x="6" y="184"/>
                  </a:lnTo>
                  <a:lnTo>
                    <a:pt x="3" y="171"/>
                  </a:lnTo>
                  <a:lnTo>
                    <a:pt x="1" y="157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1" y="127"/>
                  </a:lnTo>
                  <a:lnTo>
                    <a:pt x="3" y="113"/>
                  </a:lnTo>
                  <a:lnTo>
                    <a:pt x="6" y="100"/>
                  </a:lnTo>
                  <a:lnTo>
                    <a:pt x="11" y="87"/>
                  </a:lnTo>
                  <a:lnTo>
                    <a:pt x="17" y="75"/>
                  </a:lnTo>
                  <a:lnTo>
                    <a:pt x="24" y="63"/>
                  </a:lnTo>
                  <a:lnTo>
                    <a:pt x="33" y="52"/>
                  </a:lnTo>
                  <a:lnTo>
                    <a:pt x="42" y="42"/>
                  </a:lnTo>
                  <a:lnTo>
                    <a:pt x="52" y="33"/>
                  </a:lnTo>
                  <a:lnTo>
                    <a:pt x="63" y="24"/>
                  </a:lnTo>
                  <a:lnTo>
                    <a:pt x="74" y="17"/>
                  </a:lnTo>
                  <a:lnTo>
                    <a:pt x="87" y="11"/>
                  </a:lnTo>
                  <a:lnTo>
                    <a:pt x="100" y="7"/>
                  </a:lnTo>
                  <a:lnTo>
                    <a:pt x="113" y="3"/>
                  </a:lnTo>
                  <a:lnTo>
                    <a:pt x="127" y="1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57" y="1"/>
                  </a:lnTo>
                  <a:lnTo>
                    <a:pt x="171" y="3"/>
                  </a:lnTo>
                  <a:lnTo>
                    <a:pt x="184" y="7"/>
                  </a:lnTo>
                  <a:lnTo>
                    <a:pt x="197" y="11"/>
                  </a:lnTo>
                  <a:lnTo>
                    <a:pt x="209" y="17"/>
                  </a:lnTo>
                  <a:lnTo>
                    <a:pt x="221" y="24"/>
                  </a:lnTo>
                  <a:lnTo>
                    <a:pt x="231" y="33"/>
                  </a:lnTo>
                  <a:lnTo>
                    <a:pt x="242" y="42"/>
                  </a:lnTo>
                  <a:lnTo>
                    <a:pt x="252" y="52"/>
                  </a:lnTo>
                  <a:lnTo>
                    <a:pt x="260" y="63"/>
                  </a:lnTo>
                  <a:lnTo>
                    <a:pt x="267" y="75"/>
                  </a:lnTo>
                  <a:lnTo>
                    <a:pt x="273" y="87"/>
                  </a:lnTo>
                  <a:lnTo>
                    <a:pt x="277" y="100"/>
                  </a:lnTo>
                  <a:lnTo>
                    <a:pt x="281" y="113"/>
                  </a:lnTo>
                  <a:lnTo>
                    <a:pt x="283" y="127"/>
                  </a:lnTo>
                  <a:lnTo>
                    <a:pt x="284" y="143"/>
                  </a:lnTo>
                  <a:lnTo>
                    <a:pt x="284" y="143"/>
                  </a:lnTo>
                  <a:lnTo>
                    <a:pt x="283" y="157"/>
                  </a:lnTo>
                  <a:lnTo>
                    <a:pt x="281" y="171"/>
                  </a:lnTo>
                  <a:lnTo>
                    <a:pt x="277" y="184"/>
                  </a:lnTo>
                  <a:lnTo>
                    <a:pt x="273" y="197"/>
                  </a:lnTo>
                  <a:lnTo>
                    <a:pt x="267" y="209"/>
                  </a:lnTo>
                  <a:lnTo>
                    <a:pt x="260" y="221"/>
                  </a:lnTo>
                  <a:lnTo>
                    <a:pt x="252" y="232"/>
                  </a:lnTo>
                  <a:lnTo>
                    <a:pt x="242" y="243"/>
                  </a:lnTo>
                  <a:lnTo>
                    <a:pt x="231" y="252"/>
                  </a:lnTo>
                  <a:lnTo>
                    <a:pt x="221" y="260"/>
                  </a:lnTo>
                  <a:lnTo>
                    <a:pt x="209" y="267"/>
                  </a:lnTo>
                  <a:lnTo>
                    <a:pt x="197" y="273"/>
                  </a:lnTo>
                  <a:lnTo>
                    <a:pt x="184" y="278"/>
                  </a:lnTo>
                  <a:lnTo>
                    <a:pt x="171" y="281"/>
                  </a:lnTo>
                  <a:lnTo>
                    <a:pt x="157" y="283"/>
                  </a:lnTo>
                  <a:lnTo>
                    <a:pt x="142" y="284"/>
                  </a:lnTo>
                  <a:lnTo>
                    <a:pt x="142" y="284"/>
                  </a:lnTo>
                  <a:close/>
                  <a:moveTo>
                    <a:pt x="142" y="57"/>
                  </a:moveTo>
                  <a:lnTo>
                    <a:pt x="142" y="57"/>
                  </a:lnTo>
                  <a:lnTo>
                    <a:pt x="134" y="58"/>
                  </a:lnTo>
                  <a:lnTo>
                    <a:pt x="124" y="59"/>
                  </a:lnTo>
                  <a:lnTo>
                    <a:pt x="116" y="61"/>
                  </a:lnTo>
                  <a:lnTo>
                    <a:pt x="109" y="64"/>
                  </a:lnTo>
                  <a:lnTo>
                    <a:pt x="101" y="68"/>
                  </a:lnTo>
                  <a:lnTo>
                    <a:pt x="94" y="72"/>
                  </a:lnTo>
                  <a:lnTo>
                    <a:pt x="88" y="77"/>
                  </a:lnTo>
                  <a:lnTo>
                    <a:pt x="82" y="82"/>
                  </a:lnTo>
                  <a:lnTo>
                    <a:pt x="76" y="88"/>
                  </a:lnTo>
                  <a:lnTo>
                    <a:pt x="71" y="95"/>
                  </a:lnTo>
                  <a:lnTo>
                    <a:pt x="67" y="101"/>
                  </a:lnTo>
                  <a:lnTo>
                    <a:pt x="64" y="109"/>
                  </a:lnTo>
                  <a:lnTo>
                    <a:pt x="61" y="117"/>
                  </a:lnTo>
                  <a:lnTo>
                    <a:pt x="59" y="125"/>
                  </a:lnTo>
                  <a:lnTo>
                    <a:pt x="58" y="134"/>
                  </a:lnTo>
                  <a:lnTo>
                    <a:pt x="57" y="143"/>
                  </a:lnTo>
                  <a:lnTo>
                    <a:pt x="57" y="143"/>
                  </a:lnTo>
                  <a:lnTo>
                    <a:pt x="58" y="151"/>
                  </a:lnTo>
                  <a:lnTo>
                    <a:pt x="59" y="159"/>
                  </a:lnTo>
                  <a:lnTo>
                    <a:pt x="61" y="168"/>
                  </a:lnTo>
                  <a:lnTo>
                    <a:pt x="64" y="175"/>
                  </a:lnTo>
                  <a:lnTo>
                    <a:pt x="67" y="183"/>
                  </a:lnTo>
                  <a:lnTo>
                    <a:pt x="71" y="190"/>
                  </a:lnTo>
                  <a:lnTo>
                    <a:pt x="76" y="196"/>
                  </a:lnTo>
                  <a:lnTo>
                    <a:pt x="82" y="202"/>
                  </a:lnTo>
                  <a:lnTo>
                    <a:pt x="88" y="207"/>
                  </a:lnTo>
                  <a:lnTo>
                    <a:pt x="94" y="212"/>
                  </a:lnTo>
                  <a:lnTo>
                    <a:pt x="101" y="217"/>
                  </a:lnTo>
                  <a:lnTo>
                    <a:pt x="109" y="220"/>
                  </a:lnTo>
                  <a:lnTo>
                    <a:pt x="116" y="223"/>
                  </a:lnTo>
                  <a:lnTo>
                    <a:pt x="124" y="225"/>
                  </a:lnTo>
                  <a:lnTo>
                    <a:pt x="134" y="226"/>
                  </a:lnTo>
                  <a:lnTo>
                    <a:pt x="142" y="227"/>
                  </a:lnTo>
                  <a:lnTo>
                    <a:pt x="142" y="227"/>
                  </a:lnTo>
                  <a:lnTo>
                    <a:pt x="151" y="226"/>
                  </a:lnTo>
                  <a:lnTo>
                    <a:pt x="159" y="225"/>
                  </a:lnTo>
                  <a:lnTo>
                    <a:pt x="167" y="223"/>
                  </a:lnTo>
                  <a:lnTo>
                    <a:pt x="175" y="220"/>
                  </a:lnTo>
                  <a:lnTo>
                    <a:pt x="182" y="217"/>
                  </a:lnTo>
                  <a:lnTo>
                    <a:pt x="189" y="212"/>
                  </a:lnTo>
                  <a:lnTo>
                    <a:pt x="196" y="207"/>
                  </a:lnTo>
                  <a:lnTo>
                    <a:pt x="202" y="202"/>
                  </a:lnTo>
                  <a:lnTo>
                    <a:pt x="207" y="196"/>
                  </a:lnTo>
                  <a:lnTo>
                    <a:pt x="212" y="190"/>
                  </a:lnTo>
                  <a:lnTo>
                    <a:pt x="216" y="183"/>
                  </a:lnTo>
                  <a:lnTo>
                    <a:pt x="220" y="175"/>
                  </a:lnTo>
                  <a:lnTo>
                    <a:pt x="223" y="168"/>
                  </a:lnTo>
                  <a:lnTo>
                    <a:pt x="225" y="159"/>
                  </a:lnTo>
                  <a:lnTo>
                    <a:pt x="226" y="151"/>
                  </a:lnTo>
                  <a:lnTo>
                    <a:pt x="226" y="143"/>
                  </a:lnTo>
                  <a:lnTo>
                    <a:pt x="226" y="143"/>
                  </a:lnTo>
                  <a:lnTo>
                    <a:pt x="226" y="134"/>
                  </a:lnTo>
                  <a:lnTo>
                    <a:pt x="225" y="125"/>
                  </a:lnTo>
                  <a:lnTo>
                    <a:pt x="223" y="117"/>
                  </a:lnTo>
                  <a:lnTo>
                    <a:pt x="220" y="109"/>
                  </a:lnTo>
                  <a:lnTo>
                    <a:pt x="216" y="101"/>
                  </a:lnTo>
                  <a:lnTo>
                    <a:pt x="212" y="95"/>
                  </a:lnTo>
                  <a:lnTo>
                    <a:pt x="207" y="88"/>
                  </a:lnTo>
                  <a:lnTo>
                    <a:pt x="202" y="82"/>
                  </a:lnTo>
                  <a:lnTo>
                    <a:pt x="196" y="77"/>
                  </a:lnTo>
                  <a:lnTo>
                    <a:pt x="189" y="72"/>
                  </a:lnTo>
                  <a:lnTo>
                    <a:pt x="182" y="68"/>
                  </a:lnTo>
                  <a:lnTo>
                    <a:pt x="175" y="64"/>
                  </a:lnTo>
                  <a:lnTo>
                    <a:pt x="167" y="61"/>
                  </a:lnTo>
                  <a:lnTo>
                    <a:pt x="159" y="59"/>
                  </a:lnTo>
                  <a:lnTo>
                    <a:pt x="151" y="58"/>
                  </a:lnTo>
                  <a:lnTo>
                    <a:pt x="142" y="57"/>
                  </a:lnTo>
                  <a:lnTo>
                    <a:pt x="14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33" name="Freeform 332">
              <a:extLst>
                <a:ext uri="{FF2B5EF4-FFF2-40B4-BE49-F238E27FC236}">
                  <a16:creationId xmlns="" xmlns:a16="http://schemas.microsoft.com/office/drawing/2014/main" id="{BB01E1F5-8FB6-4AAD-805D-802A94012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2600" y="3679826"/>
              <a:ext cx="127000" cy="112713"/>
            </a:xfrm>
            <a:custGeom>
              <a:avLst/>
              <a:gdLst>
                <a:gd name="T0" fmla="*/ 28 w 480"/>
                <a:gd name="T1" fmla="*/ 427 h 427"/>
                <a:gd name="T2" fmla="*/ 16 w 480"/>
                <a:gd name="T3" fmla="*/ 424 h 427"/>
                <a:gd name="T4" fmla="*/ 11 w 480"/>
                <a:gd name="T5" fmla="*/ 421 h 427"/>
                <a:gd name="T6" fmla="*/ 4 w 480"/>
                <a:gd name="T7" fmla="*/ 413 h 427"/>
                <a:gd name="T8" fmla="*/ 1 w 480"/>
                <a:gd name="T9" fmla="*/ 403 h 427"/>
                <a:gd name="T10" fmla="*/ 1 w 480"/>
                <a:gd name="T11" fmla="*/ 392 h 427"/>
                <a:gd name="T12" fmla="*/ 3 w 480"/>
                <a:gd name="T13" fmla="*/ 387 h 427"/>
                <a:gd name="T14" fmla="*/ 40 w 480"/>
                <a:gd name="T15" fmla="*/ 321 h 427"/>
                <a:gd name="T16" fmla="*/ 83 w 480"/>
                <a:gd name="T17" fmla="*/ 259 h 427"/>
                <a:gd name="T18" fmla="*/ 131 w 480"/>
                <a:gd name="T19" fmla="*/ 202 h 427"/>
                <a:gd name="T20" fmla="*/ 186 w 480"/>
                <a:gd name="T21" fmla="*/ 150 h 427"/>
                <a:gd name="T22" fmla="*/ 244 w 480"/>
                <a:gd name="T23" fmla="*/ 104 h 427"/>
                <a:gd name="T24" fmla="*/ 307 w 480"/>
                <a:gd name="T25" fmla="*/ 63 h 427"/>
                <a:gd name="T26" fmla="*/ 373 w 480"/>
                <a:gd name="T27" fmla="*/ 29 h 427"/>
                <a:gd name="T28" fmla="*/ 443 w 480"/>
                <a:gd name="T29" fmla="*/ 1 h 427"/>
                <a:gd name="T30" fmla="*/ 449 w 480"/>
                <a:gd name="T31" fmla="*/ 0 h 427"/>
                <a:gd name="T32" fmla="*/ 460 w 480"/>
                <a:gd name="T33" fmla="*/ 1 h 427"/>
                <a:gd name="T34" fmla="*/ 469 w 480"/>
                <a:gd name="T35" fmla="*/ 6 h 427"/>
                <a:gd name="T36" fmla="*/ 477 w 480"/>
                <a:gd name="T37" fmla="*/ 14 h 427"/>
                <a:gd name="T38" fmla="*/ 479 w 480"/>
                <a:gd name="T39" fmla="*/ 19 h 427"/>
                <a:gd name="T40" fmla="*/ 480 w 480"/>
                <a:gd name="T41" fmla="*/ 30 h 427"/>
                <a:gd name="T42" fmla="*/ 477 w 480"/>
                <a:gd name="T43" fmla="*/ 40 h 427"/>
                <a:gd name="T44" fmla="*/ 471 w 480"/>
                <a:gd name="T45" fmla="*/ 49 h 427"/>
                <a:gd name="T46" fmla="*/ 461 w 480"/>
                <a:gd name="T47" fmla="*/ 55 h 427"/>
                <a:gd name="T48" fmla="*/ 429 w 480"/>
                <a:gd name="T49" fmla="*/ 66 h 427"/>
                <a:gd name="T50" fmla="*/ 365 w 480"/>
                <a:gd name="T51" fmla="*/ 96 h 427"/>
                <a:gd name="T52" fmla="*/ 306 w 480"/>
                <a:gd name="T53" fmla="*/ 130 h 427"/>
                <a:gd name="T54" fmla="*/ 249 w 480"/>
                <a:gd name="T55" fmla="*/ 170 h 427"/>
                <a:gd name="T56" fmla="*/ 197 w 480"/>
                <a:gd name="T57" fmla="*/ 216 h 427"/>
                <a:gd name="T58" fmla="*/ 149 w 480"/>
                <a:gd name="T59" fmla="*/ 266 h 427"/>
                <a:gd name="T60" fmla="*/ 107 w 480"/>
                <a:gd name="T61" fmla="*/ 322 h 427"/>
                <a:gd name="T62" fmla="*/ 70 w 480"/>
                <a:gd name="T63" fmla="*/ 381 h 427"/>
                <a:gd name="T64" fmla="*/ 53 w 480"/>
                <a:gd name="T65" fmla="*/ 412 h 427"/>
                <a:gd name="T66" fmla="*/ 43 w 480"/>
                <a:gd name="T67" fmla="*/ 423 h 427"/>
                <a:gd name="T68" fmla="*/ 28 w 480"/>
                <a:gd name="T69" fmla="*/ 42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0" h="427">
                  <a:moveTo>
                    <a:pt x="28" y="427"/>
                  </a:moveTo>
                  <a:lnTo>
                    <a:pt x="28" y="427"/>
                  </a:lnTo>
                  <a:lnTo>
                    <a:pt x="22" y="427"/>
                  </a:lnTo>
                  <a:lnTo>
                    <a:pt x="16" y="424"/>
                  </a:lnTo>
                  <a:lnTo>
                    <a:pt x="16" y="424"/>
                  </a:lnTo>
                  <a:lnTo>
                    <a:pt x="11" y="421"/>
                  </a:lnTo>
                  <a:lnTo>
                    <a:pt x="7" y="418"/>
                  </a:lnTo>
                  <a:lnTo>
                    <a:pt x="4" y="413"/>
                  </a:lnTo>
                  <a:lnTo>
                    <a:pt x="2" y="408"/>
                  </a:lnTo>
                  <a:lnTo>
                    <a:pt x="1" y="403"/>
                  </a:lnTo>
                  <a:lnTo>
                    <a:pt x="0" y="398"/>
                  </a:lnTo>
                  <a:lnTo>
                    <a:pt x="1" y="392"/>
                  </a:lnTo>
                  <a:lnTo>
                    <a:pt x="3" y="387"/>
                  </a:lnTo>
                  <a:lnTo>
                    <a:pt x="3" y="387"/>
                  </a:lnTo>
                  <a:lnTo>
                    <a:pt x="21" y="353"/>
                  </a:lnTo>
                  <a:lnTo>
                    <a:pt x="40" y="321"/>
                  </a:lnTo>
                  <a:lnTo>
                    <a:pt x="60" y="290"/>
                  </a:lnTo>
                  <a:lnTo>
                    <a:pt x="83" y="259"/>
                  </a:lnTo>
                  <a:lnTo>
                    <a:pt x="107" y="230"/>
                  </a:lnTo>
                  <a:lnTo>
                    <a:pt x="131" y="202"/>
                  </a:lnTo>
                  <a:lnTo>
                    <a:pt x="158" y="176"/>
                  </a:lnTo>
                  <a:lnTo>
                    <a:pt x="186" y="150"/>
                  </a:lnTo>
                  <a:lnTo>
                    <a:pt x="214" y="126"/>
                  </a:lnTo>
                  <a:lnTo>
                    <a:pt x="244" y="104"/>
                  </a:lnTo>
                  <a:lnTo>
                    <a:pt x="275" y="83"/>
                  </a:lnTo>
                  <a:lnTo>
                    <a:pt x="307" y="63"/>
                  </a:lnTo>
                  <a:lnTo>
                    <a:pt x="340" y="45"/>
                  </a:lnTo>
                  <a:lnTo>
                    <a:pt x="373" y="29"/>
                  </a:lnTo>
                  <a:lnTo>
                    <a:pt x="408" y="14"/>
                  </a:lnTo>
                  <a:lnTo>
                    <a:pt x="443" y="1"/>
                  </a:lnTo>
                  <a:lnTo>
                    <a:pt x="443" y="1"/>
                  </a:lnTo>
                  <a:lnTo>
                    <a:pt x="449" y="0"/>
                  </a:lnTo>
                  <a:lnTo>
                    <a:pt x="454" y="0"/>
                  </a:lnTo>
                  <a:lnTo>
                    <a:pt x="460" y="1"/>
                  </a:lnTo>
                  <a:lnTo>
                    <a:pt x="465" y="3"/>
                  </a:lnTo>
                  <a:lnTo>
                    <a:pt x="469" y="6"/>
                  </a:lnTo>
                  <a:lnTo>
                    <a:pt x="473" y="9"/>
                  </a:lnTo>
                  <a:lnTo>
                    <a:pt x="477" y="14"/>
                  </a:lnTo>
                  <a:lnTo>
                    <a:pt x="479" y="19"/>
                  </a:lnTo>
                  <a:lnTo>
                    <a:pt x="479" y="19"/>
                  </a:lnTo>
                  <a:lnTo>
                    <a:pt x="480" y="25"/>
                  </a:lnTo>
                  <a:lnTo>
                    <a:pt x="480" y="30"/>
                  </a:lnTo>
                  <a:lnTo>
                    <a:pt x="479" y="35"/>
                  </a:lnTo>
                  <a:lnTo>
                    <a:pt x="477" y="40"/>
                  </a:lnTo>
                  <a:lnTo>
                    <a:pt x="475" y="45"/>
                  </a:lnTo>
                  <a:lnTo>
                    <a:pt x="471" y="49"/>
                  </a:lnTo>
                  <a:lnTo>
                    <a:pt x="466" y="52"/>
                  </a:lnTo>
                  <a:lnTo>
                    <a:pt x="461" y="55"/>
                  </a:lnTo>
                  <a:lnTo>
                    <a:pt x="461" y="55"/>
                  </a:lnTo>
                  <a:lnTo>
                    <a:pt x="429" y="66"/>
                  </a:lnTo>
                  <a:lnTo>
                    <a:pt x="397" y="81"/>
                  </a:lnTo>
                  <a:lnTo>
                    <a:pt x="365" y="96"/>
                  </a:lnTo>
                  <a:lnTo>
                    <a:pt x="335" y="112"/>
                  </a:lnTo>
                  <a:lnTo>
                    <a:pt x="306" y="130"/>
                  </a:lnTo>
                  <a:lnTo>
                    <a:pt x="277" y="150"/>
                  </a:lnTo>
                  <a:lnTo>
                    <a:pt x="249" y="170"/>
                  </a:lnTo>
                  <a:lnTo>
                    <a:pt x="223" y="193"/>
                  </a:lnTo>
                  <a:lnTo>
                    <a:pt x="197" y="216"/>
                  </a:lnTo>
                  <a:lnTo>
                    <a:pt x="172" y="241"/>
                  </a:lnTo>
                  <a:lnTo>
                    <a:pt x="149" y="266"/>
                  </a:lnTo>
                  <a:lnTo>
                    <a:pt x="128" y="294"/>
                  </a:lnTo>
                  <a:lnTo>
                    <a:pt x="107" y="322"/>
                  </a:lnTo>
                  <a:lnTo>
                    <a:pt x="88" y="350"/>
                  </a:lnTo>
                  <a:lnTo>
                    <a:pt x="70" y="381"/>
                  </a:lnTo>
                  <a:lnTo>
                    <a:pt x="53" y="412"/>
                  </a:lnTo>
                  <a:lnTo>
                    <a:pt x="53" y="412"/>
                  </a:lnTo>
                  <a:lnTo>
                    <a:pt x="49" y="418"/>
                  </a:lnTo>
                  <a:lnTo>
                    <a:pt x="43" y="423"/>
                  </a:lnTo>
                  <a:lnTo>
                    <a:pt x="36" y="426"/>
                  </a:lnTo>
                  <a:lnTo>
                    <a:pt x="28" y="427"/>
                  </a:lnTo>
                  <a:lnTo>
                    <a:pt x="28" y="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34" name="Freeform 333">
              <a:extLst>
                <a:ext uri="{FF2B5EF4-FFF2-40B4-BE49-F238E27FC236}">
                  <a16:creationId xmlns="" xmlns:a16="http://schemas.microsoft.com/office/drawing/2014/main" id="{506A069A-D01A-469B-A0C9-880B76D1B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3670301"/>
              <a:ext cx="58738" cy="63500"/>
            </a:xfrm>
            <a:custGeom>
              <a:avLst/>
              <a:gdLst>
                <a:gd name="T0" fmla="*/ 130 w 226"/>
                <a:gd name="T1" fmla="*/ 241 h 241"/>
                <a:gd name="T2" fmla="*/ 130 w 226"/>
                <a:gd name="T3" fmla="*/ 241 h 241"/>
                <a:gd name="T4" fmla="*/ 124 w 226"/>
                <a:gd name="T5" fmla="*/ 240 h 241"/>
                <a:gd name="T6" fmla="*/ 118 w 226"/>
                <a:gd name="T7" fmla="*/ 238 h 241"/>
                <a:gd name="T8" fmla="*/ 118 w 226"/>
                <a:gd name="T9" fmla="*/ 238 h 241"/>
                <a:gd name="T10" fmla="*/ 113 w 226"/>
                <a:gd name="T11" fmla="*/ 235 h 241"/>
                <a:gd name="T12" fmla="*/ 109 w 226"/>
                <a:gd name="T13" fmla="*/ 232 h 241"/>
                <a:gd name="T14" fmla="*/ 106 w 226"/>
                <a:gd name="T15" fmla="*/ 227 h 241"/>
                <a:gd name="T16" fmla="*/ 104 w 226"/>
                <a:gd name="T17" fmla="*/ 222 h 241"/>
                <a:gd name="T18" fmla="*/ 102 w 226"/>
                <a:gd name="T19" fmla="*/ 217 h 241"/>
                <a:gd name="T20" fmla="*/ 102 w 226"/>
                <a:gd name="T21" fmla="*/ 212 h 241"/>
                <a:gd name="T22" fmla="*/ 103 w 226"/>
                <a:gd name="T23" fmla="*/ 205 h 241"/>
                <a:gd name="T24" fmla="*/ 104 w 226"/>
                <a:gd name="T25" fmla="*/ 200 h 241"/>
                <a:gd name="T26" fmla="*/ 158 w 226"/>
                <a:gd name="T27" fmla="*/ 84 h 241"/>
                <a:gd name="T28" fmla="*/ 22 w 226"/>
                <a:gd name="T29" fmla="*/ 57 h 241"/>
                <a:gd name="T30" fmla="*/ 22 w 226"/>
                <a:gd name="T31" fmla="*/ 57 h 241"/>
                <a:gd name="T32" fmla="*/ 17 w 226"/>
                <a:gd name="T33" fmla="*/ 55 h 241"/>
                <a:gd name="T34" fmla="*/ 12 w 226"/>
                <a:gd name="T35" fmla="*/ 52 h 241"/>
                <a:gd name="T36" fmla="*/ 8 w 226"/>
                <a:gd name="T37" fmla="*/ 49 h 241"/>
                <a:gd name="T38" fmla="*/ 5 w 226"/>
                <a:gd name="T39" fmla="*/ 45 h 241"/>
                <a:gd name="T40" fmla="*/ 2 w 226"/>
                <a:gd name="T41" fmla="*/ 40 h 241"/>
                <a:gd name="T42" fmla="*/ 0 w 226"/>
                <a:gd name="T43" fmla="*/ 35 h 241"/>
                <a:gd name="T44" fmla="*/ 0 w 226"/>
                <a:gd name="T45" fmla="*/ 29 h 241"/>
                <a:gd name="T46" fmla="*/ 1 w 226"/>
                <a:gd name="T47" fmla="*/ 24 h 241"/>
                <a:gd name="T48" fmla="*/ 1 w 226"/>
                <a:gd name="T49" fmla="*/ 24 h 241"/>
                <a:gd name="T50" fmla="*/ 2 w 226"/>
                <a:gd name="T51" fmla="*/ 18 h 241"/>
                <a:gd name="T52" fmla="*/ 5 w 226"/>
                <a:gd name="T53" fmla="*/ 13 h 241"/>
                <a:gd name="T54" fmla="*/ 8 w 226"/>
                <a:gd name="T55" fmla="*/ 9 h 241"/>
                <a:gd name="T56" fmla="*/ 13 w 226"/>
                <a:gd name="T57" fmla="*/ 5 h 241"/>
                <a:gd name="T58" fmla="*/ 17 w 226"/>
                <a:gd name="T59" fmla="*/ 2 h 241"/>
                <a:gd name="T60" fmla="*/ 23 w 226"/>
                <a:gd name="T61" fmla="*/ 1 h 241"/>
                <a:gd name="T62" fmla="*/ 28 w 226"/>
                <a:gd name="T63" fmla="*/ 0 h 241"/>
                <a:gd name="T64" fmla="*/ 35 w 226"/>
                <a:gd name="T65" fmla="*/ 1 h 241"/>
                <a:gd name="T66" fmla="*/ 204 w 226"/>
                <a:gd name="T67" fmla="*/ 36 h 241"/>
                <a:gd name="T68" fmla="*/ 204 w 226"/>
                <a:gd name="T69" fmla="*/ 36 h 241"/>
                <a:gd name="T70" fmla="*/ 210 w 226"/>
                <a:gd name="T71" fmla="*/ 38 h 241"/>
                <a:gd name="T72" fmla="*/ 215 w 226"/>
                <a:gd name="T73" fmla="*/ 42 h 241"/>
                <a:gd name="T74" fmla="*/ 220 w 226"/>
                <a:gd name="T75" fmla="*/ 46 h 241"/>
                <a:gd name="T76" fmla="*/ 223 w 226"/>
                <a:gd name="T77" fmla="*/ 51 h 241"/>
                <a:gd name="T78" fmla="*/ 223 w 226"/>
                <a:gd name="T79" fmla="*/ 51 h 241"/>
                <a:gd name="T80" fmla="*/ 226 w 226"/>
                <a:gd name="T81" fmla="*/ 57 h 241"/>
                <a:gd name="T82" fmla="*/ 226 w 226"/>
                <a:gd name="T83" fmla="*/ 63 h 241"/>
                <a:gd name="T84" fmla="*/ 226 w 226"/>
                <a:gd name="T85" fmla="*/ 70 h 241"/>
                <a:gd name="T86" fmla="*/ 224 w 226"/>
                <a:gd name="T87" fmla="*/ 76 h 241"/>
                <a:gd name="T88" fmla="*/ 156 w 226"/>
                <a:gd name="T89" fmla="*/ 224 h 241"/>
                <a:gd name="T90" fmla="*/ 156 w 226"/>
                <a:gd name="T91" fmla="*/ 224 h 241"/>
                <a:gd name="T92" fmla="*/ 154 w 226"/>
                <a:gd name="T93" fmla="*/ 228 h 241"/>
                <a:gd name="T94" fmla="*/ 152 w 226"/>
                <a:gd name="T95" fmla="*/ 231 h 241"/>
                <a:gd name="T96" fmla="*/ 146 w 226"/>
                <a:gd name="T97" fmla="*/ 236 h 241"/>
                <a:gd name="T98" fmla="*/ 139 w 226"/>
                <a:gd name="T99" fmla="*/ 240 h 241"/>
                <a:gd name="T100" fmla="*/ 130 w 226"/>
                <a:gd name="T101" fmla="*/ 241 h 241"/>
                <a:gd name="T102" fmla="*/ 130 w 226"/>
                <a:gd name="T103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6" h="241">
                  <a:moveTo>
                    <a:pt x="130" y="241"/>
                  </a:moveTo>
                  <a:lnTo>
                    <a:pt x="130" y="241"/>
                  </a:lnTo>
                  <a:lnTo>
                    <a:pt x="124" y="240"/>
                  </a:lnTo>
                  <a:lnTo>
                    <a:pt x="118" y="238"/>
                  </a:lnTo>
                  <a:lnTo>
                    <a:pt x="118" y="238"/>
                  </a:lnTo>
                  <a:lnTo>
                    <a:pt x="113" y="235"/>
                  </a:lnTo>
                  <a:lnTo>
                    <a:pt x="109" y="232"/>
                  </a:lnTo>
                  <a:lnTo>
                    <a:pt x="106" y="227"/>
                  </a:lnTo>
                  <a:lnTo>
                    <a:pt x="104" y="222"/>
                  </a:lnTo>
                  <a:lnTo>
                    <a:pt x="102" y="217"/>
                  </a:lnTo>
                  <a:lnTo>
                    <a:pt x="102" y="212"/>
                  </a:lnTo>
                  <a:lnTo>
                    <a:pt x="103" y="205"/>
                  </a:lnTo>
                  <a:lnTo>
                    <a:pt x="104" y="200"/>
                  </a:lnTo>
                  <a:lnTo>
                    <a:pt x="158" y="84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17" y="55"/>
                  </a:lnTo>
                  <a:lnTo>
                    <a:pt x="12" y="52"/>
                  </a:lnTo>
                  <a:lnTo>
                    <a:pt x="8" y="49"/>
                  </a:lnTo>
                  <a:lnTo>
                    <a:pt x="5" y="45"/>
                  </a:lnTo>
                  <a:lnTo>
                    <a:pt x="2" y="40"/>
                  </a:lnTo>
                  <a:lnTo>
                    <a:pt x="0" y="35"/>
                  </a:lnTo>
                  <a:lnTo>
                    <a:pt x="0" y="29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2" y="18"/>
                  </a:lnTo>
                  <a:lnTo>
                    <a:pt x="5" y="13"/>
                  </a:lnTo>
                  <a:lnTo>
                    <a:pt x="8" y="9"/>
                  </a:lnTo>
                  <a:lnTo>
                    <a:pt x="13" y="5"/>
                  </a:lnTo>
                  <a:lnTo>
                    <a:pt x="17" y="2"/>
                  </a:lnTo>
                  <a:lnTo>
                    <a:pt x="23" y="1"/>
                  </a:lnTo>
                  <a:lnTo>
                    <a:pt x="28" y="0"/>
                  </a:lnTo>
                  <a:lnTo>
                    <a:pt x="35" y="1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10" y="38"/>
                  </a:lnTo>
                  <a:lnTo>
                    <a:pt x="215" y="42"/>
                  </a:lnTo>
                  <a:lnTo>
                    <a:pt x="220" y="46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6" y="57"/>
                  </a:lnTo>
                  <a:lnTo>
                    <a:pt x="226" y="63"/>
                  </a:lnTo>
                  <a:lnTo>
                    <a:pt x="226" y="70"/>
                  </a:lnTo>
                  <a:lnTo>
                    <a:pt x="224" y="76"/>
                  </a:lnTo>
                  <a:lnTo>
                    <a:pt x="156" y="224"/>
                  </a:lnTo>
                  <a:lnTo>
                    <a:pt x="156" y="224"/>
                  </a:lnTo>
                  <a:lnTo>
                    <a:pt x="154" y="228"/>
                  </a:lnTo>
                  <a:lnTo>
                    <a:pt x="152" y="231"/>
                  </a:lnTo>
                  <a:lnTo>
                    <a:pt x="146" y="236"/>
                  </a:lnTo>
                  <a:lnTo>
                    <a:pt x="139" y="240"/>
                  </a:lnTo>
                  <a:lnTo>
                    <a:pt x="130" y="241"/>
                  </a:lnTo>
                  <a:lnTo>
                    <a:pt x="13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="" xmlns:a16="http://schemas.microsoft.com/office/drawing/2014/main" id="{EC678D9D-DF23-4423-B940-6445448DADA9}"/>
              </a:ext>
            </a:extLst>
          </p:cNvPr>
          <p:cNvGrpSpPr/>
          <p:nvPr/>
        </p:nvGrpSpPr>
        <p:grpSpPr>
          <a:xfrm>
            <a:off x="4508245" y="3602501"/>
            <a:ext cx="398144" cy="398140"/>
            <a:chOff x="8435975" y="5048251"/>
            <a:chExt cx="360363" cy="360362"/>
          </a:xfrm>
          <a:solidFill>
            <a:schemeClr val="bg1"/>
          </a:solidFill>
        </p:grpSpPr>
        <p:sp>
          <p:nvSpPr>
            <p:cNvPr id="36" name="Freeform 365">
              <a:extLst>
                <a:ext uri="{FF2B5EF4-FFF2-40B4-BE49-F238E27FC236}">
                  <a16:creationId xmlns="" xmlns:a16="http://schemas.microsoft.com/office/drawing/2014/main" id="{5A7CC915-4D76-4A58-B61E-5FA92F901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0588" y="5108576"/>
              <a:ext cx="209550" cy="165100"/>
            </a:xfrm>
            <a:custGeom>
              <a:avLst/>
              <a:gdLst>
                <a:gd name="T0" fmla="*/ 765 w 793"/>
                <a:gd name="T1" fmla="*/ 623 h 623"/>
                <a:gd name="T2" fmla="*/ 754 w 793"/>
                <a:gd name="T3" fmla="*/ 621 h 623"/>
                <a:gd name="T4" fmla="*/ 745 w 793"/>
                <a:gd name="T5" fmla="*/ 615 h 623"/>
                <a:gd name="T6" fmla="*/ 739 w 793"/>
                <a:gd name="T7" fmla="*/ 606 h 623"/>
                <a:gd name="T8" fmla="*/ 737 w 793"/>
                <a:gd name="T9" fmla="*/ 595 h 623"/>
                <a:gd name="T10" fmla="*/ 340 w 793"/>
                <a:gd name="T11" fmla="*/ 170 h 623"/>
                <a:gd name="T12" fmla="*/ 332 w 793"/>
                <a:gd name="T13" fmla="*/ 169 h 623"/>
                <a:gd name="T14" fmla="*/ 319 w 793"/>
                <a:gd name="T15" fmla="*/ 159 h 623"/>
                <a:gd name="T16" fmla="*/ 269 w 793"/>
                <a:gd name="T17" fmla="*/ 56 h 623"/>
                <a:gd name="T18" fmla="*/ 56 w 793"/>
                <a:gd name="T19" fmla="*/ 595 h 623"/>
                <a:gd name="T20" fmla="*/ 56 w 793"/>
                <a:gd name="T21" fmla="*/ 600 h 623"/>
                <a:gd name="T22" fmla="*/ 52 w 793"/>
                <a:gd name="T23" fmla="*/ 611 h 623"/>
                <a:gd name="T24" fmla="*/ 44 w 793"/>
                <a:gd name="T25" fmla="*/ 618 h 623"/>
                <a:gd name="T26" fmla="*/ 34 w 793"/>
                <a:gd name="T27" fmla="*/ 622 h 623"/>
                <a:gd name="T28" fmla="*/ 28 w 793"/>
                <a:gd name="T29" fmla="*/ 623 h 623"/>
                <a:gd name="T30" fmla="*/ 17 w 793"/>
                <a:gd name="T31" fmla="*/ 621 h 623"/>
                <a:gd name="T32" fmla="*/ 8 w 793"/>
                <a:gd name="T33" fmla="*/ 615 h 623"/>
                <a:gd name="T34" fmla="*/ 2 w 793"/>
                <a:gd name="T35" fmla="*/ 606 h 623"/>
                <a:gd name="T36" fmla="*/ 0 w 793"/>
                <a:gd name="T37" fmla="*/ 595 h 623"/>
                <a:gd name="T38" fmla="*/ 0 w 793"/>
                <a:gd name="T39" fmla="*/ 28 h 623"/>
                <a:gd name="T40" fmla="*/ 2 w 793"/>
                <a:gd name="T41" fmla="*/ 17 h 623"/>
                <a:gd name="T42" fmla="*/ 8 w 793"/>
                <a:gd name="T43" fmla="*/ 8 h 623"/>
                <a:gd name="T44" fmla="*/ 17 w 793"/>
                <a:gd name="T45" fmla="*/ 2 h 623"/>
                <a:gd name="T46" fmla="*/ 28 w 793"/>
                <a:gd name="T47" fmla="*/ 0 h 623"/>
                <a:gd name="T48" fmla="*/ 286 w 793"/>
                <a:gd name="T49" fmla="*/ 0 h 623"/>
                <a:gd name="T50" fmla="*/ 302 w 793"/>
                <a:gd name="T51" fmla="*/ 4 h 623"/>
                <a:gd name="T52" fmla="*/ 313 w 793"/>
                <a:gd name="T53" fmla="*/ 16 h 623"/>
                <a:gd name="T54" fmla="*/ 765 w 793"/>
                <a:gd name="T55" fmla="*/ 113 h 623"/>
                <a:gd name="T56" fmla="*/ 771 w 793"/>
                <a:gd name="T57" fmla="*/ 113 h 623"/>
                <a:gd name="T58" fmla="*/ 781 w 793"/>
                <a:gd name="T59" fmla="*/ 118 h 623"/>
                <a:gd name="T60" fmla="*/ 788 w 793"/>
                <a:gd name="T61" fmla="*/ 125 h 623"/>
                <a:gd name="T62" fmla="*/ 792 w 793"/>
                <a:gd name="T63" fmla="*/ 135 h 623"/>
                <a:gd name="T64" fmla="*/ 793 w 793"/>
                <a:gd name="T65" fmla="*/ 595 h 623"/>
                <a:gd name="T66" fmla="*/ 792 w 793"/>
                <a:gd name="T67" fmla="*/ 600 h 623"/>
                <a:gd name="T68" fmla="*/ 788 w 793"/>
                <a:gd name="T69" fmla="*/ 611 h 623"/>
                <a:gd name="T70" fmla="*/ 781 w 793"/>
                <a:gd name="T71" fmla="*/ 618 h 623"/>
                <a:gd name="T72" fmla="*/ 771 w 793"/>
                <a:gd name="T73" fmla="*/ 622 h 623"/>
                <a:gd name="T74" fmla="*/ 765 w 793"/>
                <a:gd name="T7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93" h="623">
                  <a:moveTo>
                    <a:pt x="765" y="623"/>
                  </a:moveTo>
                  <a:lnTo>
                    <a:pt x="765" y="623"/>
                  </a:lnTo>
                  <a:lnTo>
                    <a:pt x="759" y="622"/>
                  </a:lnTo>
                  <a:lnTo>
                    <a:pt x="754" y="621"/>
                  </a:lnTo>
                  <a:lnTo>
                    <a:pt x="749" y="618"/>
                  </a:lnTo>
                  <a:lnTo>
                    <a:pt x="745" y="615"/>
                  </a:lnTo>
                  <a:lnTo>
                    <a:pt x="742" y="611"/>
                  </a:lnTo>
                  <a:lnTo>
                    <a:pt x="739" y="606"/>
                  </a:lnTo>
                  <a:lnTo>
                    <a:pt x="737" y="600"/>
                  </a:lnTo>
                  <a:lnTo>
                    <a:pt x="737" y="595"/>
                  </a:lnTo>
                  <a:lnTo>
                    <a:pt x="737" y="170"/>
                  </a:lnTo>
                  <a:lnTo>
                    <a:pt x="340" y="170"/>
                  </a:lnTo>
                  <a:lnTo>
                    <a:pt x="340" y="170"/>
                  </a:lnTo>
                  <a:lnTo>
                    <a:pt x="332" y="169"/>
                  </a:lnTo>
                  <a:lnTo>
                    <a:pt x="325" y="165"/>
                  </a:lnTo>
                  <a:lnTo>
                    <a:pt x="319" y="159"/>
                  </a:lnTo>
                  <a:lnTo>
                    <a:pt x="315" y="153"/>
                  </a:lnTo>
                  <a:lnTo>
                    <a:pt x="269" y="56"/>
                  </a:lnTo>
                  <a:lnTo>
                    <a:pt x="56" y="56"/>
                  </a:lnTo>
                  <a:lnTo>
                    <a:pt x="56" y="595"/>
                  </a:lnTo>
                  <a:lnTo>
                    <a:pt x="56" y="595"/>
                  </a:lnTo>
                  <a:lnTo>
                    <a:pt x="56" y="600"/>
                  </a:lnTo>
                  <a:lnTo>
                    <a:pt x="54" y="606"/>
                  </a:lnTo>
                  <a:lnTo>
                    <a:pt x="52" y="611"/>
                  </a:lnTo>
                  <a:lnTo>
                    <a:pt x="48" y="615"/>
                  </a:lnTo>
                  <a:lnTo>
                    <a:pt x="44" y="618"/>
                  </a:lnTo>
                  <a:lnTo>
                    <a:pt x="39" y="621"/>
                  </a:lnTo>
                  <a:lnTo>
                    <a:pt x="34" y="622"/>
                  </a:lnTo>
                  <a:lnTo>
                    <a:pt x="28" y="623"/>
                  </a:lnTo>
                  <a:lnTo>
                    <a:pt x="28" y="623"/>
                  </a:lnTo>
                  <a:lnTo>
                    <a:pt x="23" y="622"/>
                  </a:lnTo>
                  <a:lnTo>
                    <a:pt x="17" y="621"/>
                  </a:lnTo>
                  <a:lnTo>
                    <a:pt x="13" y="618"/>
                  </a:lnTo>
                  <a:lnTo>
                    <a:pt x="8" y="615"/>
                  </a:lnTo>
                  <a:lnTo>
                    <a:pt x="5" y="611"/>
                  </a:lnTo>
                  <a:lnTo>
                    <a:pt x="2" y="606"/>
                  </a:lnTo>
                  <a:lnTo>
                    <a:pt x="1" y="600"/>
                  </a:lnTo>
                  <a:lnTo>
                    <a:pt x="0" y="595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2"/>
                  </a:lnTo>
                  <a:lnTo>
                    <a:pt x="2" y="17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4"/>
                  </a:lnTo>
                  <a:lnTo>
                    <a:pt x="17" y="2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94" y="1"/>
                  </a:lnTo>
                  <a:lnTo>
                    <a:pt x="302" y="4"/>
                  </a:lnTo>
                  <a:lnTo>
                    <a:pt x="308" y="9"/>
                  </a:lnTo>
                  <a:lnTo>
                    <a:pt x="313" y="16"/>
                  </a:lnTo>
                  <a:lnTo>
                    <a:pt x="358" y="113"/>
                  </a:lnTo>
                  <a:lnTo>
                    <a:pt x="765" y="113"/>
                  </a:lnTo>
                  <a:lnTo>
                    <a:pt x="765" y="113"/>
                  </a:lnTo>
                  <a:lnTo>
                    <a:pt x="771" y="113"/>
                  </a:lnTo>
                  <a:lnTo>
                    <a:pt x="776" y="115"/>
                  </a:lnTo>
                  <a:lnTo>
                    <a:pt x="781" y="118"/>
                  </a:lnTo>
                  <a:lnTo>
                    <a:pt x="785" y="121"/>
                  </a:lnTo>
                  <a:lnTo>
                    <a:pt x="788" y="125"/>
                  </a:lnTo>
                  <a:lnTo>
                    <a:pt x="791" y="130"/>
                  </a:lnTo>
                  <a:lnTo>
                    <a:pt x="792" y="135"/>
                  </a:lnTo>
                  <a:lnTo>
                    <a:pt x="793" y="141"/>
                  </a:lnTo>
                  <a:lnTo>
                    <a:pt x="793" y="595"/>
                  </a:lnTo>
                  <a:lnTo>
                    <a:pt x="793" y="595"/>
                  </a:lnTo>
                  <a:lnTo>
                    <a:pt x="792" y="600"/>
                  </a:lnTo>
                  <a:lnTo>
                    <a:pt x="791" y="606"/>
                  </a:lnTo>
                  <a:lnTo>
                    <a:pt x="788" y="611"/>
                  </a:lnTo>
                  <a:lnTo>
                    <a:pt x="785" y="615"/>
                  </a:lnTo>
                  <a:lnTo>
                    <a:pt x="781" y="618"/>
                  </a:lnTo>
                  <a:lnTo>
                    <a:pt x="776" y="621"/>
                  </a:lnTo>
                  <a:lnTo>
                    <a:pt x="771" y="622"/>
                  </a:lnTo>
                  <a:lnTo>
                    <a:pt x="765" y="623"/>
                  </a:lnTo>
                  <a:lnTo>
                    <a:pt x="765" y="6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37" name="Freeform 366">
              <a:extLst>
                <a:ext uri="{FF2B5EF4-FFF2-40B4-BE49-F238E27FC236}">
                  <a16:creationId xmlns="" xmlns:a16="http://schemas.microsoft.com/office/drawing/2014/main" id="{BFA758AF-F3FE-49D5-AEAB-E52C07990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4875" y="5078413"/>
              <a:ext cx="180975" cy="46038"/>
            </a:xfrm>
            <a:custGeom>
              <a:avLst/>
              <a:gdLst>
                <a:gd name="T0" fmla="*/ 653 w 681"/>
                <a:gd name="T1" fmla="*/ 170 h 170"/>
                <a:gd name="T2" fmla="*/ 340 w 681"/>
                <a:gd name="T3" fmla="*/ 170 h 170"/>
                <a:gd name="T4" fmla="*/ 340 w 681"/>
                <a:gd name="T5" fmla="*/ 170 h 170"/>
                <a:gd name="T6" fmla="*/ 332 w 681"/>
                <a:gd name="T7" fmla="*/ 169 h 170"/>
                <a:gd name="T8" fmla="*/ 325 w 681"/>
                <a:gd name="T9" fmla="*/ 165 h 170"/>
                <a:gd name="T10" fmla="*/ 319 w 681"/>
                <a:gd name="T11" fmla="*/ 160 h 170"/>
                <a:gd name="T12" fmla="*/ 315 w 681"/>
                <a:gd name="T13" fmla="*/ 153 h 170"/>
                <a:gd name="T14" fmla="*/ 270 w 681"/>
                <a:gd name="T15" fmla="*/ 56 h 170"/>
                <a:gd name="T16" fmla="*/ 28 w 681"/>
                <a:gd name="T17" fmla="*/ 56 h 170"/>
                <a:gd name="T18" fmla="*/ 28 w 681"/>
                <a:gd name="T19" fmla="*/ 56 h 170"/>
                <a:gd name="T20" fmla="*/ 23 w 681"/>
                <a:gd name="T21" fmla="*/ 56 h 170"/>
                <a:gd name="T22" fmla="*/ 18 w 681"/>
                <a:gd name="T23" fmla="*/ 54 h 170"/>
                <a:gd name="T24" fmla="*/ 13 w 681"/>
                <a:gd name="T25" fmla="*/ 52 h 170"/>
                <a:gd name="T26" fmla="*/ 9 w 681"/>
                <a:gd name="T27" fmla="*/ 48 h 170"/>
                <a:gd name="T28" fmla="*/ 5 w 681"/>
                <a:gd name="T29" fmla="*/ 44 h 170"/>
                <a:gd name="T30" fmla="*/ 3 w 681"/>
                <a:gd name="T31" fmla="*/ 39 h 170"/>
                <a:gd name="T32" fmla="*/ 1 w 681"/>
                <a:gd name="T33" fmla="*/ 34 h 170"/>
                <a:gd name="T34" fmla="*/ 0 w 681"/>
                <a:gd name="T35" fmla="*/ 28 h 170"/>
                <a:gd name="T36" fmla="*/ 0 w 681"/>
                <a:gd name="T37" fmla="*/ 28 h 170"/>
                <a:gd name="T38" fmla="*/ 1 w 681"/>
                <a:gd name="T39" fmla="*/ 23 h 170"/>
                <a:gd name="T40" fmla="*/ 3 w 681"/>
                <a:gd name="T41" fmla="*/ 17 h 170"/>
                <a:gd name="T42" fmla="*/ 5 w 681"/>
                <a:gd name="T43" fmla="*/ 13 h 170"/>
                <a:gd name="T44" fmla="*/ 9 w 681"/>
                <a:gd name="T45" fmla="*/ 8 h 170"/>
                <a:gd name="T46" fmla="*/ 13 w 681"/>
                <a:gd name="T47" fmla="*/ 5 h 170"/>
                <a:gd name="T48" fmla="*/ 18 w 681"/>
                <a:gd name="T49" fmla="*/ 2 h 170"/>
                <a:gd name="T50" fmla="*/ 23 w 681"/>
                <a:gd name="T51" fmla="*/ 1 h 170"/>
                <a:gd name="T52" fmla="*/ 28 w 681"/>
                <a:gd name="T53" fmla="*/ 0 h 170"/>
                <a:gd name="T54" fmla="*/ 287 w 681"/>
                <a:gd name="T55" fmla="*/ 0 h 170"/>
                <a:gd name="T56" fmla="*/ 287 w 681"/>
                <a:gd name="T57" fmla="*/ 0 h 170"/>
                <a:gd name="T58" fmla="*/ 295 w 681"/>
                <a:gd name="T59" fmla="*/ 1 h 170"/>
                <a:gd name="T60" fmla="*/ 303 w 681"/>
                <a:gd name="T61" fmla="*/ 5 h 170"/>
                <a:gd name="T62" fmla="*/ 308 w 681"/>
                <a:gd name="T63" fmla="*/ 10 h 170"/>
                <a:gd name="T64" fmla="*/ 313 w 681"/>
                <a:gd name="T65" fmla="*/ 16 h 170"/>
                <a:gd name="T66" fmla="*/ 359 w 681"/>
                <a:gd name="T67" fmla="*/ 114 h 170"/>
                <a:gd name="T68" fmla="*/ 653 w 681"/>
                <a:gd name="T69" fmla="*/ 114 h 170"/>
                <a:gd name="T70" fmla="*/ 653 w 681"/>
                <a:gd name="T71" fmla="*/ 114 h 170"/>
                <a:gd name="T72" fmla="*/ 658 w 681"/>
                <a:gd name="T73" fmla="*/ 114 h 170"/>
                <a:gd name="T74" fmla="*/ 664 w 681"/>
                <a:gd name="T75" fmla="*/ 116 h 170"/>
                <a:gd name="T76" fmla="*/ 669 w 681"/>
                <a:gd name="T77" fmla="*/ 118 h 170"/>
                <a:gd name="T78" fmla="*/ 673 w 681"/>
                <a:gd name="T79" fmla="*/ 122 h 170"/>
                <a:gd name="T80" fmla="*/ 676 w 681"/>
                <a:gd name="T81" fmla="*/ 126 h 170"/>
                <a:gd name="T82" fmla="*/ 679 w 681"/>
                <a:gd name="T83" fmla="*/ 131 h 170"/>
                <a:gd name="T84" fmla="*/ 680 w 681"/>
                <a:gd name="T85" fmla="*/ 136 h 170"/>
                <a:gd name="T86" fmla="*/ 681 w 681"/>
                <a:gd name="T87" fmla="*/ 142 h 170"/>
                <a:gd name="T88" fmla="*/ 681 w 681"/>
                <a:gd name="T89" fmla="*/ 142 h 170"/>
                <a:gd name="T90" fmla="*/ 680 w 681"/>
                <a:gd name="T91" fmla="*/ 147 h 170"/>
                <a:gd name="T92" fmla="*/ 679 w 681"/>
                <a:gd name="T93" fmla="*/ 153 h 170"/>
                <a:gd name="T94" fmla="*/ 676 w 681"/>
                <a:gd name="T95" fmla="*/ 157 h 170"/>
                <a:gd name="T96" fmla="*/ 673 w 681"/>
                <a:gd name="T97" fmla="*/ 161 h 170"/>
                <a:gd name="T98" fmla="*/ 669 w 681"/>
                <a:gd name="T99" fmla="*/ 165 h 170"/>
                <a:gd name="T100" fmla="*/ 664 w 681"/>
                <a:gd name="T101" fmla="*/ 167 h 170"/>
                <a:gd name="T102" fmla="*/ 658 w 681"/>
                <a:gd name="T103" fmla="*/ 169 h 170"/>
                <a:gd name="T104" fmla="*/ 653 w 681"/>
                <a:gd name="T105" fmla="*/ 170 h 170"/>
                <a:gd name="T106" fmla="*/ 653 w 681"/>
                <a:gd name="T10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1" h="170">
                  <a:moveTo>
                    <a:pt x="653" y="170"/>
                  </a:moveTo>
                  <a:lnTo>
                    <a:pt x="340" y="170"/>
                  </a:lnTo>
                  <a:lnTo>
                    <a:pt x="340" y="170"/>
                  </a:lnTo>
                  <a:lnTo>
                    <a:pt x="332" y="169"/>
                  </a:lnTo>
                  <a:lnTo>
                    <a:pt x="325" y="165"/>
                  </a:lnTo>
                  <a:lnTo>
                    <a:pt x="319" y="160"/>
                  </a:lnTo>
                  <a:lnTo>
                    <a:pt x="315" y="153"/>
                  </a:lnTo>
                  <a:lnTo>
                    <a:pt x="270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3" y="56"/>
                  </a:lnTo>
                  <a:lnTo>
                    <a:pt x="18" y="54"/>
                  </a:lnTo>
                  <a:lnTo>
                    <a:pt x="13" y="52"/>
                  </a:lnTo>
                  <a:lnTo>
                    <a:pt x="9" y="48"/>
                  </a:lnTo>
                  <a:lnTo>
                    <a:pt x="5" y="44"/>
                  </a:lnTo>
                  <a:lnTo>
                    <a:pt x="3" y="39"/>
                  </a:lnTo>
                  <a:lnTo>
                    <a:pt x="1" y="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3"/>
                  </a:lnTo>
                  <a:lnTo>
                    <a:pt x="3" y="17"/>
                  </a:lnTo>
                  <a:lnTo>
                    <a:pt x="5" y="13"/>
                  </a:lnTo>
                  <a:lnTo>
                    <a:pt x="9" y="8"/>
                  </a:lnTo>
                  <a:lnTo>
                    <a:pt x="13" y="5"/>
                  </a:lnTo>
                  <a:lnTo>
                    <a:pt x="18" y="2"/>
                  </a:lnTo>
                  <a:lnTo>
                    <a:pt x="23" y="1"/>
                  </a:lnTo>
                  <a:lnTo>
                    <a:pt x="28" y="0"/>
                  </a:lnTo>
                  <a:lnTo>
                    <a:pt x="287" y="0"/>
                  </a:lnTo>
                  <a:lnTo>
                    <a:pt x="287" y="0"/>
                  </a:lnTo>
                  <a:lnTo>
                    <a:pt x="295" y="1"/>
                  </a:lnTo>
                  <a:lnTo>
                    <a:pt x="303" y="5"/>
                  </a:lnTo>
                  <a:lnTo>
                    <a:pt x="308" y="10"/>
                  </a:lnTo>
                  <a:lnTo>
                    <a:pt x="313" y="16"/>
                  </a:lnTo>
                  <a:lnTo>
                    <a:pt x="359" y="114"/>
                  </a:lnTo>
                  <a:lnTo>
                    <a:pt x="653" y="114"/>
                  </a:lnTo>
                  <a:lnTo>
                    <a:pt x="653" y="114"/>
                  </a:lnTo>
                  <a:lnTo>
                    <a:pt x="658" y="114"/>
                  </a:lnTo>
                  <a:lnTo>
                    <a:pt x="664" y="116"/>
                  </a:lnTo>
                  <a:lnTo>
                    <a:pt x="669" y="118"/>
                  </a:lnTo>
                  <a:lnTo>
                    <a:pt x="673" y="122"/>
                  </a:lnTo>
                  <a:lnTo>
                    <a:pt x="676" y="126"/>
                  </a:lnTo>
                  <a:lnTo>
                    <a:pt x="679" y="131"/>
                  </a:lnTo>
                  <a:lnTo>
                    <a:pt x="680" y="136"/>
                  </a:lnTo>
                  <a:lnTo>
                    <a:pt x="681" y="142"/>
                  </a:lnTo>
                  <a:lnTo>
                    <a:pt x="681" y="142"/>
                  </a:lnTo>
                  <a:lnTo>
                    <a:pt x="680" y="147"/>
                  </a:lnTo>
                  <a:lnTo>
                    <a:pt x="679" y="153"/>
                  </a:lnTo>
                  <a:lnTo>
                    <a:pt x="676" y="157"/>
                  </a:lnTo>
                  <a:lnTo>
                    <a:pt x="673" y="161"/>
                  </a:lnTo>
                  <a:lnTo>
                    <a:pt x="669" y="165"/>
                  </a:lnTo>
                  <a:lnTo>
                    <a:pt x="664" y="167"/>
                  </a:lnTo>
                  <a:lnTo>
                    <a:pt x="658" y="169"/>
                  </a:lnTo>
                  <a:lnTo>
                    <a:pt x="653" y="170"/>
                  </a:lnTo>
                  <a:lnTo>
                    <a:pt x="65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38" name="Freeform 367">
              <a:extLst>
                <a:ext uri="{FF2B5EF4-FFF2-40B4-BE49-F238E27FC236}">
                  <a16:creationId xmlns="" xmlns:a16="http://schemas.microsoft.com/office/drawing/2014/main" id="{21CFD48F-9FBB-47C7-BA73-7036ED1BF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0750" y="5048251"/>
              <a:ext cx="149225" cy="46038"/>
            </a:xfrm>
            <a:custGeom>
              <a:avLst/>
              <a:gdLst>
                <a:gd name="T0" fmla="*/ 538 w 566"/>
                <a:gd name="T1" fmla="*/ 169 h 169"/>
                <a:gd name="T2" fmla="*/ 339 w 566"/>
                <a:gd name="T3" fmla="*/ 169 h 169"/>
                <a:gd name="T4" fmla="*/ 339 w 566"/>
                <a:gd name="T5" fmla="*/ 169 h 169"/>
                <a:gd name="T6" fmla="*/ 331 w 566"/>
                <a:gd name="T7" fmla="*/ 168 h 169"/>
                <a:gd name="T8" fmla="*/ 324 w 566"/>
                <a:gd name="T9" fmla="*/ 165 h 169"/>
                <a:gd name="T10" fmla="*/ 318 w 566"/>
                <a:gd name="T11" fmla="*/ 160 h 169"/>
                <a:gd name="T12" fmla="*/ 314 w 566"/>
                <a:gd name="T13" fmla="*/ 153 h 169"/>
                <a:gd name="T14" fmla="*/ 268 w 566"/>
                <a:gd name="T15" fmla="*/ 56 h 169"/>
                <a:gd name="T16" fmla="*/ 28 w 566"/>
                <a:gd name="T17" fmla="*/ 56 h 169"/>
                <a:gd name="T18" fmla="*/ 28 w 566"/>
                <a:gd name="T19" fmla="*/ 56 h 169"/>
                <a:gd name="T20" fmla="*/ 22 w 566"/>
                <a:gd name="T21" fmla="*/ 56 h 169"/>
                <a:gd name="T22" fmla="*/ 17 w 566"/>
                <a:gd name="T23" fmla="*/ 54 h 169"/>
                <a:gd name="T24" fmla="*/ 12 w 566"/>
                <a:gd name="T25" fmla="*/ 51 h 169"/>
                <a:gd name="T26" fmla="*/ 8 w 566"/>
                <a:gd name="T27" fmla="*/ 48 h 169"/>
                <a:gd name="T28" fmla="*/ 4 w 566"/>
                <a:gd name="T29" fmla="*/ 44 h 169"/>
                <a:gd name="T30" fmla="*/ 2 w 566"/>
                <a:gd name="T31" fmla="*/ 39 h 169"/>
                <a:gd name="T32" fmla="*/ 0 w 566"/>
                <a:gd name="T33" fmla="*/ 34 h 169"/>
                <a:gd name="T34" fmla="*/ 0 w 566"/>
                <a:gd name="T35" fmla="*/ 28 h 169"/>
                <a:gd name="T36" fmla="*/ 0 w 566"/>
                <a:gd name="T37" fmla="*/ 28 h 169"/>
                <a:gd name="T38" fmla="*/ 0 w 566"/>
                <a:gd name="T39" fmla="*/ 22 h 169"/>
                <a:gd name="T40" fmla="*/ 2 w 566"/>
                <a:gd name="T41" fmla="*/ 17 h 169"/>
                <a:gd name="T42" fmla="*/ 4 w 566"/>
                <a:gd name="T43" fmla="*/ 12 h 169"/>
                <a:gd name="T44" fmla="*/ 8 w 566"/>
                <a:gd name="T45" fmla="*/ 8 h 169"/>
                <a:gd name="T46" fmla="*/ 12 w 566"/>
                <a:gd name="T47" fmla="*/ 5 h 169"/>
                <a:gd name="T48" fmla="*/ 17 w 566"/>
                <a:gd name="T49" fmla="*/ 2 h 169"/>
                <a:gd name="T50" fmla="*/ 22 w 566"/>
                <a:gd name="T51" fmla="*/ 1 h 169"/>
                <a:gd name="T52" fmla="*/ 28 w 566"/>
                <a:gd name="T53" fmla="*/ 0 h 169"/>
                <a:gd name="T54" fmla="*/ 286 w 566"/>
                <a:gd name="T55" fmla="*/ 0 h 169"/>
                <a:gd name="T56" fmla="*/ 286 w 566"/>
                <a:gd name="T57" fmla="*/ 0 h 169"/>
                <a:gd name="T58" fmla="*/ 295 w 566"/>
                <a:gd name="T59" fmla="*/ 1 h 169"/>
                <a:gd name="T60" fmla="*/ 302 w 566"/>
                <a:gd name="T61" fmla="*/ 4 h 169"/>
                <a:gd name="T62" fmla="*/ 308 w 566"/>
                <a:gd name="T63" fmla="*/ 9 h 169"/>
                <a:gd name="T64" fmla="*/ 312 w 566"/>
                <a:gd name="T65" fmla="*/ 16 h 169"/>
                <a:gd name="T66" fmla="*/ 357 w 566"/>
                <a:gd name="T67" fmla="*/ 113 h 169"/>
                <a:gd name="T68" fmla="*/ 538 w 566"/>
                <a:gd name="T69" fmla="*/ 113 h 169"/>
                <a:gd name="T70" fmla="*/ 538 w 566"/>
                <a:gd name="T71" fmla="*/ 113 h 169"/>
                <a:gd name="T72" fmla="*/ 543 w 566"/>
                <a:gd name="T73" fmla="*/ 114 h 169"/>
                <a:gd name="T74" fmla="*/ 549 w 566"/>
                <a:gd name="T75" fmla="*/ 115 h 169"/>
                <a:gd name="T76" fmla="*/ 553 w 566"/>
                <a:gd name="T77" fmla="*/ 118 h 169"/>
                <a:gd name="T78" fmla="*/ 558 w 566"/>
                <a:gd name="T79" fmla="*/ 121 h 169"/>
                <a:gd name="T80" fmla="*/ 561 w 566"/>
                <a:gd name="T81" fmla="*/ 126 h 169"/>
                <a:gd name="T82" fmla="*/ 564 w 566"/>
                <a:gd name="T83" fmla="*/ 130 h 169"/>
                <a:gd name="T84" fmla="*/ 565 w 566"/>
                <a:gd name="T85" fmla="*/ 136 h 169"/>
                <a:gd name="T86" fmla="*/ 566 w 566"/>
                <a:gd name="T87" fmla="*/ 141 h 169"/>
                <a:gd name="T88" fmla="*/ 566 w 566"/>
                <a:gd name="T89" fmla="*/ 141 h 169"/>
                <a:gd name="T90" fmla="*/ 565 w 566"/>
                <a:gd name="T91" fmla="*/ 147 h 169"/>
                <a:gd name="T92" fmla="*/ 564 w 566"/>
                <a:gd name="T93" fmla="*/ 152 h 169"/>
                <a:gd name="T94" fmla="*/ 561 w 566"/>
                <a:gd name="T95" fmla="*/ 157 h 169"/>
                <a:gd name="T96" fmla="*/ 558 w 566"/>
                <a:gd name="T97" fmla="*/ 161 h 169"/>
                <a:gd name="T98" fmla="*/ 553 w 566"/>
                <a:gd name="T99" fmla="*/ 165 h 169"/>
                <a:gd name="T100" fmla="*/ 549 w 566"/>
                <a:gd name="T101" fmla="*/ 167 h 169"/>
                <a:gd name="T102" fmla="*/ 543 w 566"/>
                <a:gd name="T103" fmla="*/ 169 h 169"/>
                <a:gd name="T104" fmla="*/ 538 w 566"/>
                <a:gd name="T105" fmla="*/ 169 h 169"/>
                <a:gd name="T106" fmla="*/ 538 w 566"/>
                <a:gd name="T10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6" h="169">
                  <a:moveTo>
                    <a:pt x="538" y="169"/>
                  </a:moveTo>
                  <a:lnTo>
                    <a:pt x="339" y="169"/>
                  </a:lnTo>
                  <a:lnTo>
                    <a:pt x="339" y="169"/>
                  </a:lnTo>
                  <a:lnTo>
                    <a:pt x="331" y="168"/>
                  </a:lnTo>
                  <a:lnTo>
                    <a:pt x="324" y="165"/>
                  </a:lnTo>
                  <a:lnTo>
                    <a:pt x="318" y="160"/>
                  </a:lnTo>
                  <a:lnTo>
                    <a:pt x="314" y="153"/>
                  </a:lnTo>
                  <a:lnTo>
                    <a:pt x="26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2" y="56"/>
                  </a:lnTo>
                  <a:lnTo>
                    <a:pt x="17" y="54"/>
                  </a:lnTo>
                  <a:lnTo>
                    <a:pt x="12" y="51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2" y="39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2" y="1"/>
                  </a:lnTo>
                  <a:lnTo>
                    <a:pt x="28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95" y="1"/>
                  </a:lnTo>
                  <a:lnTo>
                    <a:pt x="302" y="4"/>
                  </a:lnTo>
                  <a:lnTo>
                    <a:pt x="308" y="9"/>
                  </a:lnTo>
                  <a:lnTo>
                    <a:pt x="312" y="16"/>
                  </a:lnTo>
                  <a:lnTo>
                    <a:pt x="357" y="113"/>
                  </a:lnTo>
                  <a:lnTo>
                    <a:pt x="538" y="113"/>
                  </a:lnTo>
                  <a:lnTo>
                    <a:pt x="538" y="113"/>
                  </a:lnTo>
                  <a:lnTo>
                    <a:pt x="543" y="114"/>
                  </a:lnTo>
                  <a:lnTo>
                    <a:pt x="549" y="115"/>
                  </a:lnTo>
                  <a:lnTo>
                    <a:pt x="553" y="118"/>
                  </a:lnTo>
                  <a:lnTo>
                    <a:pt x="558" y="121"/>
                  </a:lnTo>
                  <a:lnTo>
                    <a:pt x="561" y="126"/>
                  </a:lnTo>
                  <a:lnTo>
                    <a:pt x="564" y="130"/>
                  </a:lnTo>
                  <a:lnTo>
                    <a:pt x="565" y="136"/>
                  </a:lnTo>
                  <a:lnTo>
                    <a:pt x="566" y="141"/>
                  </a:lnTo>
                  <a:lnTo>
                    <a:pt x="566" y="141"/>
                  </a:lnTo>
                  <a:lnTo>
                    <a:pt x="565" y="147"/>
                  </a:lnTo>
                  <a:lnTo>
                    <a:pt x="564" y="152"/>
                  </a:lnTo>
                  <a:lnTo>
                    <a:pt x="561" y="157"/>
                  </a:lnTo>
                  <a:lnTo>
                    <a:pt x="558" y="161"/>
                  </a:lnTo>
                  <a:lnTo>
                    <a:pt x="553" y="165"/>
                  </a:lnTo>
                  <a:lnTo>
                    <a:pt x="549" y="167"/>
                  </a:lnTo>
                  <a:lnTo>
                    <a:pt x="543" y="169"/>
                  </a:lnTo>
                  <a:lnTo>
                    <a:pt x="538" y="169"/>
                  </a:lnTo>
                  <a:lnTo>
                    <a:pt x="538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39" name="Freeform 368">
              <a:extLst>
                <a:ext uri="{FF2B5EF4-FFF2-40B4-BE49-F238E27FC236}">
                  <a16:creationId xmlns="" xmlns:a16="http://schemas.microsoft.com/office/drawing/2014/main" id="{132B4A29-F24F-432D-AF65-23F19F87A6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5975" y="5287963"/>
              <a:ext cx="360363" cy="120650"/>
            </a:xfrm>
            <a:custGeom>
              <a:avLst/>
              <a:gdLst>
                <a:gd name="T0" fmla="*/ 28 w 1360"/>
                <a:gd name="T1" fmla="*/ 453 h 453"/>
                <a:gd name="T2" fmla="*/ 12 w 1360"/>
                <a:gd name="T3" fmla="*/ 448 h 453"/>
                <a:gd name="T4" fmla="*/ 2 w 1360"/>
                <a:gd name="T5" fmla="*/ 436 h 453"/>
                <a:gd name="T6" fmla="*/ 0 w 1360"/>
                <a:gd name="T7" fmla="*/ 28 h 453"/>
                <a:gd name="T8" fmla="*/ 2 w 1360"/>
                <a:gd name="T9" fmla="*/ 17 h 453"/>
                <a:gd name="T10" fmla="*/ 12 w 1360"/>
                <a:gd name="T11" fmla="*/ 5 h 453"/>
                <a:gd name="T12" fmla="*/ 28 w 1360"/>
                <a:gd name="T13" fmla="*/ 0 h 453"/>
                <a:gd name="T14" fmla="*/ 458 w 1360"/>
                <a:gd name="T15" fmla="*/ 1 h 453"/>
                <a:gd name="T16" fmla="*/ 472 w 1360"/>
                <a:gd name="T17" fmla="*/ 8 h 453"/>
                <a:gd name="T18" fmla="*/ 480 w 1360"/>
                <a:gd name="T19" fmla="*/ 22 h 453"/>
                <a:gd name="T20" fmla="*/ 481 w 1360"/>
                <a:gd name="T21" fmla="*/ 84 h 453"/>
                <a:gd name="T22" fmla="*/ 485 w 1360"/>
                <a:gd name="T23" fmla="*/ 110 h 453"/>
                <a:gd name="T24" fmla="*/ 496 w 1360"/>
                <a:gd name="T25" fmla="*/ 132 h 453"/>
                <a:gd name="T26" fmla="*/ 512 w 1360"/>
                <a:gd name="T27" fmla="*/ 150 h 453"/>
                <a:gd name="T28" fmla="*/ 533 w 1360"/>
                <a:gd name="T29" fmla="*/ 163 h 453"/>
                <a:gd name="T30" fmla="*/ 557 w 1360"/>
                <a:gd name="T31" fmla="*/ 169 h 453"/>
                <a:gd name="T32" fmla="*/ 821 w 1360"/>
                <a:gd name="T33" fmla="*/ 169 h 453"/>
                <a:gd name="T34" fmla="*/ 846 w 1360"/>
                <a:gd name="T35" fmla="*/ 166 h 453"/>
                <a:gd name="T36" fmla="*/ 868 w 1360"/>
                <a:gd name="T37" fmla="*/ 155 h 453"/>
                <a:gd name="T38" fmla="*/ 886 w 1360"/>
                <a:gd name="T39" fmla="*/ 139 h 453"/>
                <a:gd name="T40" fmla="*/ 900 w 1360"/>
                <a:gd name="T41" fmla="*/ 118 h 453"/>
                <a:gd name="T42" fmla="*/ 906 w 1360"/>
                <a:gd name="T43" fmla="*/ 93 h 453"/>
                <a:gd name="T44" fmla="*/ 907 w 1360"/>
                <a:gd name="T45" fmla="*/ 28 h 453"/>
                <a:gd name="T46" fmla="*/ 911 w 1360"/>
                <a:gd name="T47" fmla="*/ 12 h 453"/>
                <a:gd name="T48" fmla="*/ 924 w 1360"/>
                <a:gd name="T49" fmla="*/ 2 h 453"/>
                <a:gd name="T50" fmla="*/ 1332 w 1360"/>
                <a:gd name="T51" fmla="*/ 0 h 453"/>
                <a:gd name="T52" fmla="*/ 1342 w 1360"/>
                <a:gd name="T53" fmla="*/ 2 h 453"/>
                <a:gd name="T54" fmla="*/ 1355 w 1360"/>
                <a:gd name="T55" fmla="*/ 12 h 453"/>
                <a:gd name="T56" fmla="*/ 1360 w 1360"/>
                <a:gd name="T57" fmla="*/ 28 h 453"/>
                <a:gd name="T58" fmla="*/ 1359 w 1360"/>
                <a:gd name="T59" fmla="*/ 431 h 453"/>
                <a:gd name="T60" fmla="*/ 1351 w 1360"/>
                <a:gd name="T61" fmla="*/ 445 h 453"/>
                <a:gd name="T62" fmla="*/ 1337 w 1360"/>
                <a:gd name="T63" fmla="*/ 452 h 453"/>
                <a:gd name="T64" fmla="*/ 56 w 1360"/>
                <a:gd name="T65" fmla="*/ 396 h 453"/>
                <a:gd name="T66" fmla="*/ 963 w 1360"/>
                <a:gd name="T67" fmla="*/ 56 h 453"/>
                <a:gd name="T68" fmla="*/ 962 w 1360"/>
                <a:gd name="T69" fmla="*/ 100 h 453"/>
                <a:gd name="T70" fmla="*/ 952 w 1360"/>
                <a:gd name="T71" fmla="*/ 140 h 453"/>
                <a:gd name="T72" fmla="*/ 931 w 1360"/>
                <a:gd name="T73" fmla="*/ 174 h 453"/>
                <a:gd name="T74" fmla="*/ 901 w 1360"/>
                <a:gd name="T75" fmla="*/ 203 h 453"/>
                <a:gd name="T76" fmla="*/ 863 w 1360"/>
                <a:gd name="T77" fmla="*/ 220 h 453"/>
                <a:gd name="T78" fmla="*/ 821 w 1360"/>
                <a:gd name="T79" fmla="*/ 227 h 453"/>
                <a:gd name="T80" fmla="*/ 552 w 1360"/>
                <a:gd name="T81" fmla="*/ 226 h 453"/>
                <a:gd name="T82" fmla="*/ 511 w 1360"/>
                <a:gd name="T83" fmla="*/ 215 h 453"/>
                <a:gd name="T84" fmla="*/ 476 w 1360"/>
                <a:gd name="T85" fmla="*/ 193 h 453"/>
                <a:gd name="T86" fmla="*/ 449 w 1360"/>
                <a:gd name="T87" fmla="*/ 164 h 453"/>
                <a:gd name="T88" fmla="*/ 431 w 1360"/>
                <a:gd name="T89" fmla="*/ 127 h 453"/>
                <a:gd name="T90" fmla="*/ 425 w 1360"/>
                <a:gd name="T91" fmla="*/ 84 h 453"/>
                <a:gd name="T92" fmla="*/ 56 w 1360"/>
                <a:gd name="T93" fmla="*/ 396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60" h="453">
                  <a:moveTo>
                    <a:pt x="1332" y="453"/>
                  </a:moveTo>
                  <a:lnTo>
                    <a:pt x="28" y="453"/>
                  </a:lnTo>
                  <a:lnTo>
                    <a:pt x="28" y="453"/>
                  </a:lnTo>
                  <a:lnTo>
                    <a:pt x="22" y="452"/>
                  </a:lnTo>
                  <a:lnTo>
                    <a:pt x="17" y="451"/>
                  </a:lnTo>
                  <a:lnTo>
                    <a:pt x="12" y="448"/>
                  </a:lnTo>
                  <a:lnTo>
                    <a:pt x="8" y="445"/>
                  </a:lnTo>
                  <a:lnTo>
                    <a:pt x="4" y="441"/>
                  </a:lnTo>
                  <a:lnTo>
                    <a:pt x="2" y="436"/>
                  </a:lnTo>
                  <a:lnTo>
                    <a:pt x="0" y="431"/>
                  </a:lnTo>
                  <a:lnTo>
                    <a:pt x="0" y="425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2" y="1"/>
                  </a:lnTo>
                  <a:lnTo>
                    <a:pt x="28" y="0"/>
                  </a:lnTo>
                  <a:lnTo>
                    <a:pt x="453" y="0"/>
                  </a:lnTo>
                  <a:lnTo>
                    <a:pt x="453" y="0"/>
                  </a:lnTo>
                  <a:lnTo>
                    <a:pt x="458" y="1"/>
                  </a:lnTo>
                  <a:lnTo>
                    <a:pt x="464" y="2"/>
                  </a:lnTo>
                  <a:lnTo>
                    <a:pt x="468" y="5"/>
                  </a:lnTo>
                  <a:lnTo>
                    <a:pt x="472" y="8"/>
                  </a:lnTo>
                  <a:lnTo>
                    <a:pt x="476" y="12"/>
                  </a:lnTo>
                  <a:lnTo>
                    <a:pt x="479" y="17"/>
                  </a:lnTo>
                  <a:lnTo>
                    <a:pt x="480" y="22"/>
                  </a:lnTo>
                  <a:lnTo>
                    <a:pt x="481" y="28"/>
                  </a:lnTo>
                  <a:lnTo>
                    <a:pt x="481" y="84"/>
                  </a:lnTo>
                  <a:lnTo>
                    <a:pt x="481" y="84"/>
                  </a:lnTo>
                  <a:lnTo>
                    <a:pt x="481" y="93"/>
                  </a:lnTo>
                  <a:lnTo>
                    <a:pt x="482" y="102"/>
                  </a:lnTo>
                  <a:lnTo>
                    <a:pt x="485" y="110"/>
                  </a:lnTo>
                  <a:lnTo>
                    <a:pt x="488" y="118"/>
                  </a:lnTo>
                  <a:lnTo>
                    <a:pt x="492" y="125"/>
                  </a:lnTo>
                  <a:lnTo>
                    <a:pt x="496" y="132"/>
                  </a:lnTo>
                  <a:lnTo>
                    <a:pt x="501" y="139"/>
                  </a:lnTo>
                  <a:lnTo>
                    <a:pt x="506" y="145"/>
                  </a:lnTo>
                  <a:lnTo>
                    <a:pt x="512" y="150"/>
                  </a:lnTo>
                  <a:lnTo>
                    <a:pt x="519" y="155"/>
                  </a:lnTo>
                  <a:lnTo>
                    <a:pt x="526" y="159"/>
                  </a:lnTo>
                  <a:lnTo>
                    <a:pt x="533" y="163"/>
                  </a:lnTo>
                  <a:lnTo>
                    <a:pt x="541" y="166"/>
                  </a:lnTo>
                  <a:lnTo>
                    <a:pt x="549" y="168"/>
                  </a:lnTo>
                  <a:lnTo>
                    <a:pt x="557" y="169"/>
                  </a:lnTo>
                  <a:lnTo>
                    <a:pt x="566" y="169"/>
                  </a:lnTo>
                  <a:lnTo>
                    <a:pt x="821" y="169"/>
                  </a:lnTo>
                  <a:lnTo>
                    <a:pt x="821" y="169"/>
                  </a:lnTo>
                  <a:lnTo>
                    <a:pt x="830" y="169"/>
                  </a:lnTo>
                  <a:lnTo>
                    <a:pt x="838" y="168"/>
                  </a:lnTo>
                  <a:lnTo>
                    <a:pt x="846" y="166"/>
                  </a:lnTo>
                  <a:lnTo>
                    <a:pt x="854" y="163"/>
                  </a:lnTo>
                  <a:lnTo>
                    <a:pt x="862" y="159"/>
                  </a:lnTo>
                  <a:lnTo>
                    <a:pt x="868" y="155"/>
                  </a:lnTo>
                  <a:lnTo>
                    <a:pt x="875" y="150"/>
                  </a:lnTo>
                  <a:lnTo>
                    <a:pt x="881" y="145"/>
                  </a:lnTo>
                  <a:lnTo>
                    <a:pt x="886" y="139"/>
                  </a:lnTo>
                  <a:lnTo>
                    <a:pt x="892" y="132"/>
                  </a:lnTo>
                  <a:lnTo>
                    <a:pt x="896" y="125"/>
                  </a:lnTo>
                  <a:lnTo>
                    <a:pt x="900" y="118"/>
                  </a:lnTo>
                  <a:lnTo>
                    <a:pt x="903" y="110"/>
                  </a:lnTo>
                  <a:lnTo>
                    <a:pt x="905" y="102"/>
                  </a:lnTo>
                  <a:lnTo>
                    <a:pt x="906" y="93"/>
                  </a:lnTo>
                  <a:lnTo>
                    <a:pt x="907" y="84"/>
                  </a:lnTo>
                  <a:lnTo>
                    <a:pt x="907" y="28"/>
                  </a:lnTo>
                  <a:lnTo>
                    <a:pt x="907" y="28"/>
                  </a:lnTo>
                  <a:lnTo>
                    <a:pt x="907" y="22"/>
                  </a:lnTo>
                  <a:lnTo>
                    <a:pt x="909" y="17"/>
                  </a:lnTo>
                  <a:lnTo>
                    <a:pt x="911" y="12"/>
                  </a:lnTo>
                  <a:lnTo>
                    <a:pt x="915" y="8"/>
                  </a:lnTo>
                  <a:lnTo>
                    <a:pt x="919" y="5"/>
                  </a:lnTo>
                  <a:lnTo>
                    <a:pt x="924" y="2"/>
                  </a:lnTo>
                  <a:lnTo>
                    <a:pt x="929" y="1"/>
                  </a:lnTo>
                  <a:lnTo>
                    <a:pt x="935" y="0"/>
                  </a:lnTo>
                  <a:lnTo>
                    <a:pt x="1332" y="0"/>
                  </a:lnTo>
                  <a:lnTo>
                    <a:pt x="1332" y="0"/>
                  </a:lnTo>
                  <a:lnTo>
                    <a:pt x="1337" y="1"/>
                  </a:lnTo>
                  <a:lnTo>
                    <a:pt x="1342" y="2"/>
                  </a:lnTo>
                  <a:lnTo>
                    <a:pt x="1347" y="5"/>
                  </a:lnTo>
                  <a:lnTo>
                    <a:pt x="1351" y="8"/>
                  </a:lnTo>
                  <a:lnTo>
                    <a:pt x="1355" y="12"/>
                  </a:lnTo>
                  <a:lnTo>
                    <a:pt x="1357" y="17"/>
                  </a:lnTo>
                  <a:lnTo>
                    <a:pt x="1359" y="22"/>
                  </a:lnTo>
                  <a:lnTo>
                    <a:pt x="1360" y="28"/>
                  </a:lnTo>
                  <a:lnTo>
                    <a:pt x="1360" y="425"/>
                  </a:lnTo>
                  <a:lnTo>
                    <a:pt x="1360" y="425"/>
                  </a:lnTo>
                  <a:lnTo>
                    <a:pt x="1359" y="431"/>
                  </a:lnTo>
                  <a:lnTo>
                    <a:pt x="1357" y="436"/>
                  </a:lnTo>
                  <a:lnTo>
                    <a:pt x="1355" y="441"/>
                  </a:lnTo>
                  <a:lnTo>
                    <a:pt x="1351" y="445"/>
                  </a:lnTo>
                  <a:lnTo>
                    <a:pt x="1347" y="448"/>
                  </a:lnTo>
                  <a:lnTo>
                    <a:pt x="1342" y="451"/>
                  </a:lnTo>
                  <a:lnTo>
                    <a:pt x="1337" y="452"/>
                  </a:lnTo>
                  <a:lnTo>
                    <a:pt x="1332" y="453"/>
                  </a:lnTo>
                  <a:lnTo>
                    <a:pt x="1332" y="453"/>
                  </a:lnTo>
                  <a:close/>
                  <a:moveTo>
                    <a:pt x="56" y="396"/>
                  </a:moveTo>
                  <a:lnTo>
                    <a:pt x="1304" y="396"/>
                  </a:lnTo>
                  <a:lnTo>
                    <a:pt x="1304" y="56"/>
                  </a:lnTo>
                  <a:lnTo>
                    <a:pt x="963" y="56"/>
                  </a:lnTo>
                  <a:lnTo>
                    <a:pt x="963" y="84"/>
                  </a:lnTo>
                  <a:lnTo>
                    <a:pt x="963" y="84"/>
                  </a:lnTo>
                  <a:lnTo>
                    <a:pt x="962" y="100"/>
                  </a:lnTo>
                  <a:lnTo>
                    <a:pt x="960" y="113"/>
                  </a:lnTo>
                  <a:lnTo>
                    <a:pt x="956" y="127"/>
                  </a:lnTo>
                  <a:lnTo>
                    <a:pt x="952" y="140"/>
                  </a:lnTo>
                  <a:lnTo>
                    <a:pt x="946" y="152"/>
                  </a:lnTo>
                  <a:lnTo>
                    <a:pt x="939" y="164"/>
                  </a:lnTo>
                  <a:lnTo>
                    <a:pt x="931" y="174"/>
                  </a:lnTo>
                  <a:lnTo>
                    <a:pt x="922" y="184"/>
                  </a:lnTo>
                  <a:lnTo>
                    <a:pt x="912" y="193"/>
                  </a:lnTo>
                  <a:lnTo>
                    <a:pt x="901" y="203"/>
                  </a:lnTo>
                  <a:lnTo>
                    <a:pt x="889" y="210"/>
                  </a:lnTo>
                  <a:lnTo>
                    <a:pt x="876" y="215"/>
                  </a:lnTo>
                  <a:lnTo>
                    <a:pt x="863" y="220"/>
                  </a:lnTo>
                  <a:lnTo>
                    <a:pt x="850" y="224"/>
                  </a:lnTo>
                  <a:lnTo>
                    <a:pt x="836" y="226"/>
                  </a:lnTo>
                  <a:lnTo>
                    <a:pt x="821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52" y="226"/>
                  </a:lnTo>
                  <a:lnTo>
                    <a:pt x="538" y="224"/>
                  </a:lnTo>
                  <a:lnTo>
                    <a:pt x="524" y="220"/>
                  </a:lnTo>
                  <a:lnTo>
                    <a:pt x="511" y="215"/>
                  </a:lnTo>
                  <a:lnTo>
                    <a:pt x="499" y="210"/>
                  </a:lnTo>
                  <a:lnTo>
                    <a:pt x="488" y="203"/>
                  </a:lnTo>
                  <a:lnTo>
                    <a:pt x="476" y="193"/>
                  </a:lnTo>
                  <a:lnTo>
                    <a:pt x="466" y="184"/>
                  </a:lnTo>
                  <a:lnTo>
                    <a:pt x="457" y="174"/>
                  </a:lnTo>
                  <a:lnTo>
                    <a:pt x="449" y="164"/>
                  </a:lnTo>
                  <a:lnTo>
                    <a:pt x="442" y="152"/>
                  </a:lnTo>
                  <a:lnTo>
                    <a:pt x="436" y="140"/>
                  </a:lnTo>
                  <a:lnTo>
                    <a:pt x="431" y="127"/>
                  </a:lnTo>
                  <a:lnTo>
                    <a:pt x="427" y="113"/>
                  </a:lnTo>
                  <a:lnTo>
                    <a:pt x="425" y="100"/>
                  </a:lnTo>
                  <a:lnTo>
                    <a:pt x="425" y="84"/>
                  </a:lnTo>
                  <a:lnTo>
                    <a:pt x="425" y="56"/>
                  </a:lnTo>
                  <a:lnTo>
                    <a:pt x="56" y="56"/>
                  </a:lnTo>
                  <a:lnTo>
                    <a:pt x="56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40" name="Freeform 369">
              <a:extLst>
                <a:ext uri="{FF2B5EF4-FFF2-40B4-BE49-F238E27FC236}">
                  <a16:creationId xmlns="" xmlns:a16="http://schemas.microsoft.com/office/drawing/2014/main" id="{EB7CE660-2117-4DF9-B497-9DAA01AE3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5975" y="5199063"/>
              <a:ext cx="88900" cy="104775"/>
            </a:xfrm>
            <a:custGeom>
              <a:avLst/>
              <a:gdLst>
                <a:gd name="T0" fmla="*/ 28 w 339"/>
                <a:gd name="T1" fmla="*/ 397 h 397"/>
                <a:gd name="T2" fmla="*/ 28 w 339"/>
                <a:gd name="T3" fmla="*/ 397 h 397"/>
                <a:gd name="T4" fmla="*/ 20 w 339"/>
                <a:gd name="T5" fmla="*/ 396 h 397"/>
                <a:gd name="T6" fmla="*/ 14 w 339"/>
                <a:gd name="T7" fmla="*/ 393 h 397"/>
                <a:gd name="T8" fmla="*/ 14 w 339"/>
                <a:gd name="T9" fmla="*/ 393 h 397"/>
                <a:gd name="T10" fmla="*/ 9 w 339"/>
                <a:gd name="T11" fmla="*/ 390 h 397"/>
                <a:gd name="T12" fmla="*/ 5 w 339"/>
                <a:gd name="T13" fmla="*/ 386 h 397"/>
                <a:gd name="T14" fmla="*/ 2 w 339"/>
                <a:gd name="T15" fmla="*/ 381 h 397"/>
                <a:gd name="T16" fmla="*/ 1 w 339"/>
                <a:gd name="T17" fmla="*/ 376 h 397"/>
                <a:gd name="T18" fmla="*/ 0 w 339"/>
                <a:gd name="T19" fmla="*/ 371 h 397"/>
                <a:gd name="T20" fmla="*/ 0 w 339"/>
                <a:gd name="T21" fmla="*/ 365 h 397"/>
                <a:gd name="T22" fmla="*/ 1 w 339"/>
                <a:gd name="T23" fmla="*/ 360 h 397"/>
                <a:gd name="T24" fmla="*/ 3 w 339"/>
                <a:gd name="T25" fmla="*/ 355 h 397"/>
                <a:gd name="T26" fmla="*/ 202 w 339"/>
                <a:gd name="T27" fmla="*/ 14 h 397"/>
                <a:gd name="T28" fmla="*/ 202 w 339"/>
                <a:gd name="T29" fmla="*/ 14 h 397"/>
                <a:gd name="T30" fmla="*/ 206 w 339"/>
                <a:gd name="T31" fmla="*/ 8 h 397"/>
                <a:gd name="T32" fmla="*/ 212 w 339"/>
                <a:gd name="T33" fmla="*/ 4 h 397"/>
                <a:gd name="T34" fmla="*/ 219 w 339"/>
                <a:gd name="T35" fmla="*/ 1 h 397"/>
                <a:gd name="T36" fmla="*/ 226 w 339"/>
                <a:gd name="T37" fmla="*/ 0 h 397"/>
                <a:gd name="T38" fmla="*/ 311 w 339"/>
                <a:gd name="T39" fmla="*/ 0 h 397"/>
                <a:gd name="T40" fmla="*/ 311 w 339"/>
                <a:gd name="T41" fmla="*/ 0 h 397"/>
                <a:gd name="T42" fmla="*/ 317 w 339"/>
                <a:gd name="T43" fmla="*/ 1 h 397"/>
                <a:gd name="T44" fmla="*/ 322 w 339"/>
                <a:gd name="T45" fmla="*/ 2 h 397"/>
                <a:gd name="T46" fmla="*/ 327 w 339"/>
                <a:gd name="T47" fmla="*/ 5 h 397"/>
                <a:gd name="T48" fmla="*/ 331 w 339"/>
                <a:gd name="T49" fmla="*/ 8 h 397"/>
                <a:gd name="T50" fmla="*/ 335 w 339"/>
                <a:gd name="T51" fmla="*/ 13 h 397"/>
                <a:gd name="T52" fmla="*/ 337 w 339"/>
                <a:gd name="T53" fmla="*/ 17 h 397"/>
                <a:gd name="T54" fmla="*/ 339 w 339"/>
                <a:gd name="T55" fmla="*/ 23 h 397"/>
                <a:gd name="T56" fmla="*/ 339 w 339"/>
                <a:gd name="T57" fmla="*/ 28 h 397"/>
                <a:gd name="T58" fmla="*/ 339 w 339"/>
                <a:gd name="T59" fmla="*/ 28 h 397"/>
                <a:gd name="T60" fmla="*/ 339 w 339"/>
                <a:gd name="T61" fmla="*/ 35 h 397"/>
                <a:gd name="T62" fmla="*/ 337 w 339"/>
                <a:gd name="T63" fmla="*/ 40 h 397"/>
                <a:gd name="T64" fmla="*/ 335 w 339"/>
                <a:gd name="T65" fmla="*/ 45 h 397"/>
                <a:gd name="T66" fmla="*/ 331 w 339"/>
                <a:gd name="T67" fmla="*/ 49 h 397"/>
                <a:gd name="T68" fmla="*/ 327 w 339"/>
                <a:gd name="T69" fmla="*/ 53 h 397"/>
                <a:gd name="T70" fmla="*/ 322 w 339"/>
                <a:gd name="T71" fmla="*/ 55 h 397"/>
                <a:gd name="T72" fmla="*/ 317 w 339"/>
                <a:gd name="T73" fmla="*/ 57 h 397"/>
                <a:gd name="T74" fmla="*/ 311 w 339"/>
                <a:gd name="T75" fmla="*/ 57 h 397"/>
                <a:gd name="T76" fmla="*/ 242 w 339"/>
                <a:gd name="T77" fmla="*/ 57 h 397"/>
                <a:gd name="T78" fmla="*/ 52 w 339"/>
                <a:gd name="T79" fmla="*/ 383 h 397"/>
                <a:gd name="T80" fmla="*/ 52 w 339"/>
                <a:gd name="T81" fmla="*/ 383 h 397"/>
                <a:gd name="T82" fmla="*/ 47 w 339"/>
                <a:gd name="T83" fmla="*/ 389 h 397"/>
                <a:gd name="T84" fmla="*/ 41 w 339"/>
                <a:gd name="T85" fmla="*/ 394 h 397"/>
                <a:gd name="T86" fmla="*/ 35 w 339"/>
                <a:gd name="T87" fmla="*/ 396 h 397"/>
                <a:gd name="T88" fmla="*/ 28 w 339"/>
                <a:gd name="T89" fmla="*/ 397 h 397"/>
                <a:gd name="T90" fmla="*/ 28 w 339"/>
                <a:gd name="T91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39" h="397">
                  <a:moveTo>
                    <a:pt x="28" y="397"/>
                  </a:moveTo>
                  <a:lnTo>
                    <a:pt x="28" y="397"/>
                  </a:lnTo>
                  <a:lnTo>
                    <a:pt x="20" y="396"/>
                  </a:lnTo>
                  <a:lnTo>
                    <a:pt x="14" y="393"/>
                  </a:lnTo>
                  <a:lnTo>
                    <a:pt x="14" y="393"/>
                  </a:lnTo>
                  <a:lnTo>
                    <a:pt x="9" y="390"/>
                  </a:lnTo>
                  <a:lnTo>
                    <a:pt x="5" y="386"/>
                  </a:lnTo>
                  <a:lnTo>
                    <a:pt x="2" y="381"/>
                  </a:lnTo>
                  <a:lnTo>
                    <a:pt x="1" y="376"/>
                  </a:lnTo>
                  <a:lnTo>
                    <a:pt x="0" y="371"/>
                  </a:lnTo>
                  <a:lnTo>
                    <a:pt x="0" y="365"/>
                  </a:lnTo>
                  <a:lnTo>
                    <a:pt x="1" y="360"/>
                  </a:lnTo>
                  <a:lnTo>
                    <a:pt x="3" y="355"/>
                  </a:lnTo>
                  <a:lnTo>
                    <a:pt x="202" y="14"/>
                  </a:lnTo>
                  <a:lnTo>
                    <a:pt x="202" y="14"/>
                  </a:lnTo>
                  <a:lnTo>
                    <a:pt x="206" y="8"/>
                  </a:lnTo>
                  <a:lnTo>
                    <a:pt x="212" y="4"/>
                  </a:lnTo>
                  <a:lnTo>
                    <a:pt x="219" y="1"/>
                  </a:lnTo>
                  <a:lnTo>
                    <a:pt x="226" y="0"/>
                  </a:lnTo>
                  <a:lnTo>
                    <a:pt x="311" y="0"/>
                  </a:lnTo>
                  <a:lnTo>
                    <a:pt x="311" y="0"/>
                  </a:lnTo>
                  <a:lnTo>
                    <a:pt x="317" y="1"/>
                  </a:lnTo>
                  <a:lnTo>
                    <a:pt x="322" y="2"/>
                  </a:lnTo>
                  <a:lnTo>
                    <a:pt x="327" y="5"/>
                  </a:lnTo>
                  <a:lnTo>
                    <a:pt x="331" y="8"/>
                  </a:lnTo>
                  <a:lnTo>
                    <a:pt x="335" y="13"/>
                  </a:lnTo>
                  <a:lnTo>
                    <a:pt x="337" y="17"/>
                  </a:lnTo>
                  <a:lnTo>
                    <a:pt x="339" y="23"/>
                  </a:lnTo>
                  <a:lnTo>
                    <a:pt x="339" y="28"/>
                  </a:lnTo>
                  <a:lnTo>
                    <a:pt x="339" y="28"/>
                  </a:lnTo>
                  <a:lnTo>
                    <a:pt x="339" y="35"/>
                  </a:lnTo>
                  <a:lnTo>
                    <a:pt x="337" y="40"/>
                  </a:lnTo>
                  <a:lnTo>
                    <a:pt x="335" y="45"/>
                  </a:lnTo>
                  <a:lnTo>
                    <a:pt x="331" y="49"/>
                  </a:lnTo>
                  <a:lnTo>
                    <a:pt x="327" y="53"/>
                  </a:lnTo>
                  <a:lnTo>
                    <a:pt x="322" y="55"/>
                  </a:lnTo>
                  <a:lnTo>
                    <a:pt x="317" y="57"/>
                  </a:lnTo>
                  <a:lnTo>
                    <a:pt x="311" y="57"/>
                  </a:lnTo>
                  <a:lnTo>
                    <a:pt x="242" y="57"/>
                  </a:lnTo>
                  <a:lnTo>
                    <a:pt x="52" y="383"/>
                  </a:lnTo>
                  <a:lnTo>
                    <a:pt x="52" y="383"/>
                  </a:lnTo>
                  <a:lnTo>
                    <a:pt x="47" y="389"/>
                  </a:lnTo>
                  <a:lnTo>
                    <a:pt x="41" y="394"/>
                  </a:lnTo>
                  <a:lnTo>
                    <a:pt x="35" y="396"/>
                  </a:lnTo>
                  <a:lnTo>
                    <a:pt x="28" y="397"/>
                  </a:lnTo>
                  <a:lnTo>
                    <a:pt x="28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41" name="Freeform 370">
              <a:extLst>
                <a:ext uri="{FF2B5EF4-FFF2-40B4-BE49-F238E27FC236}">
                  <a16:creationId xmlns="" xmlns:a16="http://schemas.microsoft.com/office/drawing/2014/main" id="{22D57141-7CC4-4400-B54E-6CCF24A27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5850" y="5199063"/>
              <a:ext cx="90488" cy="104775"/>
            </a:xfrm>
            <a:custGeom>
              <a:avLst/>
              <a:gdLst>
                <a:gd name="T0" fmla="*/ 312 w 340"/>
                <a:gd name="T1" fmla="*/ 397 h 397"/>
                <a:gd name="T2" fmla="*/ 312 w 340"/>
                <a:gd name="T3" fmla="*/ 397 h 397"/>
                <a:gd name="T4" fmla="*/ 304 w 340"/>
                <a:gd name="T5" fmla="*/ 396 h 397"/>
                <a:gd name="T6" fmla="*/ 298 w 340"/>
                <a:gd name="T7" fmla="*/ 394 h 397"/>
                <a:gd name="T8" fmla="*/ 292 w 340"/>
                <a:gd name="T9" fmla="*/ 389 h 397"/>
                <a:gd name="T10" fmla="*/ 287 w 340"/>
                <a:gd name="T11" fmla="*/ 383 h 397"/>
                <a:gd name="T12" fmla="*/ 97 w 340"/>
                <a:gd name="T13" fmla="*/ 57 h 397"/>
                <a:gd name="T14" fmla="*/ 28 w 340"/>
                <a:gd name="T15" fmla="*/ 57 h 397"/>
                <a:gd name="T16" fmla="*/ 28 w 340"/>
                <a:gd name="T17" fmla="*/ 57 h 397"/>
                <a:gd name="T18" fmla="*/ 22 w 340"/>
                <a:gd name="T19" fmla="*/ 57 h 397"/>
                <a:gd name="T20" fmla="*/ 17 w 340"/>
                <a:gd name="T21" fmla="*/ 55 h 397"/>
                <a:gd name="T22" fmla="*/ 12 w 340"/>
                <a:gd name="T23" fmla="*/ 53 h 397"/>
                <a:gd name="T24" fmla="*/ 8 w 340"/>
                <a:gd name="T25" fmla="*/ 49 h 397"/>
                <a:gd name="T26" fmla="*/ 5 w 340"/>
                <a:gd name="T27" fmla="*/ 45 h 397"/>
                <a:gd name="T28" fmla="*/ 2 w 340"/>
                <a:gd name="T29" fmla="*/ 40 h 397"/>
                <a:gd name="T30" fmla="*/ 0 w 340"/>
                <a:gd name="T31" fmla="*/ 35 h 397"/>
                <a:gd name="T32" fmla="*/ 0 w 340"/>
                <a:gd name="T33" fmla="*/ 28 h 397"/>
                <a:gd name="T34" fmla="*/ 0 w 340"/>
                <a:gd name="T35" fmla="*/ 28 h 397"/>
                <a:gd name="T36" fmla="*/ 0 w 340"/>
                <a:gd name="T37" fmla="*/ 23 h 397"/>
                <a:gd name="T38" fmla="*/ 2 w 340"/>
                <a:gd name="T39" fmla="*/ 17 h 397"/>
                <a:gd name="T40" fmla="*/ 5 w 340"/>
                <a:gd name="T41" fmla="*/ 13 h 397"/>
                <a:gd name="T42" fmla="*/ 8 w 340"/>
                <a:gd name="T43" fmla="*/ 8 h 397"/>
                <a:gd name="T44" fmla="*/ 12 w 340"/>
                <a:gd name="T45" fmla="*/ 5 h 397"/>
                <a:gd name="T46" fmla="*/ 17 w 340"/>
                <a:gd name="T47" fmla="*/ 2 h 397"/>
                <a:gd name="T48" fmla="*/ 22 w 340"/>
                <a:gd name="T49" fmla="*/ 1 h 397"/>
                <a:gd name="T50" fmla="*/ 28 w 340"/>
                <a:gd name="T51" fmla="*/ 0 h 397"/>
                <a:gd name="T52" fmla="*/ 113 w 340"/>
                <a:gd name="T53" fmla="*/ 0 h 397"/>
                <a:gd name="T54" fmla="*/ 113 w 340"/>
                <a:gd name="T55" fmla="*/ 0 h 397"/>
                <a:gd name="T56" fmla="*/ 120 w 340"/>
                <a:gd name="T57" fmla="*/ 1 h 397"/>
                <a:gd name="T58" fmla="*/ 127 w 340"/>
                <a:gd name="T59" fmla="*/ 4 h 397"/>
                <a:gd name="T60" fmla="*/ 133 w 340"/>
                <a:gd name="T61" fmla="*/ 8 h 397"/>
                <a:gd name="T62" fmla="*/ 137 w 340"/>
                <a:gd name="T63" fmla="*/ 14 h 397"/>
                <a:gd name="T64" fmla="*/ 336 w 340"/>
                <a:gd name="T65" fmla="*/ 355 h 397"/>
                <a:gd name="T66" fmla="*/ 336 w 340"/>
                <a:gd name="T67" fmla="*/ 355 h 397"/>
                <a:gd name="T68" fmla="*/ 338 w 340"/>
                <a:gd name="T69" fmla="*/ 360 h 397"/>
                <a:gd name="T70" fmla="*/ 339 w 340"/>
                <a:gd name="T71" fmla="*/ 365 h 397"/>
                <a:gd name="T72" fmla="*/ 340 w 340"/>
                <a:gd name="T73" fmla="*/ 371 h 397"/>
                <a:gd name="T74" fmla="*/ 339 w 340"/>
                <a:gd name="T75" fmla="*/ 376 h 397"/>
                <a:gd name="T76" fmla="*/ 337 w 340"/>
                <a:gd name="T77" fmla="*/ 381 h 397"/>
                <a:gd name="T78" fmla="*/ 334 w 340"/>
                <a:gd name="T79" fmla="*/ 386 h 397"/>
                <a:gd name="T80" fmla="*/ 330 w 340"/>
                <a:gd name="T81" fmla="*/ 390 h 397"/>
                <a:gd name="T82" fmla="*/ 326 w 340"/>
                <a:gd name="T83" fmla="*/ 393 h 397"/>
                <a:gd name="T84" fmla="*/ 326 w 340"/>
                <a:gd name="T85" fmla="*/ 393 h 397"/>
                <a:gd name="T86" fmla="*/ 319 w 340"/>
                <a:gd name="T87" fmla="*/ 396 h 397"/>
                <a:gd name="T88" fmla="*/ 312 w 340"/>
                <a:gd name="T89" fmla="*/ 397 h 397"/>
                <a:gd name="T90" fmla="*/ 312 w 340"/>
                <a:gd name="T91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0" h="397">
                  <a:moveTo>
                    <a:pt x="312" y="397"/>
                  </a:moveTo>
                  <a:lnTo>
                    <a:pt x="312" y="397"/>
                  </a:lnTo>
                  <a:lnTo>
                    <a:pt x="304" y="396"/>
                  </a:lnTo>
                  <a:lnTo>
                    <a:pt x="298" y="394"/>
                  </a:lnTo>
                  <a:lnTo>
                    <a:pt x="292" y="389"/>
                  </a:lnTo>
                  <a:lnTo>
                    <a:pt x="287" y="383"/>
                  </a:lnTo>
                  <a:lnTo>
                    <a:pt x="97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2" y="57"/>
                  </a:lnTo>
                  <a:lnTo>
                    <a:pt x="17" y="55"/>
                  </a:lnTo>
                  <a:lnTo>
                    <a:pt x="12" y="53"/>
                  </a:lnTo>
                  <a:lnTo>
                    <a:pt x="8" y="49"/>
                  </a:lnTo>
                  <a:lnTo>
                    <a:pt x="5" y="45"/>
                  </a:lnTo>
                  <a:lnTo>
                    <a:pt x="2" y="40"/>
                  </a:lnTo>
                  <a:lnTo>
                    <a:pt x="0" y="35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5" y="13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2" y="1"/>
                  </a:lnTo>
                  <a:lnTo>
                    <a:pt x="28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20" y="1"/>
                  </a:lnTo>
                  <a:lnTo>
                    <a:pt x="127" y="4"/>
                  </a:lnTo>
                  <a:lnTo>
                    <a:pt x="133" y="8"/>
                  </a:lnTo>
                  <a:lnTo>
                    <a:pt x="137" y="14"/>
                  </a:lnTo>
                  <a:lnTo>
                    <a:pt x="336" y="355"/>
                  </a:lnTo>
                  <a:lnTo>
                    <a:pt x="336" y="355"/>
                  </a:lnTo>
                  <a:lnTo>
                    <a:pt x="338" y="360"/>
                  </a:lnTo>
                  <a:lnTo>
                    <a:pt x="339" y="365"/>
                  </a:lnTo>
                  <a:lnTo>
                    <a:pt x="340" y="371"/>
                  </a:lnTo>
                  <a:lnTo>
                    <a:pt x="339" y="376"/>
                  </a:lnTo>
                  <a:lnTo>
                    <a:pt x="337" y="381"/>
                  </a:lnTo>
                  <a:lnTo>
                    <a:pt x="334" y="386"/>
                  </a:lnTo>
                  <a:lnTo>
                    <a:pt x="330" y="390"/>
                  </a:lnTo>
                  <a:lnTo>
                    <a:pt x="326" y="393"/>
                  </a:lnTo>
                  <a:lnTo>
                    <a:pt x="326" y="393"/>
                  </a:lnTo>
                  <a:lnTo>
                    <a:pt x="319" y="396"/>
                  </a:lnTo>
                  <a:lnTo>
                    <a:pt x="312" y="397"/>
                  </a:lnTo>
                  <a:lnTo>
                    <a:pt x="312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42" name="Freeform 371">
              <a:extLst>
                <a:ext uri="{FF2B5EF4-FFF2-40B4-BE49-F238E27FC236}">
                  <a16:creationId xmlns="" xmlns:a16="http://schemas.microsoft.com/office/drawing/2014/main" id="{B9F26672-DF6F-4080-BDCD-4883FAC21D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0913" y="5168901"/>
              <a:ext cx="104775" cy="104775"/>
            </a:xfrm>
            <a:custGeom>
              <a:avLst/>
              <a:gdLst>
                <a:gd name="T0" fmla="*/ 22 w 398"/>
                <a:gd name="T1" fmla="*/ 393 h 394"/>
                <a:gd name="T2" fmla="*/ 5 w 398"/>
                <a:gd name="T3" fmla="*/ 382 h 394"/>
                <a:gd name="T4" fmla="*/ 0 w 398"/>
                <a:gd name="T5" fmla="*/ 366 h 394"/>
                <a:gd name="T6" fmla="*/ 6 w 398"/>
                <a:gd name="T7" fmla="*/ 309 h 394"/>
                <a:gd name="T8" fmla="*/ 23 w 398"/>
                <a:gd name="T9" fmla="*/ 263 h 394"/>
                <a:gd name="T10" fmla="*/ 53 w 398"/>
                <a:gd name="T11" fmla="*/ 224 h 394"/>
                <a:gd name="T12" fmla="*/ 96 w 398"/>
                <a:gd name="T13" fmla="*/ 194 h 394"/>
                <a:gd name="T14" fmla="*/ 83 w 398"/>
                <a:gd name="T15" fmla="*/ 170 h 394"/>
                <a:gd name="T16" fmla="*/ 75 w 398"/>
                <a:gd name="T17" fmla="*/ 134 h 394"/>
                <a:gd name="T18" fmla="*/ 77 w 398"/>
                <a:gd name="T19" fmla="*/ 99 h 394"/>
                <a:gd name="T20" fmla="*/ 96 w 398"/>
                <a:gd name="T21" fmla="*/ 55 h 394"/>
                <a:gd name="T22" fmla="*/ 129 w 398"/>
                <a:gd name="T23" fmla="*/ 21 h 394"/>
                <a:gd name="T24" fmla="*/ 173 w 398"/>
                <a:gd name="T25" fmla="*/ 2 h 394"/>
                <a:gd name="T26" fmla="*/ 212 w 398"/>
                <a:gd name="T27" fmla="*/ 0 h 394"/>
                <a:gd name="T28" fmla="*/ 258 w 398"/>
                <a:gd name="T29" fmla="*/ 15 h 394"/>
                <a:gd name="T30" fmla="*/ 295 w 398"/>
                <a:gd name="T31" fmla="*/ 46 h 394"/>
                <a:gd name="T32" fmla="*/ 318 w 398"/>
                <a:gd name="T33" fmla="*/ 88 h 394"/>
                <a:gd name="T34" fmla="*/ 323 w 398"/>
                <a:gd name="T35" fmla="*/ 124 h 394"/>
                <a:gd name="T36" fmla="*/ 318 w 398"/>
                <a:gd name="T37" fmla="*/ 162 h 394"/>
                <a:gd name="T38" fmla="*/ 302 w 398"/>
                <a:gd name="T39" fmla="*/ 194 h 394"/>
                <a:gd name="T40" fmla="*/ 335 w 398"/>
                <a:gd name="T41" fmla="*/ 216 h 394"/>
                <a:gd name="T42" fmla="*/ 367 w 398"/>
                <a:gd name="T43" fmla="*/ 253 h 394"/>
                <a:gd name="T44" fmla="*/ 389 w 398"/>
                <a:gd name="T45" fmla="*/ 297 h 394"/>
                <a:gd name="T46" fmla="*/ 398 w 398"/>
                <a:gd name="T47" fmla="*/ 351 h 394"/>
                <a:gd name="T48" fmla="*/ 396 w 398"/>
                <a:gd name="T49" fmla="*/ 377 h 394"/>
                <a:gd name="T50" fmla="*/ 381 w 398"/>
                <a:gd name="T51" fmla="*/ 392 h 394"/>
                <a:gd name="T52" fmla="*/ 58 w 398"/>
                <a:gd name="T53" fmla="*/ 337 h 394"/>
                <a:gd name="T54" fmla="*/ 336 w 398"/>
                <a:gd name="T55" fmla="*/ 318 h 394"/>
                <a:gd name="T56" fmla="*/ 322 w 398"/>
                <a:gd name="T57" fmla="*/ 285 h 394"/>
                <a:gd name="T58" fmla="*/ 299 w 398"/>
                <a:gd name="T59" fmla="*/ 260 h 394"/>
                <a:gd name="T60" fmla="*/ 244 w 398"/>
                <a:gd name="T61" fmla="*/ 231 h 394"/>
                <a:gd name="T62" fmla="*/ 227 w 398"/>
                <a:gd name="T63" fmla="*/ 216 h 394"/>
                <a:gd name="T64" fmla="*/ 227 w 398"/>
                <a:gd name="T65" fmla="*/ 193 h 394"/>
                <a:gd name="T66" fmla="*/ 243 w 398"/>
                <a:gd name="T67" fmla="*/ 176 h 394"/>
                <a:gd name="T68" fmla="*/ 262 w 398"/>
                <a:gd name="T69" fmla="*/ 149 h 394"/>
                <a:gd name="T70" fmla="*/ 266 w 398"/>
                <a:gd name="T71" fmla="*/ 124 h 394"/>
                <a:gd name="T72" fmla="*/ 261 w 398"/>
                <a:gd name="T73" fmla="*/ 98 h 394"/>
                <a:gd name="T74" fmla="*/ 247 w 398"/>
                <a:gd name="T75" fmla="*/ 77 h 394"/>
                <a:gd name="T76" fmla="*/ 225 w 398"/>
                <a:gd name="T77" fmla="*/ 62 h 394"/>
                <a:gd name="T78" fmla="*/ 199 w 398"/>
                <a:gd name="T79" fmla="*/ 57 h 394"/>
                <a:gd name="T80" fmla="*/ 179 w 398"/>
                <a:gd name="T81" fmla="*/ 60 h 394"/>
                <a:gd name="T82" fmla="*/ 155 w 398"/>
                <a:gd name="T83" fmla="*/ 72 h 394"/>
                <a:gd name="T84" fmla="*/ 139 w 398"/>
                <a:gd name="T85" fmla="*/ 92 h 394"/>
                <a:gd name="T86" fmla="*/ 131 w 398"/>
                <a:gd name="T87" fmla="*/ 117 h 394"/>
                <a:gd name="T88" fmla="*/ 133 w 398"/>
                <a:gd name="T89" fmla="*/ 142 h 394"/>
                <a:gd name="T90" fmla="*/ 148 w 398"/>
                <a:gd name="T91" fmla="*/ 170 h 394"/>
                <a:gd name="T92" fmla="*/ 166 w 398"/>
                <a:gd name="T93" fmla="*/ 186 h 394"/>
                <a:gd name="T94" fmla="*/ 172 w 398"/>
                <a:gd name="T95" fmla="*/ 208 h 394"/>
                <a:gd name="T96" fmla="*/ 153 w 398"/>
                <a:gd name="T97" fmla="*/ 231 h 394"/>
                <a:gd name="T98" fmla="*/ 107 w 398"/>
                <a:gd name="T99" fmla="*/ 254 h 394"/>
                <a:gd name="T100" fmla="*/ 81 w 398"/>
                <a:gd name="T101" fmla="*/ 278 h 394"/>
                <a:gd name="T102" fmla="*/ 64 w 398"/>
                <a:gd name="T103" fmla="*/ 309 h 394"/>
                <a:gd name="T104" fmla="*/ 58 w 398"/>
                <a:gd name="T105" fmla="*/ 33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98" h="394">
                  <a:moveTo>
                    <a:pt x="369" y="394"/>
                  </a:moveTo>
                  <a:lnTo>
                    <a:pt x="28" y="394"/>
                  </a:lnTo>
                  <a:lnTo>
                    <a:pt x="28" y="394"/>
                  </a:lnTo>
                  <a:lnTo>
                    <a:pt x="22" y="393"/>
                  </a:lnTo>
                  <a:lnTo>
                    <a:pt x="17" y="392"/>
                  </a:lnTo>
                  <a:lnTo>
                    <a:pt x="12" y="389"/>
                  </a:lnTo>
                  <a:lnTo>
                    <a:pt x="8" y="386"/>
                  </a:lnTo>
                  <a:lnTo>
                    <a:pt x="5" y="382"/>
                  </a:lnTo>
                  <a:lnTo>
                    <a:pt x="2" y="377"/>
                  </a:lnTo>
                  <a:lnTo>
                    <a:pt x="0" y="371"/>
                  </a:lnTo>
                  <a:lnTo>
                    <a:pt x="0" y="366"/>
                  </a:lnTo>
                  <a:lnTo>
                    <a:pt x="0" y="366"/>
                  </a:lnTo>
                  <a:lnTo>
                    <a:pt x="0" y="351"/>
                  </a:lnTo>
                  <a:lnTo>
                    <a:pt x="1" y="336"/>
                  </a:lnTo>
                  <a:lnTo>
                    <a:pt x="3" y="322"/>
                  </a:lnTo>
                  <a:lnTo>
                    <a:pt x="6" y="309"/>
                  </a:lnTo>
                  <a:lnTo>
                    <a:pt x="9" y="297"/>
                  </a:lnTo>
                  <a:lnTo>
                    <a:pt x="13" y="285"/>
                  </a:lnTo>
                  <a:lnTo>
                    <a:pt x="18" y="274"/>
                  </a:lnTo>
                  <a:lnTo>
                    <a:pt x="23" y="263"/>
                  </a:lnTo>
                  <a:lnTo>
                    <a:pt x="30" y="253"/>
                  </a:lnTo>
                  <a:lnTo>
                    <a:pt x="37" y="243"/>
                  </a:lnTo>
                  <a:lnTo>
                    <a:pt x="44" y="233"/>
                  </a:lnTo>
                  <a:lnTo>
                    <a:pt x="53" y="224"/>
                  </a:lnTo>
                  <a:lnTo>
                    <a:pt x="62" y="216"/>
                  </a:lnTo>
                  <a:lnTo>
                    <a:pt x="72" y="208"/>
                  </a:lnTo>
                  <a:lnTo>
                    <a:pt x="84" y="201"/>
                  </a:lnTo>
                  <a:lnTo>
                    <a:pt x="96" y="194"/>
                  </a:lnTo>
                  <a:lnTo>
                    <a:pt x="96" y="194"/>
                  </a:lnTo>
                  <a:lnTo>
                    <a:pt x="91" y="187"/>
                  </a:lnTo>
                  <a:lnTo>
                    <a:pt x="87" y="179"/>
                  </a:lnTo>
                  <a:lnTo>
                    <a:pt x="83" y="170"/>
                  </a:lnTo>
                  <a:lnTo>
                    <a:pt x="80" y="162"/>
                  </a:lnTo>
                  <a:lnTo>
                    <a:pt x="78" y="153"/>
                  </a:lnTo>
                  <a:lnTo>
                    <a:pt x="76" y="144"/>
                  </a:lnTo>
                  <a:lnTo>
                    <a:pt x="75" y="134"/>
                  </a:lnTo>
                  <a:lnTo>
                    <a:pt x="73" y="124"/>
                  </a:lnTo>
                  <a:lnTo>
                    <a:pt x="73" y="124"/>
                  </a:lnTo>
                  <a:lnTo>
                    <a:pt x="75" y="112"/>
                  </a:lnTo>
                  <a:lnTo>
                    <a:pt x="77" y="99"/>
                  </a:lnTo>
                  <a:lnTo>
                    <a:pt x="80" y="88"/>
                  </a:lnTo>
                  <a:lnTo>
                    <a:pt x="84" y="76"/>
                  </a:lnTo>
                  <a:lnTo>
                    <a:pt x="89" y="65"/>
                  </a:lnTo>
                  <a:lnTo>
                    <a:pt x="96" y="55"/>
                  </a:lnTo>
                  <a:lnTo>
                    <a:pt x="103" y="46"/>
                  </a:lnTo>
                  <a:lnTo>
                    <a:pt x="111" y="36"/>
                  </a:lnTo>
                  <a:lnTo>
                    <a:pt x="119" y="28"/>
                  </a:lnTo>
                  <a:lnTo>
                    <a:pt x="129" y="21"/>
                  </a:lnTo>
                  <a:lnTo>
                    <a:pt x="139" y="15"/>
                  </a:lnTo>
                  <a:lnTo>
                    <a:pt x="150" y="9"/>
                  </a:lnTo>
                  <a:lnTo>
                    <a:pt x="161" y="5"/>
                  </a:lnTo>
                  <a:lnTo>
                    <a:pt x="173" y="2"/>
                  </a:lnTo>
                  <a:lnTo>
                    <a:pt x="186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212" y="0"/>
                  </a:lnTo>
                  <a:lnTo>
                    <a:pt x="224" y="2"/>
                  </a:lnTo>
                  <a:lnTo>
                    <a:pt x="236" y="5"/>
                  </a:lnTo>
                  <a:lnTo>
                    <a:pt x="247" y="9"/>
                  </a:lnTo>
                  <a:lnTo>
                    <a:pt x="258" y="15"/>
                  </a:lnTo>
                  <a:lnTo>
                    <a:pt x="268" y="21"/>
                  </a:lnTo>
                  <a:lnTo>
                    <a:pt x="278" y="28"/>
                  </a:lnTo>
                  <a:lnTo>
                    <a:pt x="287" y="36"/>
                  </a:lnTo>
                  <a:lnTo>
                    <a:pt x="295" y="46"/>
                  </a:lnTo>
                  <a:lnTo>
                    <a:pt x="302" y="55"/>
                  </a:lnTo>
                  <a:lnTo>
                    <a:pt x="309" y="65"/>
                  </a:lnTo>
                  <a:lnTo>
                    <a:pt x="314" y="76"/>
                  </a:lnTo>
                  <a:lnTo>
                    <a:pt x="318" y="88"/>
                  </a:lnTo>
                  <a:lnTo>
                    <a:pt x="321" y="99"/>
                  </a:lnTo>
                  <a:lnTo>
                    <a:pt x="323" y="112"/>
                  </a:lnTo>
                  <a:lnTo>
                    <a:pt x="323" y="124"/>
                  </a:lnTo>
                  <a:lnTo>
                    <a:pt x="323" y="124"/>
                  </a:lnTo>
                  <a:lnTo>
                    <a:pt x="323" y="134"/>
                  </a:lnTo>
                  <a:lnTo>
                    <a:pt x="322" y="144"/>
                  </a:lnTo>
                  <a:lnTo>
                    <a:pt x="320" y="153"/>
                  </a:lnTo>
                  <a:lnTo>
                    <a:pt x="318" y="162"/>
                  </a:lnTo>
                  <a:lnTo>
                    <a:pt x="315" y="170"/>
                  </a:lnTo>
                  <a:lnTo>
                    <a:pt x="311" y="179"/>
                  </a:lnTo>
                  <a:lnTo>
                    <a:pt x="307" y="187"/>
                  </a:lnTo>
                  <a:lnTo>
                    <a:pt x="302" y="194"/>
                  </a:lnTo>
                  <a:lnTo>
                    <a:pt x="302" y="194"/>
                  </a:lnTo>
                  <a:lnTo>
                    <a:pt x="314" y="201"/>
                  </a:lnTo>
                  <a:lnTo>
                    <a:pt x="325" y="208"/>
                  </a:lnTo>
                  <a:lnTo>
                    <a:pt x="335" y="216"/>
                  </a:lnTo>
                  <a:lnTo>
                    <a:pt x="344" y="224"/>
                  </a:lnTo>
                  <a:lnTo>
                    <a:pt x="353" y="233"/>
                  </a:lnTo>
                  <a:lnTo>
                    <a:pt x="360" y="243"/>
                  </a:lnTo>
                  <a:lnTo>
                    <a:pt x="367" y="253"/>
                  </a:lnTo>
                  <a:lnTo>
                    <a:pt x="374" y="263"/>
                  </a:lnTo>
                  <a:lnTo>
                    <a:pt x="380" y="274"/>
                  </a:lnTo>
                  <a:lnTo>
                    <a:pt x="385" y="285"/>
                  </a:lnTo>
                  <a:lnTo>
                    <a:pt x="389" y="297"/>
                  </a:lnTo>
                  <a:lnTo>
                    <a:pt x="392" y="309"/>
                  </a:lnTo>
                  <a:lnTo>
                    <a:pt x="395" y="322"/>
                  </a:lnTo>
                  <a:lnTo>
                    <a:pt x="397" y="336"/>
                  </a:lnTo>
                  <a:lnTo>
                    <a:pt x="398" y="351"/>
                  </a:lnTo>
                  <a:lnTo>
                    <a:pt x="398" y="366"/>
                  </a:lnTo>
                  <a:lnTo>
                    <a:pt x="398" y="366"/>
                  </a:lnTo>
                  <a:lnTo>
                    <a:pt x="398" y="371"/>
                  </a:lnTo>
                  <a:lnTo>
                    <a:pt x="396" y="377"/>
                  </a:lnTo>
                  <a:lnTo>
                    <a:pt x="393" y="382"/>
                  </a:lnTo>
                  <a:lnTo>
                    <a:pt x="390" y="386"/>
                  </a:lnTo>
                  <a:lnTo>
                    <a:pt x="386" y="389"/>
                  </a:lnTo>
                  <a:lnTo>
                    <a:pt x="381" y="392"/>
                  </a:lnTo>
                  <a:lnTo>
                    <a:pt x="375" y="393"/>
                  </a:lnTo>
                  <a:lnTo>
                    <a:pt x="369" y="394"/>
                  </a:lnTo>
                  <a:lnTo>
                    <a:pt x="369" y="394"/>
                  </a:lnTo>
                  <a:close/>
                  <a:moveTo>
                    <a:pt x="58" y="337"/>
                  </a:moveTo>
                  <a:lnTo>
                    <a:pt x="339" y="337"/>
                  </a:lnTo>
                  <a:lnTo>
                    <a:pt x="339" y="337"/>
                  </a:lnTo>
                  <a:lnTo>
                    <a:pt x="338" y="327"/>
                  </a:lnTo>
                  <a:lnTo>
                    <a:pt x="336" y="318"/>
                  </a:lnTo>
                  <a:lnTo>
                    <a:pt x="333" y="309"/>
                  </a:lnTo>
                  <a:lnTo>
                    <a:pt x="330" y="300"/>
                  </a:lnTo>
                  <a:lnTo>
                    <a:pt x="326" y="293"/>
                  </a:lnTo>
                  <a:lnTo>
                    <a:pt x="322" y="285"/>
                  </a:lnTo>
                  <a:lnTo>
                    <a:pt x="317" y="278"/>
                  </a:lnTo>
                  <a:lnTo>
                    <a:pt x="311" y="271"/>
                  </a:lnTo>
                  <a:lnTo>
                    <a:pt x="305" y="265"/>
                  </a:lnTo>
                  <a:lnTo>
                    <a:pt x="299" y="260"/>
                  </a:lnTo>
                  <a:lnTo>
                    <a:pt x="291" y="254"/>
                  </a:lnTo>
                  <a:lnTo>
                    <a:pt x="283" y="249"/>
                  </a:lnTo>
                  <a:lnTo>
                    <a:pt x="264" y="239"/>
                  </a:lnTo>
                  <a:lnTo>
                    <a:pt x="244" y="231"/>
                  </a:lnTo>
                  <a:lnTo>
                    <a:pt x="244" y="231"/>
                  </a:lnTo>
                  <a:lnTo>
                    <a:pt x="237" y="227"/>
                  </a:lnTo>
                  <a:lnTo>
                    <a:pt x="231" y="222"/>
                  </a:lnTo>
                  <a:lnTo>
                    <a:pt x="227" y="216"/>
                  </a:lnTo>
                  <a:lnTo>
                    <a:pt x="225" y="208"/>
                  </a:lnTo>
                  <a:lnTo>
                    <a:pt x="225" y="208"/>
                  </a:lnTo>
                  <a:lnTo>
                    <a:pt x="225" y="200"/>
                  </a:lnTo>
                  <a:lnTo>
                    <a:pt x="227" y="193"/>
                  </a:lnTo>
                  <a:lnTo>
                    <a:pt x="231" y="186"/>
                  </a:lnTo>
                  <a:lnTo>
                    <a:pt x="237" y="181"/>
                  </a:lnTo>
                  <a:lnTo>
                    <a:pt x="237" y="181"/>
                  </a:lnTo>
                  <a:lnTo>
                    <a:pt x="243" y="176"/>
                  </a:lnTo>
                  <a:lnTo>
                    <a:pt x="249" y="170"/>
                  </a:lnTo>
                  <a:lnTo>
                    <a:pt x="254" y="164"/>
                  </a:lnTo>
                  <a:lnTo>
                    <a:pt x="258" y="157"/>
                  </a:lnTo>
                  <a:lnTo>
                    <a:pt x="262" y="149"/>
                  </a:lnTo>
                  <a:lnTo>
                    <a:pt x="264" y="142"/>
                  </a:lnTo>
                  <a:lnTo>
                    <a:pt x="266" y="132"/>
                  </a:lnTo>
                  <a:lnTo>
                    <a:pt x="266" y="124"/>
                  </a:lnTo>
                  <a:lnTo>
                    <a:pt x="266" y="124"/>
                  </a:lnTo>
                  <a:lnTo>
                    <a:pt x="266" y="117"/>
                  </a:lnTo>
                  <a:lnTo>
                    <a:pt x="265" y="111"/>
                  </a:lnTo>
                  <a:lnTo>
                    <a:pt x="263" y="104"/>
                  </a:lnTo>
                  <a:lnTo>
                    <a:pt x="261" y="98"/>
                  </a:lnTo>
                  <a:lnTo>
                    <a:pt x="258" y="92"/>
                  </a:lnTo>
                  <a:lnTo>
                    <a:pt x="255" y="87"/>
                  </a:lnTo>
                  <a:lnTo>
                    <a:pt x="251" y="81"/>
                  </a:lnTo>
                  <a:lnTo>
                    <a:pt x="247" y="77"/>
                  </a:lnTo>
                  <a:lnTo>
                    <a:pt x="242" y="72"/>
                  </a:lnTo>
                  <a:lnTo>
                    <a:pt x="237" y="68"/>
                  </a:lnTo>
                  <a:lnTo>
                    <a:pt x="231" y="65"/>
                  </a:lnTo>
                  <a:lnTo>
                    <a:pt x="225" y="62"/>
                  </a:lnTo>
                  <a:lnTo>
                    <a:pt x="219" y="60"/>
                  </a:lnTo>
                  <a:lnTo>
                    <a:pt x="213" y="58"/>
                  </a:lnTo>
                  <a:lnTo>
                    <a:pt x="206" y="57"/>
                  </a:lnTo>
                  <a:lnTo>
                    <a:pt x="199" y="57"/>
                  </a:lnTo>
                  <a:lnTo>
                    <a:pt x="199" y="57"/>
                  </a:lnTo>
                  <a:lnTo>
                    <a:pt x="192" y="57"/>
                  </a:lnTo>
                  <a:lnTo>
                    <a:pt x="185" y="58"/>
                  </a:lnTo>
                  <a:lnTo>
                    <a:pt x="179" y="60"/>
                  </a:lnTo>
                  <a:lnTo>
                    <a:pt x="172" y="62"/>
                  </a:lnTo>
                  <a:lnTo>
                    <a:pt x="166" y="65"/>
                  </a:lnTo>
                  <a:lnTo>
                    <a:pt x="160" y="68"/>
                  </a:lnTo>
                  <a:lnTo>
                    <a:pt x="155" y="72"/>
                  </a:lnTo>
                  <a:lnTo>
                    <a:pt x="150" y="77"/>
                  </a:lnTo>
                  <a:lnTo>
                    <a:pt x="146" y="81"/>
                  </a:lnTo>
                  <a:lnTo>
                    <a:pt x="142" y="87"/>
                  </a:lnTo>
                  <a:lnTo>
                    <a:pt x="139" y="92"/>
                  </a:lnTo>
                  <a:lnTo>
                    <a:pt x="136" y="98"/>
                  </a:lnTo>
                  <a:lnTo>
                    <a:pt x="134" y="104"/>
                  </a:lnTo>
                  <a:lnTo>
                    <a:pt x="132" y="111"/>
                  </a:lnTo>
                  <a:lnTo>
                    <a:pt x="131" y="117"/>
                  </a:lnTo>
                  <a:lnTo>
                    <a:pt x="131" y="124"/>
                  </a:lnTo>
                  <a:lnTo>
                    <a:pt x="131" y="124"/>
                  </a:lnTo>
                  <a:lnTo>
                    <a:pt x="131" y="133"/>
                  </a:lnTo>
                  <a:lnTo>
                    <a:pt x="133" y="142"/>
                  </a:lnTo>
                  <a:lnTo>
                    <a:pt x="135" y="149"/>
                  </a:lnTo>
                  <a:lnTo>
                    <a:pt x="138" y="157"/>
                  </a:lnTo>
                  <a:lnTo>
                    <a:pt x="143" y="164"/>
                  </a:lnTo>
                  <a:lnTo>
                    <a:pt x="148" y="170"/>
                  </a:lnTo>
                  <a:lnTo>
                    <a:pt x="154" y="176"/>
                  </a:lnTo>
                  <a:lnTo>
                    <a:pt x="160" y="181"/>
                  </a:lnTo>
                  <a:lnTo>
                    <a:pt x="160" y="181"/>
                  </a:lnTo>
                  <a:lnTo>
                    <a:pt x="166" y="186"/>
                  </a:lnTo>
                  <a:lnTo>
                    <a:pt x="170" y="193"/>
                  </a:lnTo>
                  <a:lnTo>
                    <a:pt x="172" y="200"/>
                  </a:lnTo>
                  <a:lnTo>
                    <a:pt x="172" y="208"/>
                  </a:lnTo>
                  <a:lnTo>
                    <a:pt x="172" y="208"/>
                  </a:lnTo>
                  <a:lnTo>
                    <a:pt x="170" y="216"/>
                  </a:lnTo>
                  <a:lnTo>
                    <a:pt x="166" y="222"/>
                  </a:lnTo>
                  <a:lnTo>
                    <a:pt x="160" y="227"/>
                  </a:lnTo>
                  <a:lnTo>
                    <a:pt x="153" y="231"/>
                  </a:lnTo>
                  <a:lnTo>
                    <a:pt x="153" y="231"/>
                  </a:lnTo>
                  <a:lnTo>
                    <a:pt x="133" y="239"/>
                  </a:lnTo>
                  <a:lnTo>
                    <a:pt x="115" y="249"/>
                  </a:lnTo>
                  <a:lnTo>
                    <a:pt x="107" y="254"/>
                  </a:lnTo>
                  <a:lnTo>
                    <a:pt x="99" y="259"/>
                  </a:lnTo>
                  <a:lnTo>
                    <a:pt x="93" y="265"/>
                  </a:lnTo>
                  <a:lnTo>
                    <a:pt x="86" y="271"/>
                  </a:lnTo>
                  <a:lnTo>
                    <a:pt x="81" y="278"/>
                  </a:lnTo>
                  <a:lnTo>
                    <a:pt x="76" y="285"/>
                  </a:lnTo>
                  <a:lnTo>
                    <a:pt x="71" y="293"/>
                  </a:lnTo>
                  <a:lnTo>
                    <a:pt x="67" y="300"/>
                  </a:lnTo>
                  <a:lnTo>
                    <a:pt x="64" y="309"/>
                  </a:lnTo>
                  <a:lnTo>
                    <a:pt x="61" y="318"/>
                  </a:lnTo>
                  <a:lnTo>
                    <a:pt x="59" y="327"/>
                  </a:lnTo>
                  <a:lnTo>
                    <a:pt x="58" y="337"/>
                  </a:lnTo>
                  <a:lnTo>
                    <a:pt x="5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15F6CEC5-1EFF-45C1-80DE-08F47FCF3D99}"/>
              </a:ext>
            </a:extLst>
          </p:cNvPr>
          <p:cNvGrpSpPr/>
          <p:nvPr/>
        </p:nvGrpSpPr>
        <p:grpSpPr>
          <a:xfrm>
            <a:off x="5120006" y="4428287"/>
            <a:ext cx="398144" cy="398144"/>
            <a:chOff x="2676525" y="2889251"/>
            <a:chExt cx="360363" cy="360363"/>
          </a:xfrm>
          <a:solidFill>
            <a:schemeClr val="bg1"/>
          </a:solidFill>
        </p:grpSpPr>
        <p:sp>
          <p:nvSpPr>
            <p:cNvPr id="44" name="Freeform 1316">
              <a:extLst>
                <a:ext uri="{FF2B5EF4-FFF2-40B4-BE49-F238E27FC236}">
                  <a16:creationId xmlns="" xmlns:a16="http://schemas.microsoft.com/office/drawing/2014/main" id="{5690BCBA-8885-46AC-BD23-CFBC6256E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5" y="2889251"/>
              <a:ext cx="360363" cy="360363"/>
            </a:xfrm>
            <a:custGeom>
              <a:avLst/>
              <a:gdLst>
                <a:gd name="T0" fmla="*/ 777 w 1587"/>
                <a:gd name="T1" fmla="*/ 1562 h 1588"/>
                <a:gd name="T2" fmla="*/ 802 w 1587"/>
                <a:gd name="T3" fmla="*/ 1521 h 1588"/>
                <a:gd name="T4" fmla="*/ 1013 w 1587"/>
                <a:gd name="T5" fmla="*/ 1487 h 1588"/>
                <a:gd name="T6" fmla="*/ 1247 w 1587"/>
                <a:gd name="T7" fmla="*/ 1362 h 1588"/>
                <a:gd name="T8" fmla="*/ 1294 w 1587"/>
                <a:gd name="T9" fmla="*/ 1367 h 1588"/>
                <a:gd name="T10" fmla="*/ 1288 w 1587"/>
                <a:gd name="T11" fmla="*/ 1414 h 1588"/>
                <a:gd name="T12" fmla="*/ 1064 w 1587"/>
                <a:gd name="T13" fmla="*/ 1540 h 1588"/>
                <a:gd name="T14" fmla="*/ 810 w 1587"/>
                <a:gd name="T15" fmla="*/ 1588 h 1588"/>
                <a:gd name="T16" fmla="*/ 525 w 1587"/>
                <a:gd name="T17" fmla="*/ 1541 h 1588"/>
                <a:gd name="T18" fmla="*/ 275 w 1587"/>
                <a:gd name="T19" fmla="*/ 1394 h 1588"/>
                <a:gd name="T20" fmla="*/ 177 w 1587"/>
                <a:gd name="T21" fmla="*/ 1278 h 1588"/>
                <a:gd name="T22" fmla="*/ 212 w 1587"/>
                <a:gd name="T23" fmla="*/ 1248 h 1588"/>
                <a:gd name="T24" fmla="*/ 318 w 1587"/>
                <a:gd name="T25" fmla="*/ 1344 h 1588"/>
                <a:gd name="T26" fmla="*/ 547 w 1587"/>
                <a:gd name="T27" fmla="*/ 1478 h 1588"/>
                <a:gd name="T28" fmla="*/ 656 w 1587"/>
                <a:gd name="T29" fmla="*/ 1523 h 1588"/>
                <a:gd name="T30" fmla="*/ 641 w 1587"/>
                <a:gd name="T31" fmla="*/ 1565 h 1588"/>
                <a:gd name="T32" fmla="*/ 1383 w 1587"/>
                <a:gd name="T33" fmla="*/ 1284 h 1588"/>
                <a:gd name="T34" fmla="*/ 1368 w 1587"/>
                <a:gd name="T35" fmla="*/ 1241 h 1588"/>
                <a:gd name="T36" fmla="*/ 1473 w 1587"/>
                <a:gd name="T37" fmla="*/ 1054 h 1588"/>
                <a:gd name="T38" fmla="*/ 1521 w 1587"/>
                <a:gd name="T39" fmla="*/ 794 h 1588"/>
                <a:gd name="T40" fmla="*/ 1554 w 1587"/>
                <a:gd name="T41" fmla="*/ 758 h 1588"/>
                <a:gd name="T42" fmla="*/ 1587 w 1587"/>
                <a:gd name="T43" fmla="*/ 790 h 1588"/>
                <a:gd name="T44" fmla="*/ 1555 w 1587"/>
                <a:gd name="T45" fmla="*/ 1017 h 1588"/>
                <a:gd name="T46" fmla="*/ 1424 w 1587"/>
                <a:gd name="T47" fmla="*/ 1275 h 1588"/>
                <a:gd name="T48" fmla="*/ 105 w 1587"/>
                <a:gd name="T49" fmla="*/ 1158 h 1588"/>
                <a:gd name="T50" fmla="*/ 69 w 1587"/>
                <a:gd name="T51" fmla="*/ 1119 h 1588"/>
                <a:gd name="T52" fmla="*/ 11 w 1587"/>
                <a:gd name="T53" fmla="*/ 927 h 1588"/>
                <a:gd name="T54" fmla="*/ 4 w 1587"/>
                <a:gd name="T55" fmla="*/ 714 h 1588"/>
                <a:gd name="T56" fmla="*/ 41 w 1587"/>
                <a:gd name="T57" fmla="*/ 608 h 1588"/>
                <a:gd name="T58" fmla="*/ 81 w 1587"/>
                <a:gd name="T59" fmla="*/ 634 h 1588"/>
                <a:gd name="T60" fmla="*/ 67 w 1587"/>
                <a:gd name="T61" fmla="*/ 835 h 1588"/>
                <a:gd name="T62" fmla="*/ 141 w 1587"/>
                <a:gd name="T63" fmla="*/ 1117 h 1588"/>
                <a:gd name="T64" fmla="*/ 116 w 1587"/>
                <a:gd name="T65" fmla="*/ 1157 h 1588"/>
                <a:gd name="T66" fmla="*/ 1507 w 1587"/>
                <a:gd name="T67" fmla="*/ 629 h 1588"/>
                <a:gd name="T68" fmla="*/ 1448 w 1587"/>
                <a:gd name="T69" fmla="*/ 476 h 1588"/>
                <a:gd name="T70" fmla="*/ 1290 w 1587"/>
                <a:gd name="T71" fmla="*/ 261 h 1588"/>
                <a:gd name="T72" fmla="*/ 1234 w 1587"/>
                <a:gd name="T73" fmla="*/ 188 h 1588"/>
                <a:gd name="T74" fmla="*/ 1274 w 1587"/>
                <a:gd name="T75" fmla="*/ 165 h 1588"/>
                <a:gd name="T76" fmla="*/ 1422 w 1587"/>
                <a:gd name="T77" fmla="*/ 309 h 1588"/>
                <a:gd name="T78" fmla="*/ 1554 w 1587"/>
                <a:gd name="T79" fmla="*/ 567 h 1588"/>
                <a:gd name="T80" fmla="*/ 1545 w 1587"/>
                <a:gd name="T81" fmla="*/ 636 h 1588"/>
                <a:gd name="T82" fmla="*/ 93 w 1587"/>
                <a:gd name="T83" fmla="*/ 494 h 1588"/>
                <a:gd name="T84" fmla="*/ 78 w 1587"/>
                <a:gd name="T85" fmla="*/ 451 h 1588"/>
                <a:gd name="T86" fmla="*/ 248 w 1587"/>
                <a:gd name="T87" fmla="*/ 217 h 1588"/>
                <a:gd name="T88" fmla="*/ 439 w 1587"/>
                <a:gd name="T89" fmla="*/ 83 h 1588"/>
                <a:gd name="T90" fmla="*/ 479 w 1587"/>
                <a:gd name="T91" fmla="*/ 107 h 1588"/>
                <a:gd name="T92" fmla="*/ 437 w 1587"/>
                <a:gd name="T93" fmla="*/ 159 h 1588"/>
                <a:gd name="T94" fmla="*/ 233 w 1587"/>
                <a:gd name="T95" fmla="*/ 330 h 1588"/>
                <a:gd name="T96" fmla="*/ 131 w 1587"/>
                <a:gd name="T97" fmla="*/ 487 h 1588"/>
                <a:gd name="T98" fmla="*/ 1107 w 1587"/>
                <a:gd name="T99" fmla="*/ 133 h 1588"/>
                <a:gd name="T100" fmla="*/ 924 w 1587"/>
                <a:gd name="T101" fmla="*/ 77 h 1588"/>
                <a:gd name="T102" fmla="*/ 658 w 1587"/>
                <a:gd name="T103" fmla="*/ 78 h 1588"/>
                <a:gd name="T104" fmla="*/ 592 w 1587"/>
                <a:gd name="T105" fmla="*/ 66 h 1588"/>
                <a:gd name="T106" fmla="*/ 609 w 1587"/>
                <a:gd name="T107" fmla="*/ 22 h 1588"/>
                <a:gd name="T108" fmla="*/ 839 w 1587"/>
                <a:gd name="T109" fmla="*/ 1 h 1588"/>
                <a:gd name="T110" fmla="*/ 1121 w 1587"/>
                <a:gd name="T111" fmla="*/ 70 h 1588"/>
                <a:gd name="T112" fmla="*/ 1137 w 1587"/>
                <a:gd name="T113" fmla="*/ 113 h 1588"/>
                <a:gd name="T114" fmla="*/ 1107 w 1587"/>
                <a:gd name="T115" fmla="*/ 133 h 1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7" h="1588">
                  <a:moveTo>
                    <a:pt x="809" y="1588"/>
                  </a:moveTo>
                  <a:lnTo>
                    <a:pt x="809" y="1588"/>
                  </a:lnTo>
                  <a:lnTo>
                    <a:pt x="803" y="1587"/>
                  </a:lnTo>
                  <a:lnTo>
                    <a:pt x="797" y="1584"/>
                  </a:lnTo>
                  <a:lnTo>
                    <a:pt x="792" y="1581"/>
                  </a:lnTo>
                  <a:lnTo>
                    <a:pt x="786" y="1577"/>
                  </a:lnTo>
                  <a:lnTo>
                    <a:pt x="782" y="1573"/>
                  </a:lnTo>
                  <a:lnTo>
                    <a:pt x="779" y="1567"/>
                  </a:lnTo>
                  <a:lnTo>
                    <a:pt x="777" y="1562"/>
                  </a:lnTo>
                  <a:lnTo>
                    <a:pt x="777" y="1554"/>
                  </a:lnTo>
                  <a:lnTo>
                    <a:pt x="777" y="1554"/>
                  </a:lnTo>
                  <a:lnTo>
                    <a:pt x="777" y="1548"/>
                  </a:lnTo>
                  <a:lnTo>
                    <a:pt x="779" y="1542"/>
                  </a:lnTo>
                  <a:lnTo>
                    <a:pt x="782" y="1536"/>
                  </a:lnTo>
                  <a:lnTo>
                    <a:pt x="785" y="1531"/>
                  </a:lnTo>
                  <a:lnTo>
                    <a:pt x="791" y="1526"/>
                  </a:lnTo>
                  <a:lnTo>
                    <a:pt x="796" y="1523"/>
                  </a:lnTo>
                  <a:lnTo>
                    <a:pt x="802" y="1521"/>
                  </a:lnTo>
                  <a:lnTo>
                    <a:pt x="809" y="1521"/>
                  </a:lnTo>
                  <a:lnTo>
                    <a:pt x="809" y="1521"/>
                  </a:lnTo>
                  <a:lnTo>
                    <a:pt x="839" y="1519"/>
                  </a:lnTo>
                  <a:lnTo>
                    <a:pt x="869" y="1517"/>
                  </a:lnTo>
                  <a:lnTo>
                    <a:pt x="898" y="1514"/>
                  </a:lnTo>
                  <a:lnTo>
                    <a:pt x="928" y="1509"/>
                  </a:lnTo>
                  <a:lnTo>
                    <a:pt x="957" y="1503"/>
                  </a:lnTo>
                  <a:lnTo>
                    <a:pt x="985" y="1495"/>
                  </a:lnTo>
                  <a:lnTo>
                    <a:pt x="1013" y="1487"/>
                  </a:lnTo>
                  <a:lnTo>
                    <a:pt x="1041" y="1478"/>
                  </a:lnTo>
                  <a:lnTo>
                    <a:pt x="1069" y="1467"/>
                  </a:lnTo>
                  <a:lnTo>
                    <a:pt x="1096" y="1456"/>
                  </a:lnTo>
                  <a:lnTo>
                    <a:pt x="1123" y="1443"/>
                  </a:lnTo>
                  <a:lnTo>
                    <a:pt x="1149" y="1429"/>
                  </a:lnTo>
                  <a:lnTo>
                    <a:pt x="1174" y="1414"/>
                  </a:lnTo>
                  <a:lnTo>
                    <a:pt x="1199" y="1398"/>
                  </a:lnTo>
                  <a:lnTo>
                    <a:pt x="1223" y="1381"/>
                  </a:lnTo>
                  <a:lnTo>
                    <a:pt x="1247" y="1362"/>
                  </a:lnTo>
                  <a:lnTo>
                    <a:pt x="1247" y="1362"/>
                  </a:lnTo>
                  <a:lnTo>
                    <a:pt x="1253" y="1359"/>
                  </a:lnTo>
                  <a:lnTo>
                    <a:pt x="1259" y="1356"/>
                  </a:lnTo>
                  <a:lnTo>
                    <a:pt x="1266" y="1355"/>
                  </a:lnTo>
                  <a:lnTo>
                    <a:pt x="1272" y="1355"/>
                  </a:lnTo>
                  <a:lnTo>
                    <a:pt x="1278" y="1357"/>
                  </a:lnTo>
                  <a:lnTo>
                    <a:pt x="1283" y="1359"/>
                  </a:lnTo>
                  <a:lnTo>
                    <a:pt x="1289" y="1363"/>
                  </a:lnTo>
                  <a:lnTo>
                    <a:pt x="1294" y="1367"/>
                  </a:lnTo>
                  <a:lnTo>
                    <a:pt x="1294" y="1367"/>
                  </a:lnTo>
                  <a:lnTo>
                    <a:pt x="1298" y="1373"/>
                  </a:lnTo>
                  <a:lnTo>
                    <a:pt x="1300" y="1378"/>
                  </a:lnTo>
                  <a:lnTo>
                    <a:pt x="1301" y="1386"/>
                  </a:lnTo>
                  <a:lnTo>
                    <a:pt x="1301" y="1392"/>
                  </a:lnTo>
                  <a:lnTo>
                    <a:pt x="1300" y="1398"/>
                  </a:lnTo>
                  <a:lnTo>
                    <a:pt x="1297" y="1403"/>
                  </a:lnTo>
                  <a:lnTo>
                    <a:pt x="1294" y="1409"/>
                  </a:lnTo>
                  <a:lnTo>
                    <a:pt x="1288" y="1414"/>
                  </a:lnTo>
                  <a:lnTo>
                    <a:pt x="1288" y="1414"/>
                  </a:lnTo>
                  <a:lnTo>
                    <a:pt x="1263" y="1433"/>
                  </a:lnTo>
                  <a:lnTo>
                    <a:pt x="1236" y="1453"/>
                  </a:lnTo>
                  <a:lnTo>
                    <a:pt x="1209" y="1471"/>
                  </a:lnTo>
                  <a:lnTo>
                    <a:pt x="1181" y="1486"/>
                  </a:lnTo>
                  <a:lnTo>
                    <a:pt x="1153" y="1502"/>
                  </a:lnTo>
                  <a:lnTo>
                    <a:pt x="1124" y="1516"/>
                  </a:lnTo>
                  <a:lnTo>
                    <a:pt x="1094" y="1529"/>
                  </a:lnTo>
                  <a:lnTo>
                    <a:pt x="1064" y="1540"/>
                  </a:lnTo>
                  <a:lnTo>
                    <a:pt x="1034" y="1550"/>
                  </a:lnTo>
                  <a:lnTo>
                    <a:pt x="1003" y="1560"/>
                  </a:lnTo>
                  <a:lnTo>
                    <a:pt x="972" y="1567"/>
                  </a:lnTo>
                  <a:lnTo>
                    <a:pt x="940" y="1574"/>
                  </a:lnTo>
                  <a:lnTo>
                    <a:pt x="908" y="1579"/>
                  </a:lnTo>
                  <a:lnTo>
                    <a:pt x="875" y="1583"/>
                  </a:lnTo>
                  <a:lnTo>
                    <a:pt x="843" y="1585"/>
                  </a:lnTo>
                  <a:lnTo>
                    <a:pt x="810" y="1588"/>
                  </a:lnTo>
                  <a:lnTo>
                    <a:pt x="810" y="1588"/>
                  </a:lnTo>
                  <a:lnTo>
                    <a:pt x="809" y="1588"/>
                  </a:lnTo>
                  <a:lnTo>
                    <a:pt x="809" y="1588"/>
                  </a:lnTo>
                  <a:close/>
                  <a:moveTo>
                    <a:pt x="625" y="1569"/>
                  </a:moveTo>
                  <a:lnTo>
                    <a:pt x="625" y="1569"/>
                  </a:lnTo>
                  <a:lnTo>
                    <a:pt x="618" y="1568"/>
                  </a:lnTo>
                  <a:lnTo>
                    <a:pt x="618" y="1568"/>
                  </a:lnTo>
                  <a:lnTo>
                    <a:pt x="587" y="1560"/>
                  </a:lnTo>
                  <a:lnTo>
                    <a:pt x="556" y="1551"/>
                  </a:lnTo>
                  <a:lnTo>
                    <a:pt x="525" y="1541"/>
                  </a:lnTo>
                  <a:lnTo>
                    <a:pt x="495" y="1529"/>
                  </a:lnTo>
                  <a:lnTo>
                    <a:pt x="465" y="1516"/>
                  </a:lnTo>
                  <a:lnTo>
                    <a:pt x="436" y="1502"/>
                  </a:lnTo>
                  <a:lnTo>
                    <a:pt x="408" y="1487"/>
                  </a:lnTo>
                  <a:lnTo>
                    <a:pt x="380" y="1471"/>
                  </a:lnTo>
                  <a:lnTo>
                    <a:pt x="352" y="1453"/>
                  </a:lnTo>
                  <a:lnTo>
                    <a:pt x="326" y="1434"/>
                  </a:lnTo>
                  <a:lnTo>
                    <a:pt x="300" y="1415"/>
                  </a:lnTo>
                  <a:lnTo>
                    <a:pt x="275" y="1394"/>
                  </a:lnTo>
                  <a:lnTo>
                    <a:pt x="250" y="1372"/>
                  </a:lnTo>
                  <a:lnTo>
                    <a:pt x="228" y="1350"/>
                  </a:lnTo>
                  <a:lnTo>
                    <a:pt x="205" y="1327"/>
                  </a:lnTo>
                  <a:lnTo>
                    <a:pt x="184" y="1302"/>
                  </a:lnTo>
                  <a:lnTo>
                    <a:pt x="184" y="1302"/>
                  </a:lnTo>
                  <a:lnTo>
                    <a:pt x="180" y="1297"/>
                  </a:lnTo>
                  <a:lnTo>
                    <a:pt x="178" y="1290"/>
                  </a:lnTo>
                  <a:lnTo>
                    <a:pt x="177" y="1284"/>
                  </a:lnTo>
                  <a:lnTo>
                    <a:pt x="177" y="1278"/>
                  </a:lnTo>
                  <a:lnTo>
                    <a:pt x="178" y="1272"/>
                  </a:lnTo>
                  <a:lnTo>
                    <a:pt x="180" y="1266"/>
                  </a:lnTo>
                  <a:lnTo>
                    <a:pt x="183" y="1260"/>
                  </a:lnTo>
                  <a:lnTo>
                    <a:pt x="188" y="1255"/>
                  </a:lnTo>
                  <a:lnTo>
                    <a:pt x="188" y="1255"/>
                  </a:lnTo>
                  <a:lnTo>
                    <a:pt x="194" y="1251"/>
                  </a:lnTo>
                  <a:lnTo>
                    <a:pt x="200" y="1249"/>
                  </a:lnTo>
                  <a:lnTo>
                    <a:pt x="206" y="1248"/>
                  </a:lnTo>
                  <a:lnTo>
                    <a:pt x="212" y="1248"/>
                  </a:lnTo>
                  <a:lnTo>
                    <a:pt x="218" y="1249"/>
                  </a:lnTo>
                  <a:lnTo>
                    <a:pt x="225" y="1251"/>
                  </a:lnTo>
                  <a:lnTo>
                    <a:pt x="230" y="1255"/>
                  </a:lnTo>
                  <a:lnTo>
                    <a:pt x="235" y="1259"/>
                  </a:lnTo>
                  <a:lnTo>
                    <a:pt x="235" y="1259"/>
                  </a:lnTo>
                  <a:lnTo>
                    <a:pt x="255" y="1282"/>
                  </a:lnTo>
                  <a:lnTo>
                    <a:pt x="275" y="1304"/>
                  </a:lnTo>
                  <a:lnTo>
                    <a:pt x="296" y="1325"/>
                  </a:lnTo>
                  <a:lnTo>
                    <a:pt x="318" y="1344"/>
                  </a:lnTo>
                  <a:lnTo>
                    <a:pt x="342" y="1363"/>
                  </a:lnTo>
                  <a:lnTo>
                    <a:pt x="364" y="1382"/>
                  </a:lnTo>
                  <a:lnTo>
                    <a:pt x="389" y="1398"/>
                  </a:lnTo>
                  <a:lnTo>
                    <a:pt x="414" y="1414"/>
                  </a:lnTo>
                  <a:lnTo>
                    <a:pt x="440" y="1429"/>
                  </a:lnTo>
                  <a:lnTo>
                    <a:pt x="466" y="1443"/>
                  </a:lnTo>
                  <a:lnTo>
                    <a:pt x="493" y="1456"/>
                  </a:lnTo>
                  <a:lnTo>
                    <a:pt x="520" y="1467"/>
                  </a:lnTo>
                  <a:lnTo>
                    <a:pt x="547" y="1478"/>
                  </a:lnTo>
                  <a:lnTo>
                    <a:pt x="575" y="1488"/>
                  </a:lnTo>
                  <a:lnTo>
                    <a:pt x="603" y="1496"/>
                  </a:lnTo>
                  <a:lnTo>
                    <a:pt x="632" y="1503"/>
                  </a:lnTo>
                  <a:lnTo>
                    <a:pt x="632" y="1503"/>
                  </a:lnTo>
                  <a:lnTo>
                    <a:pt x="639" y="1506"/>
                  </a:lnTo>
                  <a:lnTo>
                    <a:pt x="645" y="1509"/>
                  </a:lnTo>
                  <a:lnTo>
                    <a:pt x="649" y="1513"/>
                  </a:lnTo>
                  <a:lnTo>
                    <a:pt x="653" y="1518"/>
                  </a:lnTo>
                  <a:lnTo>
                    <a:pt x="656" y="1523"/>
                  </a:lnTo>
                  <a:lnTo>
                    <a:pt x="657" y="1530"/>
                  </a:lnTo>
                  <a:lnTo>
                    <a:pt x="658" y="1536"/>
                  </a:lnTo>
                  <a:lnTo>
                    <a:pt x="657" y="1543"/>
                  </a:lnTo>
                  <a:lnTo>
                    <a:pt x="657" y="1543"/>
                  </a:lnTo>
                  <a:lnTo>
                    <a:pt x="655" y="1548"/>
                  </a:lnTo>
                  <a:lnTo>
                    <a:pt x="653" y="1553"/>
                  </a:lnTo>
                  <a:lnTo>
                    <a:pt x="650" y="1558"/>
                  </a:lnTo>
                  <a:lnTo>
                    <a:pt x="646" y="1562"/>
                  </a:lnTo>
                  <a:lnTo>
                    <a:pt x="641" y="1565"/>
                  </a:lnTo>
                  <a:lnTo>
                    <a:pt x="636" y="1567"/>
                  </a:lnTo>
                  <a:lnTo>
                    <a:pt x="630" y="1568"/>
                  </a:lnTo>
                  <a:lnTo>
                    <a:pt x="625" y="1569"/>
                  </a:lnTo>
                  <a:lnTo>
                    <a:pt x="625" y="1569"/>
                  </a:lnTo>
                  <a:close/>
                  <a:moveTo>
                    <a:pt x="1398" y="1288"/>
                  </a:moveTo>
                  <a:lnTo>
                    <a:pt x="1398" y="1288"/>
                  </a:lnTo>
                  <a:lnTo>
                    <a:pt x="1393" y="1288"/>
                  </a:lnTo>
                  <a:lnTo>
                    <a:pt x="1388" y="1286"/>
                  </a:lnTo>
                  <a:lnTo>
                    <a:pt x="1383" y="1284"/>
                  </a:lnTo>
                  <a:lnTo>
                    <a:pt x="1377" y="1281"/>
                  </a:lnTo>
                  <a:lnTo>
                    <a:pt x="1377" y="1281"/>
                  </a:lnTo>
                  <a:lnTo>
                    <a:pt x="1373" y="1277"/>
                  </a:lnTo>
                  <a:lnTo>
                    <a:pt x="1369" y="1272"/>
                  </a:lnTo>
                  <a:lnTo>
                    <a:pt x="1366" y="1266"/>
                  </a:lnTo>
                  <a:lnTo>
                    <a:pt x="1365" y="1259"/>
                  </a:lnTo>
                  <a:lnTo>
                    <a:pt x="1365" y="1253"/>
                  </a:lnTo>
                  <a:lnTo>
                    <a:pt x="1366" y="1247"/>
                  </a:lnTo>
                  <a:lnTo>
                    <a:pt x="1368" y="1241"/>
                  </a:lnTo>
                  <a:lnTo>
                    <a:pt x="1371" y="1236"/>
                  </a:lnTo>
                  <a:lnTo>
                    <a:pt x="1371" y="1236"/>
                  </a:lnTo>
                  <a:lnTo>
                    <a:pt x="1390" y="1211"/>
                  </a:lnTo>
                  <a:lnTo>
                    <a:pt x="1406" y="1186"/>
                  </a:lnTo>
                  <a:lnTo>
                    <a:pt x="1422" y="1161"/>
                  </a:lnTo>
                  <a:lnTo>
                    <a:pt x="1436" y="1135"/>
                  </a:lnTo>
                  <a:lnTo>
                    <a:pt x="1450" y="1108"/>
                  </a:lnTo>
                  <a:lnTo>
                    <a:pt x="1461" y="1081"/>
                  </a:lnTo>
                  <a:lnTo>
                    <a:pt x="1473" y="1054"/>
                  </a:lnTo>
                  <a:lnTo>
                    <a:pt x="1483" y="1026"/>
                  </a:lnTo>
                  <a:lnTo>
                    <a:pt x="1491" y="999"/>
                  </a:lnTo>
                  <a:lnTo>
                    <a:pt x="1500" y="971"/>
                  </a:lnTo>
                  <a:lnTo>
                    <a:pt x="1506" y="942"/>
                  </a:lnTo>
                  <a:lnTo>
                    <a:pt x="1511" y="913"/>
                  </a:lnTo>
                  <a:lnTo>
                    <a:pt x="1515" y="884"/>
                  </a:lnTo>
                  <a:lnTo>
                    <a:pt x="1518" y="854"/>
                  </a:lnTo>
                  <a:lnTo>
                    <a:pt x="1520" y="824"/>
                  </a:lnTo>
                  <a:lnTo>
                    <a:pt x="1521" y="794"/>
                  </a:lnTo>
                  <a:lnTo>
                    <a:pt x="1521" y="794"/>
                  </a:lnTo>
                  <a:lnTo>
                    <a:pt x="1521" y="786"/>
                  </a:lnTo>
                  <a:lnTo>
                    <a:pt x="1523" y="780"/>
                  </a:lnTo>
                  <a:lnTo>
                    <a:pt x="1526" y="774"/>
                  </a:lnTo>
                  <a:lnTo>
                    <a:pt x="1531" y="769"/>
                  </a:lnTo>
                  <a:lnTo>
                    <a:pt x="1536" y="765"/>
                  </a:lnTo>
                  <a:lnTo>
                    <a:pt x="1541" y="761"/>
                  </a:lnTo>
                  <a:lnTo>
                    <a:pt x="1547" y="759"/>
                  </a:lnTo>
                  <a:lnTo>
                    <a:pt x="1554" y="758"/>
                  </a:lnTo>
                  <a:lnTo>
                    <a:pt x="1554" y="758"/>
                  </a:lnTo>
                  <a:lnTo>
                    <a:pt x="1561" y="759"/>
                  </a:lnTo>
                  <a:lnTo>
                    <a:pt x="1567" y="761"/>
                  </a:lnTo>
                  <a:lnTo>
                    <a:pt x="1572" y="764"/>
                  </a:lnTo>
                  <a:lnTo>
                    <a:pt x="1577" y="768"/>
                  </a:lnTo>
                  <a:lnTo>
                    <a:pt x="1581" y="772"/>
                  </a:lnTo>
                  <a:lnTo>
                    <a:pt x="1584" y="778"/>
                  </a:lnTo>
                  <a:lnTo>
                    <a:pt x="1586" y="783"/>
                  </a:lnTo>
                  <a:lnTo>
                    <a:pt x="1587" y="790"/>
                  </a:lnTo>
                  <a:lnTo>
                    <a:pt x="1587" y="794"/>
                  </a:lnTo>
                  <a:lnTo>
                    <a:pt x="1587" y="794"/>
                  </a:lnTo>
                  <a:lnTo>
                    <a:pt x="1586" y="827"/>
                  </a:lnTo>
                  <a:lnTo>
                    <a:pt x="1584" y="859"/>
                  </a:lnTo>
                  <a:lnTo>
                    <a:pt x="1581" y="891"/>
                  </a:lnTo>
                  <a:lnTo>
                    <a:pt x="1576" y="923"/>
                  </a:lnTo>
                  <a:lnTo>
                    <a:pt x="1571" y="955"/>
                  </a:lnTo>
                  <a:lnTo>
                    <a:pt x="1564" y="986"/>
                  </a:lnTo>
                  <a:lnTo>
                    <a:pt x="1555" y="1017"/>
                  </a:lnTo>
                  <a:lnTo>
                    <a:pt x="1545" y="1048"/>
                  </a:lnTo>
                  <a:lnTo>
                    <a:pt x="1535" y="1078"/>
                  </a:lnTo>
                  <a:lnTo>
                    <a:pt x="1522" y="1108"/>
                  </a:lnTo>
                  <a:lnTo>
                    <a:pt x="1509" y="1137"/>
                  </a:lnTo>
                  <a:lnTo>
                    <a:pt x="1494" y="1166"/>
                  </a:lnTo>
                  <a:lnTo>
                    <a:pt x="1479" y="1194"/>
                  </a:lnTo>
                  <a:lnTo>
                    <a:pt x="1461" y="1222"/>
                  </a:lnTo>
                  <a:lnTo>
                    <a:pt x="1444" y="1249"/>
                  </a:lnTo>
                  <a:lnTo>
                    <a:pt x="1424" y="1275"/>
                  </a:lnTo>
                  <a:lnTo>
                    <a:pt x="1424" y="1275"/>
                  </a:lnTo>
                  <a:lnTo>
                    <a:pt x="1419" y="1281"/>
                  </a:lnTo>
                  <a:lnTo>
                    <a:pt x="1413" y="1285"/>
                  </a:lnTo>
                  <a:lnTo>
                    <a:pt x="1405" y="1287"/>
                  </a:lnTo>
                  <a:lnTo>
                    <a:pt x="1398" y="1288"/>
                  </a:lnTo>
                  <a:lnTo>
                    <a:pt x="1398" y="1288"/>
                  </a:lnTo>
                  <a:close/>
                  <a:moveTo>
                    <a:pt x="109" y="1158"/>
                  </a:moveTo>
                  <a:lnTo>
                    <a:pt x="109" y="1158"/>
                  </a:lnTo>
                  <a:lnTo>
                    <a:pt x="105" y="1158"/>
                  </a:lnTo>
                  <a:lnTo>
                    <a:pt x="99" y="1157"/>
                  </a:lnTo>
                  <a:lnTo>
                    <a:pt x="95" y="1155"/>
                  </a:lnTo>
                  <a:lnTo>
                    <a:pt x="91" y="1153"/>
                  </a:lnTo>
                  <a:lnTo>
                    <a:pt x="88" y="1151"/>
                  </a:lnTo>
                  <a:lnTo>
                    <a:pt x="84" y="1148"/>
                  </a:lnTo>
                  <a:lnTo>
                    <a:pt x="82" y="1143"/>
                  </a:lnTo>
                  <a:lnTo>
                    <a:pt x="79" y="1139"/>
                  </a:lnTo>
                  <a:lnTo>
                    <a:pt x="79" y="1139"/>
                  </a:lnTo>
                  <a:lnTo>
                    <a:pt x="69" y="1119"/>
                  </a:lnTo>
                  <a:lnTo>
                    <a:pt x="60" y="1098"/>
                  </a:lnTo>
                  <a:lnTo>
                    <a:pt x="52" y="1077"/>
                  </a:lnTo>
                  <a:lnTo>
                    <a:pt x="44" y="1057"/>
                  </a:lnTo>
                  <a:lnTo>
                    <a:pt x="37" y="1036"/>
                  </a:lnTo>
                  <a:lnTo>
                    <a:pt x="31" y="1014"/>
                  </a:lnTo>
                  <a:lnTo>
                    <a:pt x="25" y="992"/>
                  </a:lnTo>
                  <a:lnTo>
                    <a:pt x="20" y="972"/>
                  </a:lnTo>
                  <a:lnTo>
                    <a:pt x="16" y="950"/>
                  </a:lnTo>
                  <a:lnTo>
                    <a:pt x="11" y="927"/>
                  </a:lnTo>
                  <a:lnTo>
                    <a:pt x="7" y="905"/>
                  </a:lnTo>
                  <a:lnTo>
                    <a:pt x="5" y="884"/>
                  </a:lnTo>
                  <a:lnTo>
                    <a:pt x="3" y="861"/>
                  </a:lnTo>
                  <a:lnTo>
                    <a:pt x="1" y="839"/>
                  </a:lnTo>
                  <a:lnTo>
                    <a:pt x="0" y="816"/>
                  </a:lnTo>
                  <a:lnTo>
                    <a:pt x="0" y="794"/>
                  </a:lnTo>
                  <a:lnTo>
                    <a:pt x="0" y="794"/>
                  </a:lnTo>
                  <a:lnTo>
                    <a:pt x="1" y="753"/>
                  </a:lnTo>
                  <a:lnTo>
                    <a:pt x="4" y="714"/>
                  </a:lnTo>
                  <a:lnTo>
                    <a:pt x="9" y="673"/>
                  </a:lnTo>
                  <a:lnTo>
                    <a:pt x="16" y="634"/>
                  </a:lnTo>
                  <a:lnTo>
                    <a:pt x="16" y="634"/>
                  </a:lnTo>
                  <a:lnTo>
                    <a:pt x="18" y="628"/>
                  </a:lnTo>
                  <a:lnTo>
                    <a:pt x="21" y="623"/>
                  </a:lnTo>
                  <a:lnTo>
                    <a:pt x="25" y="618"/>
                  </a:lnTo>
                  <a:lnTo>
                    <a:pt x="30" y="613"/>
                  </a:lnTo>
                  <a:lnTo>
                    <a:pt x="35" y="610"/>
                  </a:lnTo>
                  <a:lnTo>
                    <a:pt x="41" y="608"/>
                  </a:lnTo>
                  <a:lnTo>
                    <a:pt x="48" y="608"/>
                  </a:lnTo>
                  <a:lnTo>
                    <a:pt x="55" y="608"/>
                  </a:lnTo>
                  <a:lnTo>
                    <a:pt x="55" y="608"/>
                  </a:lnTo>
                  <a:lnTo>
                    <a:pt x="61" y="610"/>
                  </a:lnTo>
                  <a:lnTo>
                    <a:pt x="67" y="613"/>
                  </a:lnTo>
                  <a:lnTo>
                    <a:pt x="71" y="618"/>
                  </a:lnTo>
                  <a:lnTo>
                    <a:pt x="76" y="623"/>
                  </a:lnTo>
                  <a:lnTo>
                    <a:pt x="79" y="628"/>
                  </a:lnTo>
                  <a:lnTo>
                    <a:pt x="81" y="634"/>
                  </a:lnTo>
                  <a:lnTo>
                    <a:pt x="82" y="640"/>
                  </a:lnTo>
                  <a:lnTo>
                    <a:pt x="81" y="648"/>
                  </a:lnTo>
                  <a:lnTo>
                    <a:pt x="81" y="648"/>
                  </a:lnTo>
                  <a:lnTo>
                    <a:pt x="75" y="684"/>
                  </a:lnTo>
                  <a:lnTo>
                    <a:pt x="69" y="720"/>
                  </a:lnTo>
                  <a:lnTo>
                    <a:pt x="67" y="756"/>
                  </a:lnTo>
                  <a:lnTo>
                    <a:pt x="66" y="794"/>
                  </a:lnTo>
                  <a:lnTo>
                    <a:pt x="66" y="794"/>
                  </a:lnTo>
                  <a:lnTo>
                    <a:pt x="67" y="835"/>
                  </a:lnTo>
                  <a:lnTo>
                    <a:pt x="70" y="876"/>
                  </a:lnTo>
                  <a:lnTo>
                    <a:pt x="77" y="917"/>
                  </a:lnTo>
                  <a:lnTo>
                    <a:pt x="84" y="956"/>
                  </a:lnTo>
                  <a:lnTo>
                    <a:pt x="94" y="995"/>
                  </a:lnTo>
                  <a:lnTo>
                    <a:pt x="107" y="1035"/>
                  </a:lnTo>
                  <a:lnTo>
                    <a:pt x="121" y="1073"/>
                  </a:lnTo>
                  <a:lnTo>
                    <a:pt x="139" y="1110"/>
                  </a:lnTo>
                  <a:lnTo>
                    <a:pt x="139" y="1110"/>
                  </a:lnTo>
                  <a:lnTo>
                    <a:pt x="141" y="1117"/>
                  </a:lnTo>
                  <a:lnTo>
                    <a:pt x="142" y="1123"/>
                  </a:lnTo>
                  <a:lnTo>
                    <a:pt x="142" y="1129"/>
                  </a:lnTo>
                  <a:lnTo>
                    <a:pt x="140" y="1135"/>
                  </a:lnTo>
                  <a:lnTo>
                    <a:pt x="138" y="1141"/>
                  </a:lnTo>
                  <a:lnTo>
                    <a:pt x="133" y="1147"/>
                  </a:lnTo>
                  <a:lnTo>
                    <a:pt x="128" y="1151"/>
                  </a:lnTo>
                  <a:lnTo>
                    <a:pt x="123" y="1155"/>
                  </a:lnTo>
                  <a:lnTo>
                    <a:pt x="123" y="1155"/>
                  </a:lnTo>
                  <a:lnTo>
                    <a:pt x="116" y="1157"/>
                  </a:lnTo>
                  <a:lnTo>
                    <a:pt x="109" y="1158"/>
                  </a:lnTo>
                  <a:lnTo>
                    <a:pt x="109" y="1158"/>
                  </a:lnTo>
                  <a:close/>
                  <a:moveTo>
                    <a:pt x="1531" y="639"/>
                  </a:moveTo>
                  <a:lnTo>
                    <a:pt x="1531" y="639"/>
                  </a:lnTo>
                  <a:lnTo>
                    <a:pt x="1525" y="638"/>
                  </a:lnTo>
                  <a:lnTo>
                    <a:pt x="1520" y="637"/>
                  </a:lnTo>
                  <a:lnTo>
                    <a:pt x="1515" y="635"/>
                  </a:lnTo>
                  <a:lnTo>
                    <a:pt x="1511" y="632"/>
                  </a:lnTo>
                  <a:lnTo>
                    <a:pt x="1507" y="629"/>
                  </a:lnTo>
                  <a:lnTo>
                    <a:pt x="1504" y="625"/>
                  </a:lnTo>
                  <a:lnTo>
                    <a:pt x="1501" y="620"/>
                  </a:lnTo>
                  <a:lnTo>
                    <a:pt x="1498" y="614"/>
                  </a:lnTo>
                  <a:lnTo>
                    <a:pt x="1498" y="614"/>
                  </a:lnTo>
                  <a:lnTo>
                    <a:pt x="1491" y="586"/>
                  </a:lnTo>
                  <a:lnTo>
                    <a:pt x="1482" y="558"/>
                  </a:lnTo>
                  <a:lnTo>
                    <a:pt x="1472" y="530"/>
                  </a:lnTo>
                  <a:lnTo>
                    <a:pt x="1460" y="503"/>
                  </a:lnTo>
                  <a:lnTo>
                    <a:pt x="1448" y="476"/>
                  </a:lnTo>
                  <a:lnTo>
                    <a:pt x="1434" y="449"/>
                  </a:lnTo>
                  <a:lnTo>
                    <a:pt x="1420" y="423"/>
                  </a:lnTo>
                  <a:lnTo>
                    <a:pt x="1404" y="398"/>
                  </a:lnTo>
                  <a:lnTo>
                    <a:pt x="1388" y="373"/>
                  </a:lnTo>
                  <a:lnTo>
                    <a:pt x="1370" y="349"/>
                  </a:lnTo>
                  <a:lnTo>
                    <a:pt x="1352" y="327"/>
                  </a:lnTo>
                  <a:lnTo>
                    <a:pt x="1332" y="304"/>
                  </a:lnTo>
                  <a:lnTo>
                    <a:pt x="1311" y="282"/>
                  </a:lnTo>
                  <a:lnTo>
                    <a:pt x="1290" y="261"/>
                  </a:lnTo>
                  <a:lnTo>
                    <a:pt x="1268" y="242"/>
                  </a:lnTo>
                  <a:lnTo>
                    <a:pt x="1245" y="223"/>
                  </a:lnTo>
                  <a:lnTo>
                    <a:pt x="1245" y="223"/>
                  </a:lnTo>
                  <a:lnTo>
                    <a:pt x="1240" y="218"/>
                  </a:lnTo>
                  <a:lnTo>
                    <a:pt x="1237" y="213"/>
                  </a:lnTo>
                  <a:lnTo>
                    <a:pt x="1234" y="207"/>
                  </a:lnTo>
                  <a:lnTo>
                    <a:pt x="1233" y="200"/>
                  </a:lnTo>
                  <a:lnTo>
                    <a:pt x="1233" y="194"/>
                  </a:lnTo>
                  <a:lnTo>
                    <a:pt x="1234" y="188"/>
                  </a:lnTo>
                  <a:lnTo>
                    <a:pt x="1236" y="182"/>
                  </a:lnTo>
                  <a:lnTo>
                    <a:pt x="1240" y="177"/>
                  </a:lnTo>
                  <a:lnTo>
                    <a:pt x="1240" y="177"/>
                  </a:lnTo>
                  <a:lnTo>
                    <a:pt x="1244" y="171"/>
                  </a:lnTo>
                  <a:lnTo>
                    <a:pt x="1250" y="168"/>
                  </a:lnTo>
                  <a:lnTo>
                    <a:pt x="1255" y="165"/>
                  </a:lnTo>
                  <a:lnTo>
                    <a:pt x="1262" y="164"/>
                  </a:lnTo>
                  <a:lnTo>
                    <a:pt x="1268" y="164"/>
                  </a:lnTo>
                  <a:lnTo>
                    <a:pt x="1274" y="165"/>
                  </a:lnTo>
                  <a:lnTo>
                    <a:pt x="1280" y="167"/>
                  </a:lnTo>
                  <a:lnTo>
                    <a:pt x="1286" y="171"/>
                  </a:lnTo>
                  <a:lnTo>
                    <a:pt x="1286" y="171"/>
                  </a:lnTo>
                  <a:lnTo>
                    <a:pt x="1311" y="192"/>
                  </a:lnTo>
                  <a:lnTo>
                    <a:pt x="1335" y="214"/>
                  </a:lnTo>
                  <a:lnTo>
                    <a:pt x="1359" y="236"/>
                  </a:lnTo>
                  <a:lnTo>
                    <a:pt x="1381" y="259"/>
                  </a:lnTo>
                  <a:lnTo>
                    <a:pt x="1402" y="284"/>
                  </a:lnTo>
                  <a:lnTo>
                    <a:pt x="1422" y="309"/>
                  </a:lnTo>
                  <a:lnTo>
                    <a:pt x="1442" y="335"/>
                  </a:lnTo>
                  <a:lnTo>
                    <a:pt x="1459" y="362"/>
                  </a:lnTo>
                  <a:lnTo>
                    <a:pt x="1477" y="390"/>
                  </a:lnTo>
                  <a:lnTo>
                    <a:pt x="1492" y="418"/>
                  </a:lnTo>
                  <a:lnTo>
                    <a:pt x="1507" y="447"/>
                  </a:lnTo>
                  <a:lnTo>
                    <a:pt x="1521" y="476"/>
                  </a:lnTo>
                  <a:lnTo>
                    <a:pt x="1534" y="506"/>
                  </a:lnTo>
                  <a:lnTo>
                    <a:pt x="1544" y="536"/>
                  </a:lnTo>
                  <a:lnTo>
                    <a:pt x="1554" y="567"/>
                  </a:lnTo>
                  <a:lnTo>
                    <a:pt x="1563" y="598"/>
                  </a:lnTo>
                  <a:lnTo>
                    <a:pt x="1563" y="598"/>
                  </a:lnTo>
                  <a:lnTo>
                    <a:pt x="1564" y="604"/>
                  </a:lnTo>
                  <a:lnTo>
                    <a:pt x="1564" y="611"/>
                  </a:lnTo>
                  <a:lnTo>
                    <a:pt x="1562" y="618"/>
                  </a:lnTo>
                  <a:lnTo>
                    <a:pt x="1560" y="623"/>
                  </a:lnTo>
                  <a:lnTo>
                    <a:pt x="1555" y="628"/>
                  </a:lnTo>
                  <a:lnTo>
                    <a:pt x="1550" y="632"/>
                  </a:lnTo>
                  <a:lnTo>
                    <a:pt x="1545" y="636"/>
                  </a:lnTo>
                  <a:lnTo>
                    <a:pt x="1539" y="638"/>
                  </a:lnTo>
                  <a:lnTo>
                    <a:pt x="1539" y="638"/>
                  </a:lnTo>
                  <a:lnTo>
                    <a:pt x="1531" y="639"/>
                  </a:lnTo>
                  <a:lnTo>
                    <a:pt x="1531" y="639"/>
                  </a:lnTo>
                  <a:close/>
                  <a:moveTo>
                    <a:pt x="108" y="498"/>
                  </a:moveTo>
                  <a:lnTo>
                    <a:pt x="108" y="498"/>
                  </a:lnTo>
                  <a:lnTo>
                    <a:pt x="100" y="498"/>
                  </a:lnTo>
                  <a:lnTo>
                    <a:pt x="93" y="494"/>
                  </a:lnTo>
                  <a:lnTo>
                    <a:pt x="93" y="494"/>
                  </a:lnTo>
                  <a:lnTo>
                    <a:pt x="87" y="491"/>
                  </a:lnTo>
                  <a:lnTo>
                    <a:pt x="83" y="487"/>
                  </a:lnTo>
                  <a:lnTo>
                    <a:pt x="79" y="482"/>
                  </a:lnTo>
                  <a:lnTo>
                    <a:pt x="77" y="476"/>
                  </a:lnTo>
                  <a:lnTo>
                    <a:pt x="75" y="470"/>
                  </a:lnTo>
                  <a:lnTo>
                    <a:pt x="75" y="463"/>
                  </a:lnTo>
                  <a:lnTo>
                    <a:pt x="76" y="457"/>
                  </a:lnTo>
                  <a:lnTo>
                    <a:pt x="78" y="451"/>
                  </a:lnTo>
                  <a:lnTo>
                    <a:pt x="78" y="451"/>
                  </a:lnTo>
                  <a:lnTo>
                    <a:pt x="92" y="422"/>
                  </a:lnTo>
                  <a:lnTo>
                    <a:pt x="108" y="393"/>
                  </a:lnTo>
                  <a:lnTo>
                    <a:pt x="125" y="366"/>
                  </a:lnTo>
                  <a:lnTo>
                    <a:pt x="143" y="339"/>
                  </a:lnTo>
                  <a:lnTo>
                    <a:pt x="161" y="313"/>
                  </a:lnTo>
                  <a:lnTo>
                    <a:pt x="182" y="287"/>
                  </a:lnTo>
                  <a:lnTo>
                    <a:pt x="203" y="264"/>
                  </a:lnTo>
                  <a:lnTo>
                    <a:pt x="226" y="240"/>
                  </a:lnTo>
                  <a:lnTo>
                    <a:pt x="248" y="217"/>
                  </a:lnTo>
                  <a:lnTo>
                    <a:pt x="272" y="195"/>
                  </a:lnTo>
                  <a:lnTo>
                    <a:pt x="297" y="175"/>
                  </a:lnTo>
                  <a:lnTo>
                    <a:pt x="323" y="155"/>
                  </a:lnTo>
                  <a:lnTo>
                    <a:pt x="349" y="136"/>
                  </a:lnTo>
                  <a:lnTo>
                    <a:pt x="376" y="119"/>
                  </a:lnTo>
                  <a:lnTo>
                    <a:pt x="404" y="102"/>
                  </a:lnTo>
                  <a:lnTo>
                    <a:pt x="433" y="87"/>
                  </a:lnTo>
                  <a:lnTo>
                    <a:pt x="433" y="87"/>
                  </a:lnTo>
                  <a:lnTo>
                    <a:pt x="439" y="83"/>
                  </a:lnTo>
                  <a:lnTo>
                    <a:pt x="445" y="82"/>
                  </a:lnTo>
                  <a:lnTo>
                    <a:pt x="451" y="82"/>
                  </a:lnTo>
                  <a:lnTo>
                    <a:pt x="457" y="84"/>
                  </a:lnTo>
                  <a:lnTo>
                    <a:pt x="464" y="87"/>
                  </a:lnTo>
                  <a:lnTo>
                    <a:pt x="469" y="91"/>
                  </a:lnTo>
                  <a:lnTo>
                    <a:pt x="473" y="95"/>
                  </a:lnTo>
                  <a:lnTo>
                    <a:pt x="477" y="101"/>
                  </a:lnTo>
                  <a:lnTo>
                    <a:pt x="477" y="101"/>
                  </a:lnTo>
                  <a:lnTo>
                    <a:pt x="479" y="107"/>
                  </a:lnTo>
                  <a:lnTo>
                    <a:pt x="480" y="113"/>
                  </a:lnTo>
                  <a:lnTo>
                    <a:pt x="480" y="120"/>
                  </a:lnTo>
                  <a:lnTo>
                    <a:pt x="479" y="126"/>
                  </a:lnTo>
                  <a:lnTo>
                    <a:pt x="476" y="132"/>
                  </a:lnTo>
                  <a:lnTo>
                    <a:pt x="473" y="137"/>
                  </a:lnTo>
                  <a:lnTo>
                    <a:pt x="468" y="141"/>
                  </a:lnTo>
                  <a:lnTo>
                    <a:pt x="463" y="146"/>
                  </a:lnTo>
                  <a:lnTo>
                    <a:pt x="463" y="146"/>
                  </a:lnTo>
                  <a:lnTo>
                    <a:pt x="437" y="159"/>
                  </a:lnTo>
                  <a:lnTo>
                    <a:pt x="411" y="175"/>
                  </a:lnTo>
                  <a:lnTo>
                    <a:pt x="386" y="190"/>
                  </a:lnTo>
                  <a:lnTo>
                    <a:pt x="362" y="208"/>
                  </a:lnTo>
                  <a:lnTo>
                    <a:pt x="338" y="226"/>
                  </a:lnTo>
                  <a:lnTo>
                    <a:pt x="316" y="245"/>
                  </a:lnTo>
                  <a:lnTo>
                    <a:pt x="294" y="265"/>
                  </a:lnTo>
                  <a:lnTo>
                    <a:pt x="272" y="285"/>
                  </a:lnTo>
                  <a:lnTo>
                    <a:pt x="253" y="307"/>
                  </a:lnTo>
                  <a:lnTo>
                    <a:pt x="233" y="330"/>
                  </a:lnTo>
                  <a:lnTo>
                    <a:pt x="214" y="353"/>
                  </a:lnTo>
                  <a:lnTo>
                    <a:pt x="197" y="376"/>
                  </a:lnTo>
                  <a:lnTo>
                    <a:pt x="180" y="401"/>
                  </a:lnTo>
                  <a:lnTo>
                    <a:pt x="165" y="427"/>
                  </a:lnTo>
                  <a:lnTo>
                    <a:pt x="150" y="453"/>
                  </a:lnTo>
                  <a:lnTo>
                    <a:pt x="137" y="479"/>
                  </a:lnTo>
                  <a:lnTo>
                    <a:pt x="137" y="479"/>
                  </a:lnTo>
                  <a:lnTo>
                    <a:pt x="135" y="483"/>
                  </a:lnTo>
                  <a:lnTo>
                    <a:pt x="131" y="487"/>
                  </a:lnTo>
                  <a:lnTo>
                    <a:pt x="128" y="490"/>
                  </a:lnTo>
                  <a:lnTo>
                    <a:pt x="124" y="493"/>
                  </a:lnTo>
                  <a:lnTo>
                    <a:pt x="121" y="495"/>
                  </a:lnTo>
                  <a:lnTo>
                    <a:pt x="116" y="496"/>
                  </a:lnTo>
                  <a:lnTo>
                    <a:pt x="112" y="498"/>
                  </a:lnTo>
                  <a:lnTo>
                    <a:pt x="108" y="498"/>
                  </a:lnTo>
                  <a:lnTo>
                    <a:pt x="108" y="498"/>
                  </a:lnTo>
                  <a:close/>
                  <a:moveTo>
                    <a:pt x="1107" y="133"/>
                  </a:moveTo>
                  <a:lnTo>
                    <a:pt x="1107" y="133"/>
                  </a:lnTo>
                  <a:lnTo>
                    <a:pt x="1100" y="132"/>
                  </a:lnTo>
                  <a:lnTo>
                    <a:pt x="1094" y="130"/>
                  </a:lnTo>
                  <a:lnTo>
                    <a:pt x="1094" y="130"/>
                  </a:lnTo>
                  <a:lnTo>
                    <a:pt x="1066" y="119"/>
                  </a:lnTo>
                  <a:lnTo>
                    <a:pt x="1038" y="108"/>
                  </a:lnTo>
                  <a:lnTo>
                    <a:pt x="1010" y="99"/>
                  </a:lnTo>
                  <a:lnTo>
                    <a:pt x="982" y="91"/>
                  </a:lnTo>
                  <a:lnTo>
                    <a:pt x="953" y="83"/>
                  </a:lnTo>
                  <a:lnTo>
                    <a:pt x="924" y="77"/>
                  </a:lnTo>
                  <a:lnTo>
                    <a:pt x="894" y="73"/>
                  </a:lnTo>
                  <a:lnTo>
                    <a:pt x="865" y="69"/>
                  </a:lnTo>
                  <a:lnTo>
                    <a:pt x="835" y="67"/>
                  </a:lnTo>
                  <a:lnTo>
                    <a:pt x="806" y="66"/>
                  </a:lnTo>
                  <a:lnTo>
                    <a:pt x="776" y="66"/>
                  </a:lnTo>
                  <a:lnTo>
                    <a:pt x="747" y="67"/>
                  </a:lnTo>
                  <a:lnTo>
                    <a:pt x="717" y="70"/>
                  </a:lnTo>
                  <a:lnTo>
                    <a:pt x="688" y="73"/>
                  </a:lnTo>
                  <a:lnTo>
                    <a:pt x="658" y="78"/>
                  </a:lnTo>
                  <a:lnTo>
                    <a:pt x="629" y="84"/>
                  </a:lnTo>
                  <a:lnTo>
                    <a:pt x="629" y="84"/>
                  </a:lnTo>
                  <a:lnTo>
                    <a:pt x="623" y="86"/>
                  </a:lnTo>
                  <a:lnTo>
                    <a:pt x="616" y="84"/>
                  </a:lnTo>
                  <a:lnTo>
                    <a:pt x="610" y="83"/>
                  </a:lnTo>
                  <a:lnTo>
                    <a:pt x="604" y="80"/>
                  </a:lnTo>
                  <a:lnTo>
                    <a:pt x="599" y="76"/>
                  </a:lnTo>
                  <a:lnTo>
                    <a:pt x="595" y="71"/>
                  </a:lnTo>
                  <a:lnTo>
                    <a:pt x="592" y="66"/>
                  </a:lnTo>
                  <a:lnTo>
                    <a:pt x="590" y="60"/>
                  </a:lnTo>
                  <a:lnTo>
                    <a:pt x="590" y="60"/>
                  </a:lnTo>
                  <a:lnTo>
                    <a:pt x="589" y="52"/>
                  </a:lnTo>
                  <a:lnTo>
                    <a:pt x="589" y="46"/>
                  </a:lnTo>
                  <a:lnTo>
                    <a:pt x="591" y="40"/>
                  </a:lnTo>
                  <a:lnTo>
                    <a:pt x="594" y="35"/>
                  </a:lnTo>
                  <a:lnTo>
                    <a:pt x="598" y="30"/>
                  </a:lnTo>
                  <a:lnTo>
                    <a:pt x="602" y="25"/>
                  </a:lnTo>
                  <a:lnTo>
                    <a:pt x="609" y="22"/>
                  </a:lnTo>
                  <a:lnTo>
                    <a:pt x="615" y="20"/>
                  </a:lnTo>
                  <a:lnTo>
                    <a:pt x="615" y="20"/>
                  </a:lnTo>
                  <a:lnTo>
                    <a:pt x="646" y="13"/>
                  </a:lnTo>
                  <a:lnTo>
                    <a:pt x="678" y="8"/>
                  </a:lnTo>
                  <a:lnTo>
                    <a:pt x="710" y="4"/>
                  </a:lnTo>
                  <a:lnTo>
                    <a:pt x="743" y="2"/>
                  </a:lnTo>
                  <a:lnTo>
                    <a:pt x="775" y="0"/>
                  </a:lnTo>
                  <a:lnTo>
                    <a:pt x="807" y="0"/>
                  </a:lnTo>
                  <a:lnTo>
                    <a:pt x="839" y="1"/>
                  </a:lnTo>
                  <a:lnTo>
                    <a:pt x="871" y="4"/>
                  </a:lnTo>
                  <a:lnTo>
                    <a:pt x="903" y="8"/>
                  </a:lnTo>
                  <a:lnTo>
                    <a:pt x="936" y="12"/>
                  </a:lnTo>
                  <a:lnTo>
                    <a:pt x="968" y="19"/>
                  </a:lnTo>
                  <a:lnTo>
                    <a:pt x="999" y="27"/>
                  </a:lnTo>
                  <a:lnTo>
                    <a:pt x="1030" y="36"/>
                  </a:lnTo>
                  <a:lnTo>
                    <a:pt x="1061" y="46"/>
                  </a:lnTo>
                  <a:lnTo>
                    <a:pt x="1091" y="58"/>
                  </a:lnTo>
                  <a:lnTo>
                    <a:pt x="1121" y="70"/>
                  </a:lnTo>
                  <a:lnTo>
                    <a:pt x="1121" y="70"/>
                  </a:lnTo>
                  <a:lnTo>
                    <a:pt x="1127" y="73"/>
                  </a:lnTo>
                  <a:lnTo>
                    <a:pt x="1131" y="77"/>
                  </a:lnTo>
                  <a:lnTo>
                    <a:pt x="1135" y="82"/>
                  </a:lnTo>
                  <a:lnTo>
                    <a:pt x="1138" y="89"/>
                  </a:lnTo>
                  <a:lnTo>
                    <a:pt x="1139" y="95"/>
                  </a:lnTo>
                  <a:lnTo>
                    <a:pt x="1140" y="101"/>
                  </a:lnTo>
                  <a:lnTo>
                    <a:pt x="1139" y="107"/>
                  </a:lnTo>
                  <a:lnTo>
                    <a:pt x="1137" y="113"/>
                  </a:lnTo>
                  <a:lnTo>
                    <a:pt x="1137" y="113"/>
                  </a:lnTo>
                  <a:lnTo>
                    <a:pt x="1135" y="119"/>
                  </a:lnTo>
                  <a:lnTo>
                    <a:pt x="1132" y="122"/>
                  </a:lnTo>
                  <a:lnTo>
                    <a:pt x="1129" y="125"/>
                  </a:lnTo>
                  <a:lnTo>
                    <a:pt x="1125" y="128"/>
                  </a:lnTo>
                  <a:lnTo>
                    <a:pt x="1121" y="130"/>
                  </a:lnTo>
                  <a:lnTo>
                    <a:pt x="1117" y="132"/>
                  </a:lnTo>
                  <a:lnTo>
                    <a:pt x="1111" y="133"/>
                  </a:lnTo>
                  <a:lnTo>
                    <a:pt x="1107" y="133"/>
                  </a:lnTo>
                  <a:lnTo>
                    <a:pt x="1107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="" xmlns:a16="http://schemas.microsoft.com/office/drawing/2014/main" id="{C234D6B6-71FB-4E49-AEF8-2CA8A0E7E7DC}"/>
                </a:ext>
              </a:extLst>
            </p:cNvPr>
            <p:cNvGrpSpPr/>
            <p:nvPr/>
          </p:nvGrpSpPr>
          <p:grpSpPr>
            <a:xfrm>
              <a:off x="2812256" y="2964657"/>
              <a:ext cx="88900" cy="209551"/>
              <a:chOff x="2819400" y="2963863"/>
              <a:chExt cx="88900" cy="209551"/>
            </a:xfrm>
            <a:grpFill/>
          </p:grpSpPr>
          <p:sp>
            <p:nvSpPr>
              <p:cNvPr id="46" name="Freeform 1317">
                <a:extLst>
                  <a:ext uri="{FF2B5EF4-FFF2-40B4-BE49-F238E27FC236}">
                    <a16:creationId xmlns="" xmlns:a16="http://schemas.microsoft.com/office/drawing/2014/main" id="{7769A1E1-BE74-4194-B904-6EACA7A09A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2987676"/>
                <a:ext cx="88900" cy="161925"/>
              </a:xfrm>
              <a:custGeom>
                <a:avLst/>
                <a:gdLst>
                  <a:gd name="T0" fmla="*/ 156 w 388"/>
                  <a:gd name="T1" fmla="*/ 709 h 712"/>
                  <a:gd name="T2" fmla="*/ 86 w 388"/>
                  <a:gd name="T3" fmla="*/ 679 h 712"/>
                  <a:gd name="T4" fmla="*/ 33 w 388"/>
                  <a:gd name="T5" fmla="*/ 627 h 712"/>
                  <a:gd name="T6" fmla="*/ 4 w 388"/>
                  <a:gd name="T7" fmla="*/ 556 h 712"/>
                  <a:gd name="T8" fmla="*/ 1 w 388"/>
                  <a:gd name="T9" fmla="*/ 511 h 712"/>
                  <a:gd name="T10" fmla="*/ 15 w 388"/>
                  <a:gd name="T11" fmla="*/ 490 h 712"/>
                  <a:gd name="T12" fmla="*/ 33 w 388"/>
                  <a:gd name="T13" fmla="*/ 485 h 712"/>
                  <a:gd name="T14" fmla="*/ 56 w 388"/>
                  <a:gd name="T15" fmla="*/ 494 h 712"/>
                  <a:gd name="T16" fmla="*/ 67 w 388"/>
                  <a:gd name="T17" fmla="*/ 518 h 712"/>
                  <a:gd name="T18" fmla="*/ 72 w 388"/>
                  <a:gd name="T19" fmla="*/ 555 h 712"/>
                  <a:gd name="T20" fmla="*/ 96 w 388"/>
                  <a:gd name="T21" fmla="*/ 599 h 712"/>
                  <a:gd name="T22" fmla="*/ 134 w 388"/>
                  <a:gd name="T23" fmla="*/ 630 h 712"/>
                  <a:gd name="T24" fmla="*/ 181 w 388"/>
                  <a:gd name="T25" fmla="*/ 645 h 712"/>
                  <a:gd name="T26" fmla="*/ 221 w 388"/>
                  <a:gd name="T27" fmla="*/ 643 h 712"/>
                  <a:gd name="T28" fmla="*/ 266 w 388"/>
                  <a:gd name="T29" fmla="*/ 624 h 712"/>
                  <a:gd name="T30" fmla="*/ 300 w 388"/>
                  <a:gd name="T31" fmla="*/ 589 h 712"/>
                  <a:gd name="T32" fmla="*/ 320 w 388"/>
                  <a:gd name="T33" fmla="*/ 544 h 712"/>
                  <a:gd name="T34" fmla="*/ 322 w 388"/>
                  <a:gd name="T35" fmla="*/ 505 h 712"/>
                  <a:gd name="T36" fmla="*/ 307 w 388"/>
                  <a:gd name="T37" fmla="*/ 457 h 712"/>
                  <a:gd name="T38" fmla="*/ 276 w 388"/>
                  <a:gd name="T39" fmla="*/ 419 h 712"/>
                  <a:gd name="T40" fmla="*/ 232 w 388"/>
                  <a:gd name="T41" fmla="*/ 395 h 712"/>
                  <a:gd name="T42" fmla="*/ 195 w 388"/>
                  <a:gd name="T43" fmla="*/ 390 h 712"/>
                  <a:gd name="T44" fmla="*/ 119 w 388"/>
                  <a:gd name="T45" fmla="*/ 374 h 712"/>
                  <a:gd name="T46" fmla="*/ 57 w 388"/>
                  <a:gd name="T47" fmla="*/ 333 h 712"/>
                  <a:gd name="T48" fmla="*/ 16 w 388"/>
                  <a:gd name="T49" fmla="*/ 271 h 712"/>
                  <a:gd name="T50" fmla="*/ 0 w 388"/>
                  <a:gd name="T51" fmla="*/ 195 h 712"/>
                  <a:gd name="T52" fmla="*/ 9 w 388"/>
                  <a:gd name="T53" fmla="*/ 137 h 712"/>
                  <a:gd name="T54" fmla="*/ 45 w 388"/>
                  <a:gd name="T55" fmla="*/ 72 h 712"/>
                  <a:gd name="T56" fmla="*/ 102 w 388"/>
                  <a:gd name="T57" fmla="*/ 24 h 712"/>
                  <a:gd name="T58" fmla="*/ 174 w 388"/>
                  <a:gd name="T59" fmla="*/ 2 h 712"/>
                  <a:gd name="T60" fmla="*/ 233 w 388"/>
                  <a:gd name="T61" fmla="*/ 5 h 712"/>
                  <a:gd name="T62" fmla="*/ 304 w 388"/>
                  <a:gd name="T63" fmla="*/ 35 h 712"/>
                  <a:gd name="T64" fmla="*/ 355 w 388"/>
                  <a:gd name="T65" fmla="*/ 86 h 712"/>
                  <a:gd name="T66" fmla="*/ 385 w 388"/>
                  <a:gd name="T67" fmla="*/ 156 h 712"/>
                  <a:gd name="T68" fmla="*/ 388 w 388"/>
                  <a:gd name="T69" fmla="*/ 202 h 712"/>
                  <a:gd name="T70" fmla="*/ 374 w 388"/>
                  <a:gd name="T71" fmla="*/ 223 h 712"/>
                  <a:gd name="T72" fmla="*/ 355 w 388"/>
                  <a:gd name="T73" fmla="*/ 228 h 712"/>
                  <a:gd name="T74" fmla="*/ 332 w 388"/>
                  <a:gd name="T75" fmla="*/ 219 h 712"/>
                  <a:gd name="T76" fmla="*/ 322 w 388"/>
                  <a:gd name="T77" fmla="*/ 195 h 712"/>
                  <a:gd name="T78" fmla="*/ 317 w 388"/>
                  <a:gd name="T79" fmla="*/ 157 h 712"/>
                  <a:gd name="T80" fmla="*/ 293 w 388"/>
                  <a:gd name="T81" fmla="*/ 113 h 712"/>
                  <a:gd name="T82" fmla="*/ 256 w 388"/>
                  <a:gd name="T83" fmla="*/ 82 h 712"/>
                  <a:gd name="T84" fmla="*/ 207 w 388"/>
                  <a:gd name="T85" fmla="*/ 68 h 712"/>
                  <a:gd name="T86" fmla="*/ 169 w 388"/>
                  <a:gd name="T87" fmla="*/ 70 h 712"/>
                  <a:gd name="T88" fmla="*/ 122 w 388"/>
                  <a:gd name="T89" fmla="*/ 88 h 712"/>
                  <a:gd name="T90" fmla="*/ 88 w 388"/>
                  <a:gd name="T91" fmla="*/ 124 h 712"/>
                  <a:gd name="T92" fmla="*/ 69 w 388"/>
                  <a:gd name="T93" fmla="*/ 169 h 712"/>
                  <a:gd name="T94" fmla="*/ 67 w 388"/>
                  <a:gd name="T95" fmla="*/ 209 h 712"/>
                  <a:gd name="T96" fmla="*/ 82 w 388"/>
                  <a:gd name="T97" fmla="*/ 256 h 712"/>
                  <a:gd name="T98" fmla="*/ 113 w 388"/>
                  <a:gd name="T99" fmla="*/ 294 h 712"/>
                  <a:gd name="T100" fmla="*/ 157 w 388"/>
                  <a:gd name="T101" fmla="*/ 317 h 712"/>
                  <a:gd name="T102" fmla="*/ 195 w 388"/>
                  <a:gd name="T103" fmla="*/ 323 h 712"/>
                  <a:gd name="T104" fmla="*/ 270 w 388"/>
                  <a:gd name="T105" fmla="*/ 339 h 712"/>
                  <a:gd name="T106" fmla="*/ 331 w 388"/>
                  <a:gd name="T107" fmla="*/ 380 h 712"/>
                  <a:gd name="T108" fmla="*/ 374 w 388"/>
                  <a:gd name="T109" fmla="*/ 442 h 712"/>
                  <a:gd name="T110" fmla="*/ 388 w 388"/>
                  <a:gd name="T111" fmla="*/ 518 h 712"/>
                  <a:gd name="T112" fmla="*/ 380 w 388"/>
                  <a:gd name="T113" fmla="*/ 575 h 712"/>
                  <a:gd name="T114" fmla="*/ 344 w 388"/>
                  <a:gd name="T115" fmla="*/ 641 h 712"/>
                  <a:gd name="T116" fmla="*/ 287 w 388"/>
                  <a:gd name="T117" fmla="*/ 689 h 712"/>
                  <a:gd name="T118" fmla="*/ 215 w 388"/>
                  <a:gd name="T119" fmla="*/ 711 h 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88" h="712">
                    <a:moveTo>
                      <a:pt x="195" y="712"/>
                    </a:moveTo>
                    <a:lnTo>
                      <a:pt x="195" y="712"/>
                    </a:lnTo>
                    <a:lnTo>
                      <a:pt x="174" y="711"/>
                    </a:lnTo>
                    <a:lnTo>
                      <a:pt x="156" y="709"/>
                    </a:lnTo>
                    <a:lnTo>
                      <a:pt x="137" y="703"/>
                    </a:lnTo>
                    <a:lnTo>
                      <a:pt x="119" y="697"/>
                    </a:lnTo>
                    <a:lnTo>
                      <a:pt x="102" y="689"/>
                    </a:lnTo>
                    <a:lnTo>
                      <a:pt x="86" y="679"/>
                    </a:lnTo>
                    <a:lnTo>
                      <a:pt x="71" y="667"/>
                    </a:lnTo>
                    <a:lnTo>
                      <a:pt x="57" y="655"/>
                    </a:lnTo>
                    <a:lnTo>
                      <a:pt x="45" y="641"/>
                    </a:lnTo>
                    <a:lnTo>
                      <a:pt x="33" y="627"/>
                    </a:lnTo>
                    <a:lnTo>
                      <a:pt x="24" y="610"/>
                    </a:lnTo>
                    <a:lnTo>
                      <a:pt x="16" y="594"/>
                    </a:lnTo>
                    <a:lnTo>
                      <a:pt x="9" y="575"/>
                    </a:lnTo>
                    <a:lnTo>
                      <a:pt x="4" y="556"/>
                    </a:lnTo>
                    <a:lnTo>
                      <a:pt x="1" y="538"/>
                    </a:lnTo>
                    <a:lnTo>
                      <a:pt x="0" y="518"/>
                    </a:lnTo>
                    <a:lnTo>
                      <a:pt x="0" y="518"/>
                    </a:lnTo>
                    <a:lnTo>
                      <a:pt x="1" y="511"/>
                    </a:lnTo>
                    <a:lnTo>
                      <a:pt x="2" y="505"/>
                    </a:lnTo>
                    <a:lnTo>
                      <a:pt x="5" y="499"/>
                    </a:lnTo>
                    <a:lnTo>
                      <a:pt x="10" y="494"/>
                    </a:lnTo>
                    <a:lnTo>
                      <a:pt x="15" y="490"/>
                    </a:lnTo>
                    <a:lnTo>
                      <a:pt x="20" y="487"/>
                    </a:lnTo>
                    <a:lnTo>
                      <a:pt x="26" y="485"/>
                    </a:lnTo>
                    <a:lnTo>
                      <a:pt x="33" y="485"/>
                    </a:lnTo>
                    <a:lnTo>
                      <a:pt x="33" y="485"/>
                    </a:lnTo>
                    <a:lnTo>
                      <a:pt x="40" y="485"/>
                    </a:lnTo>
                    <a:lnTo>
                      <a:pt x="46" y="487"/>
                    </a:lnTo>
                    <a:lnTo>
                      <a:pt x="52" y="490"/>
                    </a:lnTo>
                    <a:lnTo>
                      <a:pt x="56" y="494"/>
                    </a:lnTo>
                    <a:lnTo>
                      <a:pt x="60" y="499"/>
                    </a:lnTo>
                    <a:lnTo>
                      <a:pt x="63" y="505"/>
                    </a:lnTo>
                    <a:lnTo>
                      <a:pt x="65" y="511"/>
                    </a:lnTo>
                    <a:lnTo>
                      <a:pt x="67" y="518"/>
                    </a:lnTo>
                    <a:lnTo>
                      <a:pt x="67" y="518"/>
                    </a:lnTo>
                    <a:lnTo>
                      <a:pt x="67" y="530"/>
                    </a:lnTo>
                    <a:lnTo>
                      <a:pt x="69" y="544"/>
                    </a:lnTo>
                    <a:lnTo>
                      <a:pt x="72" y="555"/>
                    </a:lnTo>
                    <a:lnTo>
                      <a:pt x="77" y="568"/>
                    </a:lnTo>
                    <a:lnTo>
                      <a:pt x="82" y="579"/>
                    </a:lnTo>
                    <a:lnTo>
                      <a:pt x="88" y="589"/>
                    </a:lnTo>
                    <a:lnTo>
                      <a:pt x="96" y="599"/>
                    </a:lnTo>
                    <a:lnTo>
                      <a:pt x="104" y="608"/>
                    </a:lnTo>
                    <a:lnTo>
                      <a:pt x="113" y="616"/>
                    </a:lnTo>
                    <a:lnTo>
                      <a:pt x="122" y="624"/>
                    </a:lnTo>
                    <a:lnTo>
                      <a:pt x="134" y="630"/>
                    </a:lnTo>
                    <a:lnTo>
                      <a:pt x="144" y="636"/>
                    </a:lnTo>
                    <a:lnTo>
                      <a:pt x="157" y="640"/>
                    </a:lnTo>
                    <a:lnTo>
                      <a:pt x="169" y="643"/>
                    </a:lnTo>
                    <a:lnTo>
                      <a:pt x="181" y="645"/>
                    </a:lnTo>
                    <a:lnTo>
                      <a:pt x="195" y="645"/>
                    </a:lnTo>
                    <a:lnTo>
                      <a:pt x="195" y="645"/>
                    </a:lnTo>
                    <a:lnTo>
                      <a:pt x="207" y="645"/>
                    </a:lnTo>
                    <a:lnTo>
                      <a:pt x="221" y="643"/>
                    </a:lnTo>
                    <a:lnTo>
                      <a:pt x="232" y="640"/>
                    </a:lnTo>
                    <a:lnTo>
                      <a:pt x="245" y="636"/>
                    </a:lnTo>
                    <a:lnTo>
                      <a:pt x="256" y="630"/>
                    </a:lnTo>
                    <a:lnTo>
                      <a:pt x="266" y="624"/>
                    </a:lnTo>
                    <a:lnTo>
                      <a:pt x="276" y="616"/>
                    </a:lnTo>
                    <a:lnTo>
                      <a:pt x="285" y="608"/>
                    </a:lnTo>
                    <a:lnTo>
                      <a:pt x="293" y="599"/>
                    </a:lnTo>
                    <a:lnTo>
                      <a:pt x="300" y="589"/>
                    </a:lnTo>
                    <a:lnTo>
                      <a:pt x="307" y="579"/>
                    </a:lnTo>
                    <a:lnTo>
                      <a:pt x="313" y="568"/>
                    </a:lnTo>
                    <a:lnTo>
                      <a:pt x="317" y="555"/>
                    </a:lnTo>
                    <a:lnTo>
                      <a:pt x="320" y="544"/>
                    </a:lnTo>
                    <a:lnTo>
                      <a:pt x="322" y="530"/>
                    </a:lnTo>
                    <a:lnTo>
                      <a:pt x="322" y="518"/>
                    </a:lnTo>
                    <a:lnTo>
                      <a:pt x="322" y="518"/>
                    </a:lnTo>
                    <a:lnTo>
                      <a:pt x="322" y="505"/>
                    </a:lnTo>
                    <a:lnTo>
                      <a:pt x="320" y="492"/>
                    </a:lnTo>
                    <a:lnTo>
                      <a:pt x="317" y="480"/>
                    </a:lnTo>
                    <a:lnTo>
                      <a:pt x="313" y="467"/>
                    </a:lnTo>
                    <a:lnTo>
                      <a:pt x="307" y="457"/>
                    </a:lnTo>
                    <a:lnTo>
                      <a:pt x="300" y="446"/>
                    </a:lnTo>
                    <a:lnTo>
                      <a:pt x="293" y="436"/>
                    </a:lnTo>
                    <a:lnTo>
                      <a:pt x="285" y="427"/>
                    </a:lnTo>
                    <a:lnTo>
                      <a:pt x="276" y="419"/>
                    </a:lnTo>
                    <a:lnTo>
                      <a:pt x="266" y="411"/>
                    </a:lnTo>
                    <a:lnTo>
                      <a:pt x="256" y="405"/>
                    </a:lnTo>
                    <a:lnTo>
                      <a:pt x="245" y="400"/>
                    </a:lnTo>
                    <a:lnTo>
                      <a:pt x="232" y="395"/>
                    </a:lnTo>
                    <a:lnTo>
                      <a:pt x="221" y="392"/>
                    </a:lnTo>
                    <a:lnTo>
                      <a:pt x="207" y="390"/>
                    </a:lnTo>
                    <a:lnTo>
                      <a:pt x="195" y="390"/>
                    </a:lnTo>
                    <a:lnTo>
                      <a:pt x="195" y="390"/>
                    </a:lnTo>
                    <a:lnTo>
                      <a:pt x="174" y="389"/>
                    </a:lnTo>
                    <a:lnTo>
                      <a:pt x="156" y="386"/>
                    </a:lnTo>
                    <a:lnTo>
                      <a:pt x="137" y="380"/>
                    </a:lnTo>
                    <a:lnTo>
                      <a:pt x="119" y="374"/>
                    </a:lnTo>
                    <a:lnTo>
                      <a:pt x="102" y="366"/>
                    </a:lnTo>
                    <a:lnTo>
                      <a:pt x="86" y="357"/>
                    </a:lnTo>
                    <a:lnTo>
                      <a:pt x="71" y="345"/>
                    </a:lnTo>
                    <a:lnTo>
                      <a:pt x="57" y="333"/>
                    </a:lnTo>
                    <a:lnTo>
                      <a:pt x="45" y="318"/>
                    </a:lnTo>
                    <a:lnTo>
                      <a:pt x="33" y="304"/>
                    </a:lnTo>
                    <a:lnTo>
                      <a:pt x="24" y="287"/>
                    </a:lnTo>
                    <a:lnTo>
                      <a:pt x="16" y="271"/>
                    </a:lnTo>
                    <a:lnTo>
                      <a:pt x="9" y="253"/>
                    </a:lnTo>
                    <a:lnTo>
                      <a:pt x="4" y="234"/>
                    </a:lnTo>
                    <a:lnTo>
                      <a:pt x="1" y="21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1" y="175"/>
                    </a:lnTo>
                    <a:lnTo>
                      <a:pt x="4" y="156"/>
                    </a:lnTo>
                    <a:lnTo>
                      <a:pt x="9" y="137"/>
                    </a:lnTo>
                    <a:lnTo>
                      <a:pt x="16" y="120"/>
                    </a:lnTo>
                    <a:lnTo>
                      <a:pt x="24" y="103"/>
                    </a:lnTo>
                    <a:lnTo>
                      <a:pt x="33" y="86"/>
                    </a:lnTo>
                    <a:lnTo>
                      <a:pt x="45" y="72"/>
                    </a:lnTo>
                    <a:lnTo>
                      <a:pt x="57" y="57"/>
                    </a:lnTo>
                    <a:lnTo>
                      <a:pt x="71" y="45"/>
                    </a:lnTo>
                    <a:lnTo>
                      <a:pt x="86" y="35"/>
                    </a:lnTo>
                    <a:lnTo>
                      <a:pt x="102" y="24"/>
                    </a:lnTo>
                    <a:lnTo>
                      <a:pt x="119" y="16"/>
                    </a:lnTo>
                    <a:lnTo>
                      <a:pt x="137" y="10"/>
                    </a:lnTo>
                    <a:lnTo>
                      <a:pt x="156" y="5"/>
                    </a:lnTo>
                    <a:lnTo>
                      <a:pt x="174" y="2"/>
                    </a:lnTo>
                    <a:lnTo>
                      <a:pt x="195" y="0"/>
                    </a:lnTo>
                    <a:lnTo>
                      <a:pt x="195" y="0"/>
                    </a:lnTo>
                    <a:lnTo>
                      <a:pt x="215" y="2"/>
                    </a:lnTo>
                    <a:lnTo>
                      <a:pt x="233" y="5"/>
                    </a:lnTo>
                    <a:lnTo>
                      <a:pt x="252" y="10"/>
                    </a:lnTo>
                    <a:lnTo>
                      <a:pt x="270" y="16"/>
                    </a:lnTo>
                    <a:lnTo>
                      <a:pt x="287" y="24"/>
                    </a:lnTo>
                    <a:lnTo>
                      <a:pt x="304" y="35"/>
                    </a:lnTo>
                    <a:lnTo>
                      <a:pt x="318" y="45"/>
                    </a:lnTo>
                    <a:lnTo>
                      <a:pt x="331" y="57"/>
                    </a:lnTo>
                    <a:lnTo>
                      <a:pt x="344" y="72"/>
                    </a:lnTo>
                    <a:lnTo>
                      <a:pt x="355" y="86"/>
                    </a:lnTo>
                    <a:lnTo>
                      <a:pt x="366" y="103"/>
                    </a:lnTo>
                    <a:lnTo>
                      <a:pt x="374" y="120"/>
                    </a:lnTo>
                    <a:lnTo>
                      <a:pt x="380" y="137"/>
                    </a:lnTo>
                    <a:lnTo>
                      <a:pt x="385" y="156"/>
                    </a:lnTo>
                    <a:lnTo>
                      <a:pt x="387" y="175"/>
                    </a:lnTo>
                    <a:lnTo>
                      <a:pt x="388" y="195"/>
                    </a:lnTo>
                    <a:lnTo>
                      <a:pt x="388" y="195"/>
                    </a:lnTo>
                    <a:lnTo>
                      <a:pt x="388" y="202"/>
                    </a:lnTo>
                    <a:lnTo>
                      <a:pt x="386" y="209"/>
                    </a:lnTo>
                    <a:lnTo>
                      <a:pt x="383" y="214"/>
                    </a:lnTo>
                    <a:lnTo>
                      <a:pt x="379" y="219"/>
                    </a:lnTo>
                    <a:lnTo>
                      <a:pt x="374" y="223"/>
                    </a:lnTo>
                    <a:lnTo>
                      <a:pt x="369" y="226"/>
                    </a:lnTo>
                    <a:lnTo>
                      <a:pt x="363" y="227"/>
                    </a:lnTo>
                    <a:lnTo>
                      <a:pt x="355" y="228"/>
                    </a:lnTo>
                    <a:lnTo>
                      <a:pt x="355" y="228"/>
                    </a:lnTo>
                    <a:lnTo>
                      <a:pt x="349" y="227"/>
                    </a:lnTo>
                    <a:lnTo>
                      <a:pt x="343" y="226"/>
                    </a:lnTo>
                    <a:lnTo>
                      <a:pt x="338" y="223"/>
                    </a:lnTo>
                    <a:lnTo>
                      <a:pt x="332" y="219"/>
                    </a:lnTo>
                    <a:lnTo>
                      <a:pt x="328" y="214"/>
                    </a:lnTo>
                    <a:lnTo>
                      <a:pt x="325" y="209"/>
                    </a:lnTo>
                    <a:lnTo>
                      <a:pt x="323" y="202"/>
                    </a:lnTo>
                    <a:lnTo>
                      <a:pt x="322" y="195"/>
                    </a:lnTo>
                    <a:lnTo>
                      <a:pt x="322" y="195"/>
                    </a:lnTo>
                    <a:lnTo>
                      <a:pt x="322" y="182"/>
                    </a:lnTo>
                    <a:lnTo>
                      <a:pt x="320" y="169"/>
                    </a:lnTo>
                    <a:lnTo>
                      <a:pt x="317" y="157"/>
                    </a:lnTo>
                    <a:lnTo>
                      <a:pt x="313" y="145"/>
                    </a:lnTo>
                    <a:lnTo>
                      <a:pt x="307" y="134"/>
                    </a:lnTo>
                    <a:lnTo>
                      <a:pt x="300" y="124"/>
                    </a:lnTo>
                    <a:lnTo>
                      <a:pt x="293" y="113"/>
                    </a:lnTo>
                    <a:lnTo>
                      <a:pt x="285" y="105"/>
                    </a:lnTo>
                    <a:lnTo>
                      <a:pt x="276" y="97"/>
                    </a:lnTo>
                    <a:lnTo>
                      <a:pt x="266" y="88"/>
                    </a:lnTo>
                    <a:lnTo>
                      <a:pt x="256" y="82"/>
                    </a:lnTo>
                    <a:lnTo>
                      <a:pt x="245" y="77"/>
                    </a:lnTo>
                    <a:lnTo>
                      <a:pt x="232" y="73"/>
                    </a:lnTo>
                    <a:lnTo>
                      <a:pt x="221" y="70"/>
                    </a:lnTo>
                    <a:lnTo>
                      <a:pt x="207" y="68"/>
                    </a:lnTo>
                    <a:lnTo>
                      <a:pt x="195" y="67"/>
                    </a:lnTo>
                    <a:lnTo>
                      <a:pt x="195" y="67"/>
                    </a:lnTo>
                    <a:lnTo>
                      <a:pt x="181" y="68"/>
                    </a:lnTo>
                    <a:lnTo>
                      <a:pt x="169" y="70"/>
                    </a:lnTo>
                    <a:lnTo>
                      <a:pt x="157" y="73"/>
                    </a:lnTo>
                    <a:lnTo>
                      <a:pt x="144" y="77"/>
                    </a:lnTo>
                    <a:lnTo>
                      <a:pt x="134" y="82"/>
                    </a:lnTo>
                    <a:lnTo>
                      <a:pt x="122" y="88"/>
                    </a:lnTo>
                    <a:lnTo>
                      <a:pt x="113" y="97"/>
                    </a:lnTo>
                    <a:lnTo>
                      <a:pt x="104" y="105"/>
                    </a:lnTo>
                    <a:lnTo>
                      <a:pt x="96" y="113"/>
                    </a:lnTo>
                    <a:lnTo>
                      <a:pt x="88" y="124"/>
                    </a:lnTo>
                    <a:lnTo>
                      <a:pt x="82" y="134"/>
                    </a:lnTo>
                    <a:lnTo>
                      <a:pt x="77" y="145"/>
                    </a:lnTo>
                    <a:lnTo>
                      <a:pt x="72" y="157"/>
                    </a:lnTo>
                    <a:lnTo>
                      <a:pt x="69" y="169"/>
                    </a:lnTo>
                    <a:lnTo>
                      <a:pt x="67" y="182"/>
                    </a:lnTo>
                    <a:lnTo>
                      <a:pt x="67" y="195"/>
                    </a:lnTo>
                    <a:lnTo>
                      <a:pt x="67" y="195"/>
                    </a:lnTo>
                    <a:lnTo>
                      <a:pt x="67" y="209"/>
                    </a:lnTo>
                    <a:lnTo>
                      <a:pt x="69" y="221"/>
                    </a:lnTo>
                    <a:lnTo>
                      <a:pt x="72" y="233"/>
                    </a:lnTo>
                    <a:lnTo>
                      <a:pt x="77" y="245"/>
                    </a:lnTo>
                    <a:lnTo>
                      <a:pt x="82" y="256"/>
                    </a:lnTo>
                    <a:lnTo>
                      <a:pt x="88" y="267"/>
                    </a:lnTo>
                    <a:lnTo>
                      <a:pt x="96" y="277"/>
                    </a:lnTo>
                    <a:lnTo>
                      <a:pt x="104" y="286"/>
                    </a:lnTo>
                    <a:lnTo>
                      <a:pt x="113" y="294"/>
                    </a:lnTo>
                    <a:lnTo>
                      <a:pt x="122" y="302"/>
                    </a:lnTo>
                    <a:lnTo>
                      <a:pt x="134" y="308"/>
                    </a:lnTo>
                    <a:lnTo>
                      <a:pt x="144" y="313"/>
                    </a:lnTo>
                    <a:lnTo>
                      <a:pt x="157" y="317"/>
                    </a:lnTo>
                    <a:lnTo>
                      <a:pt x="169" y="320"/>
                    </a:lnTo>
                    <a:lnTo>
                      <a:pt x="181" y="322"/>
                    </a:lnTo>
                    <a:lnTo>
                      <a:pt x="195" y="323"/>
                    </a:lnTo>
                    <a:lnTo>
                      <a:pt x="195" y="323"/>
                    </a:lnTo>
                    <a:lnTo>
                      <a:pt x="215" y="324"/>
                    </a:lnTo>
                    <a:lnTo>
                      <a:pt x="233" y="328"/>
                    </a:lnTo>
                    <a:lnTo>
                      <a:pt x="252" y="332"/>
                    </a:lnTo>
                    <a:lnTo>
                      <a:pt x="270" y="339"/>
                    </a:lnTo>
                    <a:lnTo>
                      <a:pt x="287" y="347"/>
                    </a:lnTo>
                    <a:lnTo>
                      <a:pt x="304" y="357"/>
                    </a:lnTo>
                    <a:lnTo>
                      <a:pt x="318" y="368"/>
                    </a:lnTo>
                    <a:lnTo>
                      <a:pt x="331" y="380"/>
                    </a:lnTo>
                    <a:lnTo>
                      <a:pt x="344" y="394"/>
                    </a:lnTo>
                    <a:lnTo>
                      <a:pt x="355" y="409"/>
                    </a:lnTo>
                    <a:lnTo>
                      <a:pt x="366" y="425"/>
                    </a:lnTo>
                    <a:lnTo>
                      <a:pt x="374" y="442"/>
                    </a:lnTo>
                    <a:lnTo>
                      <a:pt x="380" y="460"/>
                    </a:lnTo>
                    <a:lnTo>
                      <a:pt x="385" y="479"/>
                    </a:lnTo>
                    <a:lnTo>
                      <a:pt x="387" y="497"/>
                    </a:lnTo>
                    <a:lnTo>
                      <a:pt x="388" y="518"/>
                    </a:lnTo>
                    <a:lnTo>
                      <a:pt x="388" y="518"/>
                    </a:lnTo>
                    <a:lnTo>
                      <a:pt x="387" y="538"/>
                    </a:lnTo>
                    <a:lnTo>
                      <a:pt x="385" y="556"/>
                    </a:lnTo>
                    <a:lnTo>
                      <a:pt x="380" y="575"/>
                    </a:lnTo>
                    <a:lnTo>
                      <a:pt x="374" y="594"/>
                    </a:lnTo>
                    <a:lnTo>
                      <a:pt x="366" y="610"/>
                    </a:lnTo>
                    <a:lnTo>
                      <a:pt x="355" y="627"/>
                    </a:lnTo>
                    <a:lnTo>
                      <a:pt x="344" y="641"/>
                    </a:lnTo>
                    <a:lnTo>
                      <a:pt x="331" y="655"/>
                    </a:lnTo>
                    <a:lnTo>
                      <a:pt x="318" y="667"/>
                    </a:lnTo>
                    <a:lnTo>
                      <a:pt x="304" y="679"/>
                    </a:lnTo>
                    <a:lnTo>
                      <a:pt x="287" y="689"/>
                    </a:lnTo>
                    <a:lnTo>
                      <a:pt x="270" y="697"/>
                    </a:lnTo>
                    <a:lnTo>
                      <a:pt x="252" y="703"/>
                    </a:lnTo>
                    <a:lnTo>
                      <a:pt x="233" y="709"/>
                    </a:lnTo>
                    <a:lnTo>
                      <a:pt x="215" y="711"/>
                    </a:lnTo>
                    <a:lnTo>
                      <a:pt x="195" y="712"/>
                    </a:lnTo>
                    <a:lnTo>
                      <a:pt x="195" y="7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52D74"/>
                  </a:solidFill>
                </a:endParaRPr>
              </a:p>
            </p:txBody>
          </p:sp>
          <p:sp>
            <p:nvSpPr>
              <p:cNvPr id="47" name="Freeform 1318">
                <a:extLst>
                  <a:ext uri="{FF2B5EF4-FFF2-40B4-BE49-F238E27FC236}">
                    <a16:creationId xmlns="" xmlns:a16="http://schemas.microsoft.com/office/drawing/2014/main" id="{23D9C766-31E6-4F3C-8E6F-FE09378EDD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5913" y="3133726"/>
                <a:ext cx="15875" cy="39688"/>
              </a:xfrm>
              <a:custGeom>
                <a:avLst/>
                <a:gdLst>
                  <a:gd name="T0" fmla="*/ 33 w 66"/>
                  <a:gd name="T1" fmla="*/ 174 h 174"/>
                  <a:gd name="T2" fmla="*/ 33 w 66"/>
                  <a:gd name="T3" fmla="*/ 174 h 174"/>
                  <a:gd name="T4" fmla="*/ 26 w 66"/>
                  <a:gd name="T5" fmla="*/ 174 h 174"/>
                  <a:gd name="T6" fmla="*/ 19 w 66"/>
                  <a:gd name="T7" fmla="*/ 172 h 174"/>
                  <a:gd name="T8" fmla="*/ 14 w 66"/>
                  <a:gd name="T9" fmla="*/ 169 h 174"/>
                  <a:gd name="T10" fmla="*/ 9 w 66"/>
                  <a:gd name="T11" fmla="*/ 165 h 174"/>
                  <a:gd name="T12" fmla="*/ 5 w 66"/>
                  <a:gd name="T13" fmla="*/ 160 h 174"/>
                  <a:gd name="T14" fmla="*/ 2 w 66"/>
                  <a:gd name="T15" fmla="*/ 155 h 174"/>
                  <a:gd name="T16" fmla="*/ 0 w 66"/>
                  <a:gd name="T17" fmla="*/ 148 h 174"/>
                  <a:gd name="T18" fmla="*/ 0 w 66"/>
                  <a:gd name="T19" fmla="*/ 141 h 174"/>
                  <a:gd name="T20" fmla="*/ 0 w 66"/>
                  <a:gd name="T21" fmla="*/ 34 h 174"/>
                  <a:gd name="T22" fmla="*/ 0 w 66"/>
                  <a:gd name="T23" fmla="*/ 34 h 174"/>
                  <a:gd name="T24" fmla="*/ 0 w 66"/>
                  <a:gd name="T25" fmla="*/ 27 h 174"/>
                  <a:gd name="T26" fmla="*/ 2 w 66"/>
                  <a:gd name="T27" fmla="*/ 21 h 174"/>
                  <a:gd name="T28" fmla="*/ 5 w 66"/>
                  <a:gd name="T29" fmla="*/ 16 h 174"/>
                  <a:gd name="T30" fmla="*/ 9 w 66"/>
                  <a:gd name="T31" fmla="*/ 11 h 174"/>
                  <a:gd name="T32" fmla="*/ 14 w 66"/>
                  <a:gd name="T33" fmla="*/ 7 h 174"/>
                  <a:gd name="T34" fmla="*/ 19 w 66"/>
                  <a:gd name="T35" fmla="*/ 3 h 174"/>
                  <a:gd name="T36" fmla="*/ 26 w 66"/>
                  <a:gd name="T37" fmla="*/ 1 h 174"/>
                  <a:gd name="T38" fmla="*/ 33 w 66"/>
                  <a:gd name="T39" fmla="*/ 0 h 174"/>
                  <a:gd name="T40" fmla="*/ 33 w 66"/>
                  <a:gd name="T41" fmla="*/ 0 h 174"/>
                  <a:gd name="T42" fmla="*/ 39 w 66"/>
                  <a:gd name="T43" fmla="*/ 1 h 174"/>
                  <a:gd name="T44" fmla="*/ 45 w 66"/>
                  <a:gd name="T45" fmla="*/ 3 h 174"/>
                  <a:gd name="T46" fmla="*/ 51 w 66"/>
                  <a:gd name="T47" fmla="*/ 7 h 174"/>
                  <a:gd name="T48" fmla="*/ 56 w 66"/>
                  <a:gd name="T49" fmla="*/ 11 h 174"/>
                  <a:gd name="T50" fmla="*/ 60 w 66"/>
                  <a:gd name="T51" fmla="*/ 16 h 174"/>
                  <a:gd name="T52" fmla="*/ 63 w 66"/>
                  <a:gd name="T53" fmla="*/ 21 h 174"/>
                  <a:gd name="T54" fmla="*/ 65 w 66"/>
                  <a:gd name="T55" fmla="*/ 27 h 174"/>
                  <a:gd name="T56" fmla="*/ 66 w 66"/>
                  <a:gd name="T57" fmla="*/ 34 h 174"/>
                  <a:gd name="T58" fmla="*/ 66 w 66"/>
                  <a:gd name="T59" fmla="*/ 141 h 174"/>
                  <a:gd name="T60" fmla="*/ 66 w 66"/>
                  <a:gd name="T61" fmla="*/ 141 h 174"/>
                  <a:gd name="T62" fmla="*/ 65 w 66"/>
                  <a:gd name="T63" fmla="*/ 148 h 174"/>
                  <a:gd name="T64" fmla="*/ 63 w 66"/>
                  <a:gd name="T65" fmla="*/ 155 h 174"/>
                  <a:gd name="T66" fmla="*/ 60 w 66"/>
                  <a:gd name="T67" fmla="*/ 160 h 174"/>
                  <a:gd name="T68" fmla="*/ 56 w 66"/>
                  <a:gd name="T69" fmla="*/ 165 h 174"/>
                  <a:gd name="T70" fmla="*/ 51 w 66"/>
                  <a:gd name="T71" fmla="*/ 169 h 174"/>
                  <a:gd name="T72" fmla="*/ 45 w 66"/>
                  <a:gd name="T73" fmla="*/ 172 h 174"/>
                  <a:gd name="T74" fmla="*/ 39 w 66"/>
                  <a:gd name="T75" fmla="*/ 174 h 174"/>
                  <a:gd name="T76" fmla="*/ 33 w 66"/>
                  <a:gd name="T77" fmla="*/ 174 h 174"/>
                  <a:gd name="T78" fmla="*/ 33 w 66"/>
                  <a:gd name="T79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6" h="174">
                    <a:moveTo>
                      <a:pt x="33" y="174"/>
                    </a:moveTo>
                    <a:lnTo>
                      <a:pt x="33" y="174"/>
                    </a:lnTo>
                    <a:lnTo>
                      <a:pt x="26" y="174"/>
                    </a:lnTo>
                    <a:lnTo>
                      <a:pt x="19" y="172"/>
                    </a:lnTo>
                    <a:lnTo>
                      <a:pt x="14" y="169"/>
                    </a:lnTo>
                    <a:lnTo>
                      <a:pt x="9" y="165"/>
                    </a:lnTo>
                    <a:lnTo>
                      <a:pt x="5" y="160"/>
                    </a:lnTo>
                    <a:lnTo>
                      <a:pt x="2" y="155"/>
                    </a:lnTo>
                    <a:lnTo>
                      <a:pt x="0" y="148"/>
                    </a:lnTo>
                    <a:lnTo>
                      <a:pt x="0" y="141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27"/>
                    </a:lnTo>
                    <a:lnTo>
                      <a:pt x="2" y="21"/>
                    </a:lnTo>
                    <a:lnTo>
                      <a:pt x="5" y="16"/>
                    </a:lnTo>
                    <a:lnTo>
                      <a:pt x="9" y="11"/>
                    </a:lnTo>
                    <a:lnTo>
                      <a:pt x="14" y="7"/>
                    </a:lnTo>
                    <a:lnTo>
                      <a:pt x="19" y="3"/>
                    </a:lnTo>
                    <a:lnTo>
                      <a:pt x="26" y="1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9" y="1"/>
                    </a:lnTo>
                    <a:lnTo>
                      <a:pt x="45" y="3"/>
                    </a:lnTo>
                    <a:lnTo>
                      <a:pt x="51" y="7"/>
                    </a:lnTo>
                    <a:lnTo>
                      <a:pt x="56" y="11"/>
                    </a:lnTo>
                    <a:lnTo>
                      <a:pt x="60" y="16"/>
                    </a:lnTo>
                    <a:lnTo>
                      <a:pt x="63" y="21"/>
                    </a:lnTo>
                    <a:lnTo>
                      <a:pt x="65" y="27"/>
                    </a:lnTo>
                    <a:lnTo>
                      <a:pt x="66" y="34"/>
                    </a:lnTo>
                    <a:lnTo>
                      <a:pt x="66" y="141"/>
                    </a:lnTo>
                    <a:lnTo>
                      <a:pt x="66" y="141"/>
                    </a:lnTo>
                    <a:lnTo>
                      <a:pt x="65" y="148"/>
                    </a:lnTo>
                    <a:lnTo>
                      <a:pt x="63" y="155"/>
                    </a:lnTo>
                    <a:lnTo>
                      <a:pt x="60" y="160"/>
                    </a:lnTo>
                    <a:lnTo>
                      <a:pt x="56" y="165"/>
                    </a:lnTo>
                    <a:lnTo>
                      <a:pt x="51" y="169"/>
                    </a:lnTo>
                    <a:lnTo>
                      <a:pt x="45" y="172"/>
                    </a:lnTo>
                    <a:lnTo>
                      <a:pt x="39" y="174"/>
                    </a:lnTo>
                    <a:lnTo>
                      <a:pt x="33" y="174"/>
                    </a:lnTo>
                    <a:lnTo>
                      <a:pt x="33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52D74"/>
                  </a:solidFill>
                </a:endParaRPr>
              </a:p>
            </p:txBody>
          </p:sp>
          <p:sp>
            <p:nvSpPr>
              <p:cNvPr id="48" name="Freeform 1319">
                <a:extLst>
                  <a:ext uri="{FF2B5EF4-FFF2-40B4-BE49-F238E27FC236}">
                    <a16:creationId xmlns="" xmlns:a16="http://schemas.microsoft.com/office/drawing/2014/main" id="{814CCE3C-A9FD-4B18-8F48-142D958B3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5913" y="2963863"/>
                <a:ext cx="15875" cy="39688"/>
              </a:xfrm>
              <a:custGeom>
                <a:avLst/>
                <a:gdLst>
                  <a:gd name="T0" fmla="*/ 33 w 66"/>
                  <a:gd name="T1" fmla="*/ 173 h 173"/>
                  <a:gd name="T2" fmla="*/ 33 w 66"/>
                  <a:gd name="T3" fmla="*/ 173 h 173"/>
                  <a:gd name="T4" fmla="*/ 26 w 66"/>
                  <a:gd name="T5" fmla="*/ 173 h 173"/>
                  <a:gd name="T6" fmla="*/ 19 w 66"/>
                  <a:gd name="T7" fmla="*/ 171 h 173"/>
                  <a:gd name="T8" fmla="*/ 14 w 66"/>
                  <a:gd name="T9" fmla="*/ 168 h 173"/>
                  <a:gd name="T10" fmla="*/ 9 w 66"/>
                  <a:gd name="T11" fmla="*/ 163 h 173"/>
                  <a:gd name="T12" fmla="*/ 5 w 66"/>
                  <a:gd name="T13" fmla="*/ 158 h 173"/>
                  <a:gd name="T14" fmla="*/ 2 w 66"/>
                  <a:gd name="T15" fmla="*/ 153 h 173"/>
                  <a:gd name="T16" fmla="*/ 0 w 66"/>
                  <a:gd name="T17" fmla="*/ 147 h 173"/>
                  <a:gd name="T18" fmla="*/ 0 w 66"/>
                  <a:gd name="T19" fmla="*/ 140 h 173"/>
                  <a:gd name="T20" fmla="*/ 0 w 66"/>
                  <a:gd name="T21" fmla="*/ 32 h 173"/>
                  <a:gd name="T22" fmla="*/ 0 w 66"/>
                  <a:gd name="T23" fmla="*/ 32 h 173"/>
                  <a:gd name="T24" fmla="*/ 0 w 66"/>
                  <a:gd name="T25" fmla="*/ 26 h 173"/>
                  <a:gd name="T26" fmla="*/ 2 w 66"/>
                  <a:gd name="T27" fmla="*/ 20 h 173"/>
                  <a:gd name="T28" fmla="*/ 5 w 66"/>
                  <a:gd name="T29" fmla="*/ 14 h 173"/>
                  <a:gd name="T30" fmla="*/ 9 w 66"/>
                  <a:gd name="T31" fmla="*/ 9 h 173"/>
                  <a:gd name="T32" fmla="*/ 14 w 66"/>
                  <a:gd name="T33" fmla="*/ 5 h 173"/>
                  <a:gd name="T34" fmla="*/ 19 w 66"/>
                  <a:gd name="T35" fmla="*/ 2 h 173"/>
                  <a:gd name="T36" fmla="*/ 26 w 66"/>
                  <a:gd name="T37" fmla="*/ 0 h 173"/>
                  <a:gd name="T38" fmla="*/ 33 w 66"/>
                  <a:gd name="T39" fmla="*/ 0 h 173"/>
                  <a:gd name="T40" fmla="*/ 33 w 66"/>
                  <a:gd name="T41" fmla="*/ 0 h 173"/>
                  <a:gd name="T42" fmla="*/ 39 w 66"/>
                  <a:gd name="T43" fmla="*/ 0 h 173"/>
                  <a:gd name="T44" fmla="*/ 45 w 66"/>
                  <a:gd name="T45" fmla="*/ 2 h 173"/>
                  <a:gd name="T46" fmla="*/ 51 w 66"/>
                  <a:gd name="T47" fmla="*/ 5 h 173"/>
                  <a:gd name="T48" fmla="*/ 56 w 66"/>
                  <a:gd name="T49" fmla="*/ 9 h 173"/>
                  <a:gd name="T50" fmla="*/ 60 w 66"/>
                  <a:gd name="T51" fmla="*/ 14 h 173"/>
                  <a:gd name="T52" fmla="*/ 63 w 66"/>
                  <a:gd name="T53" fmla="*/ 20 h 173"/>
                  <a:gd name="T54" fmla="*/ 65 w 66"/>
                  <a:gd name="T55" fmla="*/ 26 h 173"/>
                  <a:gd name="T56" fmla="*/ 66 w 66"/>
                  <a:gd name="T57" fmla="*/ 32 h 173"/>
                  <a:gd name="T58" fmla="*/ 66 w 66"/>
                  <a:gd name="T59" fmla="*/ 140 h 173"/>
                  <a:gd name="T60" fmla="*/ 66 w 66"/>
                  <a:gd name="T61" fmla="*/ 140 h 173"/>
                  <a:gd name="T62" fmla="*/ 65 w 66"/>
                  <a:gd name="T63" fmla="*/ 147 h 173"/>
                  <a:gd name="T64" fmla="*/ 63 w 66"/>
                  <a:gd name="T65" fmla="*/ 153 h 173"/>
                  <a:gd name="T66" fmla="*/ 60 w 66"/>
                  <a:gd name="T67" fmla="*/ 158 h 173"/>
                  <a:gd name="T68" fmla="*/ 56 w 66"/>
                  <a:gd name="T69" fmla="*/ 163 h 173"/>
                  <a:gd name="T70" fmla="*/ 51 w 66"/>
                  <a:gd name="T71" fmla="*/ 168 h 173"/>
                  <a:gd name="T72" fmla="*/ 45 w 66"/>
                  <a:gd name="T73" fmla="*/ 171 h 173"/>
                  <a:gd name="T74" fmla="*/ 39 w 66"/>
                  <a:gd name="T75" fmla="*/ 173 h 173"/>
                  <a:gd name="T76" fmla="*/ 33 w 66"/>
                  <a:gd name="T77" fmla="*/ 173 h 173"/>
                  <a:gd name="T78" fmla="*/ 33 w 66"/>
                  <a:gd name="T79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6" h="173">
                    <a:moveTo>
                      <a:pt x="33" y="173"/>
                    </a:moveTo>
                    <a:lnTo>
                      <a:pt x="33" y="173"/>
                    </a:lnTo>
                    <a:lnTo>
                      <a:pt x="26" y="173"/>
                    </a:lnTo>
                    <a:lnTo>
                      <a:pt x="19" y="171"/>
                    </a:lnTo>
                    <a:lnTo>
                      <a:pt x="14" y="168"/>
                    </a:lnTo>
                    <a:lnTo>
                      <a:pt x="9" y="163"/>
                    </a:lnTo>
                    <a:lnTo>
                      <a:pt x="5" y="158"/>
                    </a:lnTo>
                    <a:lnTo>
                      <a:pt x="2" y="153"/>
                    </a:lnTo>
                    <a:lnTo>
                      <a:pt x="0" y="147"/>
                    </a:lnTo>
                    <a:lnTo>
                      <a:pt x="0" y="14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9" y="9"/>
                    </a:lnTo>
                    <a:lnTo>
                      <a:pt x="14" y="5"/>
                    </a:lnTo>
                    <a:lnTo>
                      <a:pt x="19" y="2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9" y="0"/>
                    </a:lnTo>
                    <a:lnTo>
                      <a:pt x="45" y="2"/>
                    </a:lnTo>
                    <a:lnTo>
                      <a:pt x="51" y="5"/>
                    </a:lnTo>
                    <a:lnTo>
                      <a:pt x="56" y="9"/>
                    </a:lnTo>
                    <a:lnTo>
                      <a:pt x="60" y="14"/>
                    </a:lnTo>
                    <a:lnTo>
                      <a:pt x="63" y="20"/>
                    </a:lnTo>
                    <a:lnTo>
                      <a:pt x="65" y="26"/>
                    </a:lnTo>
                    <a:lnTo>
                      <a:pt x="66" y="32"/>
                    </a:lnTo>
                    <a:lnTo>
                      <a:pt x="66" y="140"/>
                    </a:lnTo>
                    <a:lnTo>
                      <a:pt x="66" y="140"/>
                    </a:lnTo>
                    <a:lnTo>
                      <a:pt x="65" y="147"/>
                    </a:lnTo>
                    <a:lnTo>
                      <a:pt x="63" y="153"/>
                    </a:lnTo>
                    <a:lnTo>
                      <a:pt x="60" y="158"/>
                    </a:lnTo>
                    <a:lnTo>
                      <a:pt x="56" y="163"/>
                    </a:lnTo>
                    <a:lnTo>
                      <a:pt x="51" y="168"/>
                    </a:lnTo>
                    <a:lnTo>
                      <a:pt x="45" y="171"/>
                    </a:lnTo>
                    <a:lnTo>
                      <a:pt x="39" y="173"/>
                    </a:lnTo>
                    <a:lnTo>
                      <a:pt x="33" y="173"/>
                    </a:lnTo>
                    <a:lnTo>
                      <a:pt x="33" y="1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52D74"/>
                  </a:solidFill>
                </a:endParaRPr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="" xmlns:a16="http://schemas.microsoft.com/office/drawing/2014/main" id="{D9FB0883-4CFB-4E57-9230-CB63B8D72EE4}"/>
              </a:ext>
            </a:extLst>
          </p:cNvPr>
          <p:cNvGrpSpPr/>
          <p:nvPr/>
        </p:nvGrpSpPr>
        <p:grpSpPr>
          <a:xfrm>
            <a:off x="6647995" y="1803664"/>
            <a:ext cx="398144" cy="396388"/>
            <a:chOff x="9155113" y="3249613"/>
            <a:chExt cx="360363" cy="358775"/>
          </a:xfrm>
          <a:solidFill>
            <a:schemeClr val="bg1"/>
          </a:solidFill>
        </p:grpSpPr>
        <p:sp>
          <p:nvSpPr>
            <p:cNvPr id="50" name="Freeform 115">
              <a:extLst>
                <a:ext uri="{FF2B5EF4-FFF2-40B4-BE49-F238E27FC236}">
                  <a16:creationId xmlns="" xmlns:a16="http://schemas.microsoft.com/office/drawing/2014/main" id="{95943638-A8DE-4DB3-BCFD-D80EADDA3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5113" y="3249613"/>
              <a:ext cx="360363" cy="358775"/>
            </a:xfrm>
            <a:custGeom>
              <a:avLst/>
              <a:gdLst>
                <a:gd name="T0" fmla="*/ 576 w 1361"/>
                <a:gd name="T1" fmla="*/ 1352 h 1360"/>
                <a:gd name="T2" fmla="*/ 534 w 1361"/>
                <a:gd name="T3" fmla="*/ 1161 h 1360"/>
                <a:gd name="T4" fmla="*/ 316 w 1361"/>
                <a:gd name="T5" fmla="*/ 1244 h 1360"/>
                <a:gd name="T6" fmla="*/ 280 w 1361"/>
                <a:gd name="T7" fmla="*/ 1241 h 1360"/>
                <a:gd name="T8" fmla="*/ 112 w 1361"/>
                <a:gd name="T9" fmla="*/ 1060 h 1360"/>
                <a:gd name="T10" fmla="*/ 229 w 1361"/>
                <a:gd name="T11" fmla="*/ 911 h 1360"/>
                <a:gd name="T12" fmla="*/ 24 w 1361"/>
                <a:gd name="T13" fmla="*/ 793 h 1360"/>
                <a:gd name="T14" fmla="*/ 0 w 1361"/>
                <a:gd name="T15" fmla="*/ 765 h 1360"/>
                <a:gd name="T16" fmla="*/ 14 w 1361"/>
                <a:gd name="T17" fmla="*/ 571 h 1360"/>
                <a:gd name="T18" fmla="*/ 211 w 1361"/>
                <a:gd name="T19" fmla="*/ 498 h 1360"/>
                <a:gd name="T20" fmla="*/ 114 w 1361"/>
                <a:gd name="T21" fmla="*/ 310 h 1360"/>
                <a:gd name="T22" fmla="*/ 120 w 1361"/>
                <a:gd name="T23" fmla="*/ 279 h 1360"/>
                <a:gd name="T24" fmla="*/ 306 w 1361"/>
                <a:gd name="T25" fmla="*/ 111 h 1360"/>
                <a:gd name="T26" fmla="*/ 466 w 1361"/>
                <a:gd name="T27" fmla="*/ 221 h 1360"/>
                <a:gd name="T28" fmla="*/ 570 w 1361"/>
                <a:gd name="T29" fmla="*/ 17 h 1360"/>
                <a:gd name="T30" fmla="*/ 766 w 1361"/>
                <a:gd name="T31" fmla="*/ 0 h 1360"/>
                <a:gd name="T32" fmla="*/ 792 w 1361"/>
                <a:gd name="T33" fmla="*/ 17 h 1360"/>
                <a:gd name="T34" fmla="*/ 895 w 1361"/>
                <a:gd name="T35" fmla="*/ 221 h 1360"/>
                <a:gd name="T36" fmla="*/ 957 w 1361"/>
                <a:gd name="T37" fmla="*/ 257 h 1360"/>
                <a:gd name="T38" fmla="*/ 952 w 1361"/>
                <a:gd name="T39" fmla="*/ 289 h 1360"/>
                <a:gd name="T40" fmla="*/ 917 w 1361"/>
                <a:gd name="T41" fmla="*/ 293 h 1360"/>
                <a:gd name="T42" fmla="*/ 759 w 1361"/>
                <a:gd name="T43" fmla="*/ 240 h 1360"/>
                <a:gd name="T44" fmla="*/ 739 w 1361"/>
                <a:gd name="T45" fmla="*/ 222 h 1360"/>
                <a:gd name="T46" fmla="*/ 624 w 1361"/>
                <a:gd name="T47" fmla="*/ 217 h 1360"/>
                <a:gd name="T48" fmla="*/ 602 w 1361"/>
                <a:gd name="T49" fmla="*/ 240 h 1360"/>
                <a:gd name="T50" fmla="*/ 445 w 1361"/>
                <a:gd name="T51" fmla="*/ 293 h 1360"/>
                <a:gd name="T52" fmla="*/ 419 w 1361"/>
                <a:gd name="T53" fmla="*/ 295 h 1360"/>
                <a:gd name="T54" fmla="*/ 293 w 1361"/>
                <a:gd name="T55" fmla="*/ 413 h 1360"/>
                <a:gd name="T56" fmla="*/ 294 w 1361"/>
                <a:gd name="T57" fmla="*/ 444 h 1360"/>
                <a:gd name="T58" fmla="*/ 241 w 1361"/>
                <a:gd name="T59" fmla="*/ 602 h 1360"/>
                <a:gd name="T60" fmla="*/ 223 w 1361"/>
                <a:gd name="T61" fmla="*/ 622 h 1360"/>
                <a:gd name="T62" fmla="*/ 218 w 1361"/>
                <a:gd name="T63" fmla="*/ 737 h 1360"/>
                <a:gd name="T64" fmla="*/ 241 w 1361"/>
                <a:gd name="T65" fmla="*/ 758 h 1360"/>
                <a:gd name="T66" fmla="*/ 294 w 1361"/>
                <a:gd name="T67" fmla="*/ 916 h 1360"/>
                <a:gd name="T68" fmla="*/ 295 w 1361"/>
                <a:gd name="T69" fmla="*/ 943 h 1360"/>
                <a:gd name="T70" fmla="*/ 414 w 1361"/>
                <a:gd name="T71" fmla="*/ 1067 h 1360"/>
                <a:gd name="T72" fmla="*/ 445 w 1361"/>
                <a:gd name="T73" fmla="*/ 1066 h 1360"/>
                <a:gd name="T74" fmla="*/ 602 w 1361"/>
                <a:gd name="T75" fmla="*/ 1120 h 1360"/>
                <a:gd name="T76" fmla="*/ 623 w 1361"/>
                <a:gd name="T77" fmla="*/ 1138 h 1360"/>
                <a:gd name="T78" fmla="*/ 738 w 1361"/>
                <a:gd name="T79" fmla="*/ 1143 h 1360"/>
                <a:gd name="T80" fmla="*/ 759 w 1361"/>
                <a:gd name="T81" fmla="*/ 1120 h 1360"/>
                <a:gd name="T82" fmla="*/ 917 w 1361"/>
                <a:gd name="T83" fmla="*/ 1066 h 1360"/>
                <a:gd name="T84" fmla="*/ 944 w 1361"/>
                <a:gd name="T85" fmla="*/ 1065 h 1360"/>
                <a:gd name="T86" fmla="*/ 1069 w 1361"/>
                <a:gd name="T87" fmla="*/ 947 h 1360"/>
                <a:gd name="T88" fmla="*/ 1068 w 1361"/>
                <a:gd name="T89" fmla="*/ 916 h 1360"/>
                <a:gd name="T90" fmla="*/ 1122 w 1361"/>
                <a:gd name="T91" fmla="*/ 758 h 1360"/>
                <a:gd name="T92" fmla="*/ 1140 w 1361"/>
                <a:gd name="T93" fmla="*/ 738 h 1360"/>
                <a:gd name="T94" fmla="*/ 1144 w 1361"/>
                <a:gd name="T95" fmla="*/ 623 h 1360"/>
                <a:gd name="T96" fmla="*/ 1122 w 1361"/>
                <a:gd name="T97" fmla="*/ 602 h 1360"/>
                <a:gd name="T98" fmla="*/ 1092 w 1361"/>
                <a:gd name="T99" fmla="*/ 494 h 1360"/>
                <a:gd name="T100" fmla="*/ 1112 w 1361"/>
                <a:gd name="T101" fmla="*/ 468 h 1360"/>
                <a:gd name="T102" fmla="*/ 1146 w 1361"/>
                <a:gd name="T103" fmla="*/ 481 h 1360"/>
                <a:gd name="T104" fmla="*/ 1339 w 1361"/>
                <a:gd name="T105" fmla="*/ 567 h 1360"/>
                <a:gd name="T106" fmla="*/ 1361 w 1361"/>
                <a:gd name="T107" fmla="*/ 595 h 1360"/>
                <a:gd name="T108" fmla="*/ 1349 w 1361"/>
                <a:gd name="T109" fmla="*/ 789 h 1360"/>
                <a:gd name="T110" fmla="*/ 1152 w 1361"/>
                <a:gd name="T111" fmla="*/ 862 h 1360"/>
                <a:gd name="T112" fmla="*/ 1248 w 1361"/>
                <a:gd name="T113" fmla="*/ 1050 h 1360"/>
                <a:gd name="T114" fmla="*/ 1082 w 1361"/>
                <a:gd name="T115" fmla="*/ 1241 h 1360"/>
                <a:gd name="T116" fmla="*/ 1051 w 1361"/>
                <a:gd name="T117" fmla="*/ 1247 h 1360"/>
                <a:gd name="T118" fmla="*/ 863 w 1361"/>
                <a:gd name="T119" fmla="*/ 1150 h 1360"/>
                <a:gd name="T120" fmla="*/ 789 w 1361"/>
                <a:gd name="T121" fmla="*/ 1347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1" h="1360">
                  <a:moveTo>
                    <a:pt x="766" y="1360"/>
                  </a:moveTo>
                  <a:lnTo>
                    <a:pt x="596" y="1360"/>
                  </a:lnTo>
                  <a:lnTo>
                    <a:pt x="596" y="1360"/>
                  </a:lnTo>
                  <a:lnTo>
                    <a:pt x="590" y="1359"/>
                  </a:lnTo>
                  <a:lnTo>
                    <a:pt x="585" y="1358"/>
                  </a:lnTo>
                  <a:lnTo>
                    <a:pt x="580" y="1355"/>
                  </a:lnTo>
                  <a:lnTo>
                    <a:pt x="576" y="1352"/>
                  </a:lnTo>
                  <a:lnTo>
                    <a:pt x="572" y="1347"/>
                  </a:lnTo>
                  <a:lnTo>
                    <a:pt x="570" y="1343"/>
                  </a:lnTo>
                  <a:lnTo>
                    <a:pt x="568" y="1337"/>
                  </a:lnTo>
                  <a:lnTo>
                    <a:pt x="568" y="1332"/>
                  </a:lnTo>
                  <a:lnTo>
                    <a:pt x="568" y="1170"/>
                  </a:lnTo>
                  <a:lnTo>
                    <a:pt x="568" y="1170"/>
                  </a:lnTo>
                  <a:lnTo>
                    <a:pt x="534" y="1161"/>
                  </a:lnTo>
                  <a:lnTo>
                    <a:pt x="498" y="1150"/>
                  </a:lnTo>
                  <a:lnTo>
                    <a:pt x="466" y="1139"/>
                  </a:lnTo>
                  <a:lnTo>
                    <a:pt x="450" y="1132"/>
                  </a:lnTo>
                  <a:lnTo>
                    <a:pt x="436" y="1126"/>
                  </a:lnTo>
                  <a:lnTo>
                    <a:pt x="321" y="1241"/>
                  </a:lnTo>
                  <a:lnTo>
                    <a:pt x="321" y="1241"/>
                  </a:lnTo>
                  <a:lnTo>
                    <a:pt x="316" y="1244"/>
                  </a:lnTo>
                  <a:lnTo>
                    <a:pt x="311" y="1247"/>
                  </a:lnTo>
                  <a:lnTo>
                    <a:pt x="306" y="1248"/>
                  </a:lnTo>
                  <a:lnTo>
                    <a:pt x="300" y="1249"/>
                  </a:lnTo>
                  <a:lnTo>
                    <a:pt x="294" y="1248"/>
                  </a:lnTo>
                  <a:lnTo>
                    <a:pt x="289" y="1247"/>
                  </a:lnTo>
                  <a:lnTo>
                    <a:pt x="284" y="1244"/>
                  </a:lnTo>
                  <a:lnTo>
                    <a:pt x="280" y="1241"/>
                  </a:lnTo>
                  <a:lnTo>
                    <a:pt x="120" y="1081"/>
                  </a:lnTo>
                  <a:lnTo>
                    <a:pt x="120" y="1081"/>
                  </a:lnTo>
                  <a:lnTo>
                    <a:pt x="117" y="1077"/>
                  </a:lnTo>
                  <a:lnTo>
                    <a:pt x="114" y="1071"/>
                  </a:lnTo>
                  <a:lnTo>
                    <a:pt x="112" y="1066"/>
                  </a:lnTo>
                  <a:lnTo>
                    <a:pt x="112" y="1060"/>
                  </a:lnTo>
                  <a:lnTo>
                    <a:pt x="112" y="1060"/>
                  </a:lnTo>
                  <a:lnTo>
                    <a:pt x="112" y="1055"/>
                  </a:lnTo>
                  <a:lnTo>
                    <a:pt x="114" y="1050"/>
                  </a:lnTo>
                  <a:lnTo>
                    <a:pt x="117" y="1045"/>
                  </a:lnTo>
                  <a:lnTo>
                    <a:pt x="120" y="1041"/>
                  </a:lnTo>
                  <a:lnTo>
                    <a:pt x="235" y="925"/>
                  </a:lnTo>
                  <a:lnTo>
                    <a:pt x="235" y="925"/>
                  </a:lnTo>
                  <a:lnTo>
                    <a:pt x="229" y="911"/>
                  </a:lnTo>
                  <a:lnTo>
                    <a:pt x="222" y="896"/>
                  </a:lnTo>
                  <a:lnTo>
                    <a:pt x="211" y="862"/>
                  </a:lnTo>
                  <a:lnTo>
                    <a:pt x="200" y="828"/>
                  </a:lnTo>
                  <a:lnTo>
                    <a:pt x="191" y="794"/>
                  </a:lnTo>
                  <a:lnTo>
                    <a:pt x="29" y="794"/>
                  </a:lnTo>
                  <a:lnTo>
                    <a:pt x="29" y="794"/>
                  </a:lnTo>
                  <a:lnTo>
                    <a:pt x="24" y="793"/>
                  </a:lnTo>
                  <a:lnTo>
                    <a:pt x="18" y="791"/>
                  </a:lnTo>
                  <a:lnTo>
                    <a:pt x="14" y="789"/>
                  </a:lnTo>
                  <a:lnTo>
                    <a:pt x="10" y="785"/>
                  </a:lnTo>
                  <a:lnTo>
                    <a:pt x="6" y="781"/>
                  </a:lnTo>
                  <a:lnTo>
                    <a:pt x="4" y="775"/>
                  </a:lnTo>
                  <a:lnTo>
                    <a:pt x="1" y="770"/>
                  </a:lnTo>
                  <a:lnTo>
                    <a:pt x="0" y="765"/>
                  </a:lnTo>
                  <a:lnTo>
                    <a:pt x="0" y="595"/>
                  </a:lnTo>
                  <a:lnTo>
                    <a:pt x="0" y="595"/>
                  </a:lnTo>
                  <a:lnTo>
                    <a:pt x="1" y="590"/>
                  </a:lnTo>
                  <a:lnTo>
                    <a:pt x="4" y="584"/>
                  </a:lnTo>
                  <a:lnTo>
                    <a:pt x="6" y="578"/>
                  </a:lnTo>
                  <a:lnTo>
                    <a:pt x="10" y="574"/>
                  </a:lnTo>
                  <a:lnTo>
                    <a:pt x="14" y="571"/>
                  </a:lnTo>
                  <a:lnTo>
                    <a:pt x="18" y="568"/>
                  </a:lnTo>
                  <a:lnTo>
                    <a:pt x="24" y="567"/>
                  </a:lnTo>
                  <a:lnTo>
                    <a:pt x="29" y="566"/>
                  </a:lnTo>
                  <a:lnTo>
                    <a:pt x="191" y="566"/>
                  </a:lnTo>
                  <a:lnTo>
                    <a:pt x="191" y="566"/>
                  </a:lnTo>
                  <a:lnTo>
                    <a:pt x="200" y="532"/>
                  </a:lnTo>
                  <a:lnTo>
                    <a:pt x="211" y="498"/>
                  </a:lnTo>
                  <a:lnTo>
                    <a:pt x="222" y="464"/>
                  </a:lnTo>
                  <a:lnTo>
                    <a:pt x="229" y="449"/>
                  </a:lnTo>
                  <a:lnTo>
                    <a:pt x="235" y="434"/>
                  </a:lnTo>
                  <a:lnTo>
                    <a:pt x="120" y="319"/>
                  </a:lnTo>
                  <a:lnTo>
                    <a:pt x="120" y="319"/>
                  </a:lnTo>
                  <a:lnTo>
                    <a:pt x="117" y="315"/>
                  </a:lnTo>
                  <a:lnTo>
                    <a:pt x="114" y="310"/>
                  </a:lnTo>
                  <a:lnTo>
                    <a:pt x="112" y="305"/>
                  </a:lnTo>
                  <a:lnTo>
                    <a:pt x="112" y="299"/>
                  </a:lnTo>
                  <a:lnTo>
                    <a:pt x="112" y="299"/>
                  </a:lnTo>
                  <a:lnTo>
                    <a:pt x="112" y="294"/>
                  </a:lnTo>
                  <a:lnTo>
                    <a:pt x="114" y="289"/>
                  </a:lnTo>
                  <a:lnTo>
                    <a:pt x="117" y="283"/>
                  </a:lnTo>
                  <a:lnTo>
                    <a:pt x="120" y="279"/>
                  </a:lnTo>
                  <a:lnTo>
                    <a:pt x="280" y="119"/>
                  </a:lnTo>
                  <a:lnTo>
                    <a:pt x="280" y="119"/>
                  </a:lnTo>
                  <a:lnTo>
                    <a:pt x="284" y="115"/>
                  </a:lnTo>
                  <a:lnTo>
                    <a:pt x="289" y="113"/>
                  </a:lnTo>
                  <a:lnTo>
                    <a:pt x="294" y="111"/>
                  </a:lnTo>
                  <a:lnTo>
                    <a:pt x="300" y="111"/>
                  </a:lnTo>
                  <a:lnTo>
                    <a:pt x="306" y="111"/>
                  </a:lnTo>
                  <a:lnTo>
                    <a:pt x="311" y="113"/>
                  </a:lnTo>
                  <a:lnTo>
                    <a:pt x="316" y="115"/>
                  </a:lnTo>
                  <a:lnTo>
                    <a:pt x="321" y="119"/>
                  </a:lnTo>
                  <a:lnTo>
                    <a:pt x="436" y="234"/>
                  </a:lnTo>
                  <a:lnTo>
                    <a:pt x="436" y="234"/>
                  </a:lnTo>
                  <a:lnTo>
                    <a:pt x="450" y="227"/>
                  </a:lnTo>
                  <a:lnTo>
                    <a:pt x="466" y="221"/>
                  </a:lnTo>
                  <a:lnTo>
                    <a:pt x="499" y="209"/>
                  </a:lnTo>
                  <a:lnTo>
                    <a:pt x="534" y="199"/>
                  </a:lnTo>
                  <a:lnTo>
                    <a:pt x="568" y="190"/>
                  </a:lnTo>
                  <a:lnTo>
                    <a:pt x="568" y="28"/>
                  </a:lnTo>
                  <a:lnTo>
                    <a:pt x="568" y="28"/>
                  </a:lnTo>
                  <a:lnTo>
                    <a:pt x="568" y="22"/>
                  </a:lnTo>
                  <a:lnTo>
                    <a:pt x="570" y="17"/>
                  </a:lnTo>
                  <a:lnTo>
                    <a:pt x="572" y="12"/>
                  </a:lnTo>
                  <a:lnTo>
                    <a:pt x="576" y="8"/>
                  </a:lnTo>
                  <a:lnTo>
                    <a:pt x="580" y="5"/>
                  </a:lnTo>
                  <a:lnTo>
                    <a:pt x="585" y="2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766" y="0"/>
                  </a:lnTo>
                  <a:lnTo>
                    <a:pt x="766" y="0"/>
                  </a:lnTo>
                  <a:lnTo>
                    <a:pt x="772" y="0"/>
                  </a:lnTo>
                  <a:lnTo>
                    <a:pt x="777" y="2"/>
                  </a:lnTo>
                  <a:lnTo>
                    <a:pt x="782" y="5"/>
                  </a:lnTo>
                  <a:lnTo>
                    <a:pt x="786" y="8"/>
                  </a:lnTo>
                  <a:lnTo>
                    <a:pt x="789" y="12"/>
                  </a:lnTo>
                  <a:lnTo>
                    <a:pt x="792" y="17"/>
                  </a:lnTo>
                  <a:lnTo>
                    <a:pt x="793" y="22"/>
                  </a:lnTo>
                  <a:lnTo>
                    <a:pt x="794" y="28"/>
                  </a:lnTo>
                  <a:lnTo>
                    <a:pt x="794" y="190"/>
                  </a:lnTo>
                  <a:lnTo>
                    <a:pt x="794" y="190"/>
                  </a:lnTo>
                  <a:lnTo>
                    <a:pt x="835" y="201"/>
                  </a:lnTo>
                  <a:lnTo>
                    <a:pt x="876" y="214"/>
                  </a:lnTo>
                  <a:lnTo>
                    <a:pt x="895" y="221"/>
                  </a:lnTo>
                  <a:lnTo>
                    <a:pt x="914" y="228"/>
                  </a:lnTo>
                  <a:lnTo>
                    <a:pt x="931" y="236"/>
                  </a:lnTo>
                  <a:lnTo>
                    <a:pt x="946" y="245"/>
                  </a:lnTo>
                  <a:lnTo>
                    <a:pt x="946" y="245"/>
                  </a:lnTo>
                  <a:lnTo>
                    <a:pt x="951" y="248"/>
                  </a:lnTo>
                  <a:lnTo>
                    <a:pt x="955" y="252"/>
                  </a:lnTo>
                  <a:lnTo>
                    <a:pt x="957" y="257"/>
                  </a:lnTo>
                  <a:lnTo>
                    <a:pt x="959" y="262"/>
                  </a:lnTo>
                  <a:lnTo>
                    <a:pt x="960" y="267"/>
                  </a:lnTo>
                  <a:lnTo>
                    <a:pt x="960" y="273"/>
                  </a:lnTo>
                  <a:lnTo>
                    <a:pt x="958" y="278"/>
                  </a:lnTo>
                  <a:lnTo>
                    <a:pt x="956" y="283"/>
                  </a:lnTo>
                  <a:lnTo>
                    <a:pt x="956" y="283"/>
                  </a:lnTo>
                  <a:lnTo>
                    <a:pt x="952" y="289"/>
                  </a:lnTo>
                  <a:lnTo>
                    <a:pt x="948" y="292"/>
                  </a:lnTo>
                  <a:lnTo>
                    <a:pt x="944" y="295"/>
                  </a:lnTo>
                  <a:lnTo>
                    <a:pt x="938" y="297"/>
                  </a:lnTo>
                  <a:lnTo>
                    <a:pt x="933" y="298"/>
                  </a:lnTo>
                  <a:lnTo>
                    <a:pt x="928" y="297"/>
                  </a:lnTo>
                  <a:lnTo>
                    <a:pt x="922" y="296"/>
                  </a:lnTo>
                  <a:lnTo>
                    <a:pt x="917" y="293"/>
                  </a:lnTo>
                  <a:lnTo>
                    <a:pt x="917" y="293"/>
                  </a:lnTo>
                  <a:lnTo>
                    <a:pt x="901" y="284"/>
                  </a:lnTo>
                  <a:lnTo>
                    <a:pt x="883" y="276"/>
                  </a:lnTo>
                  <a:lnTo>
                    <a:pt x="863" y="269"/>
                  </a:lnTo>
                  <a:lnTo>
                    <a:pt x="843" y="262"/>
                  </a:lnTo>
                  <a:lnTo>
                    <a:pt x="799" y="250"/>
                  </a:lnTo>
                  <a:lnTo>
                    <a:pt x="759" y="240"/>
                  </a:lnTo>
                  <a:lnTo>
                    <a:pt x="759" y="240"/>
                  </a:lnTo>
                  <a:lnTo>
                    <a:pt x="755" y="238"/>
                  </a:lnTo>
                  <a:lnTo>
                    <a:pt x="751" y="236"/>
                  </a:lnTo>
                  <a:lnTo>
                    <a:pt x="747" y="233"/>
                  </a:lnTo>
                  <a:lnTo>
                    <a:pt x="744" y="230"/>
                  </a:lnTo>
                  <a:lnTo>
                    <a:pt x="741" y="226"/>
                  </a:lnTo>
                  <a:lnTo>
                    <a:pt x="739" y="222"/>
                  </a:lnTo>
                  <a:lnTo>
                    <a:pt x="738" y="217"/>
                  </a:lnTo>
                  <a:lnTo>
                    <a:pt x="738" y="212"/>
                  </a:lnTo>
                  <a:lnTo>
                    <a:pt x="738" y="56"/>
                  </a:lnTo>
                  <a:lnTo>
                    <a:pt x="625" y="56"/>
                  </a:lnTo>
                  <a:lnTo>
                    <a:pt x="625" y="212"/>
                  </a:lnTo>
                  <a:lnTo>
                    <a:pt x="625" y="212"/>
                  </a:lnTo>
                  <a:lnTo>
                    <a:pt x="624" y="217"/>
                  </a:lnTo>
                  <a:lnTo>
                    <a:pt x="623" y="222"/>
                  </a:lnTo>
                  <a:lnTo>
                    <a:pt x="621" y="226"/>
                  </a:lnTo>
                  <a:lnTo>
                    <a:pt x="619" y="230"/>
                  </a:lnTo>
                  <a:lnTo>
                    <a:pt x="615" y="233"/>
                  </a:lnTo>
                  <a:lnTo>
                    <a:pt x="612" y="236"/>
                  </a:lnTo>
                  <a:lnTo>
                    <a:pt x="608" y="238"/>
                  </a:lnTo>
                  <a:lnTo>
                    <a:pt x="602" y="240"/>
                  </a:lnTo>
                  <a:lnTo>
                    <a:pt x="602" y="240"/>
                  </a:lnTo>
                  <a:lnTo>
                    <a:pt x="562" y="250"/>
                  </a:lnTo>
                  <a:lnTo>
                    <a:pt x="520" y="262"/>
                  </a:lnTo>
                  <a:lnTo>
                    <a:pt x="498" y="269"/>
                  </a:lnTo>
                  <a:lnTo>
                    <a:pt x="479" y="276"/>
                  </a:lnTo>
                  <a:lnTo>
                    <a:pt x="461" y="284"/>
                  </a:lnTo>
                  <a:lnTo>
                    <a:pt x="445" y="293"/>
                  </a:lnTo>
                  <a:lnTo>
                    <a:pt x="445" y="293"/>
                  </a:lnTo>
                  <a:lnTo>
                    <a:pt x="441" y="296"/>
                  </a:lnTo>
                  <a:lnTo>
                    <a:pt x="437" y="297"/>
                  </a:lnTo>
                  <a:lnTo>
                    <a:pt x="432" y="298"/>
                  </a:lnTo>
                  <a:lnTo>
                    <a:pt x="427" y="297"/>
                  </a:lnTo>
                  <a:lnTo>
                    <a:pt x="423" y="296"/>
                  </a:lnTo>
                  <a:lnTo>
                    <a:pt x="419" y="295"/>
                  </a:lnTo>
                  <a:lnTo>
                    <a:pt x="414" y="292"/>
                  </a:lnTo>
                  <a:lnTo>
                    <a:pt x="411" y="289"/>
                  </a:lnTo>
                  <a:lnTo>
                    <a:pt x="300" y="178"/>
                  </a:lnTo>
                  <a:lnTo>
                    <a:pt x="180" y="299"/>
                  </a:lnTo>
                  <a:lnTo>
                    <a:pt x="290" y="409"/>
                  </a:lnTo>
                  <a:lnTo>
                    <a:pt x="290" y="409"/>
                  </a:lnTo>
                  <a:lnTo>
                    <a:pt x="293" y="413"/>
                  </a:lnTo>
                  <a:lnTo>
                    <a:pt x="295" y="417"/>
                  </a:lnTo>
                  <a:lnTo>
                    <a:pt x="297" y="421"/>
                  </a:lnTo>
                  <a:lnTo>
                    <a:pt x="298" y="426"/>
                  </a:lnTo>
                  <a:lnTo>
                    <a:pt x="298" y="431"/>
                  </a:lnTo>
                  <a:lnTo>
                    <a:pt x="297" y="435"/>
                  </a:lnTo>
                  <a:lnTo>
                    <a:pt x="296" y="440"/>
                  </a:lnTo>
                  <a:lnTo>
                    <a:pt x="294" y="444"/>
                  </a:lnTo>
                  <a:lnTo>
                    <a:pt x="294" y="444"/>
                  </a:lnTo>
                  <a:lnTo>
                    <a:pt x="285" y="461"/>
                  </a:lnTo>
                  <a:lnTo>
                    <a:pt x="276" y="481"/>
                  </a:lnTo>
                  <a:lnTo>
                    <a:pt x="268" y="504"/>
                  </a:lnTo>
                  <a:lnTo>
                    <a:pt x="261" y="527"/>
                  </a:lnTo>
                  <a:lnTo>
                    <a:pt x="249" y="569"/>
                  </a:lnTo>
                  <a:lnTo>
                    <a:pt x="241" y="602"/>
                  </a:lnTo>
                  <a:lnTo>
                    <a:pt x="241" y="602"/>
                  </a:lnTo>
                  <a:lnTo>
                    <a:pt x="239" y="606"/>
                  </a:lnTo>
                  <a:lnTo>
                    <a:pt x="237" y="610"/>
                  </a:lnTo>
                  <a:lnTo>
                    <a:pt x="234" y="614"/>
                  </a:lnTo>
                  <a:lnTo>
                    <a:pt x="231" y="617"/>
                  </a:lnTo>
                  <a:lnTo>
                    <a:pt x="227" y="620"/>
                  </a:lnTo>
                  <a:lnTo>
                    <a:pt x="223" y="622"/>
                  </a:lnTo>
                  <a:lnTo>
                    <a:pt x="218" y="623"/>
                  </a:lnTo>
                  <a:lnTo>
                    <a:pt x="214" y="623"/>
                  </a:lnTo>
                  <a:lnTo>
                    <a:pt x="57" y="623"/>
                  </a:lnTo>
                  <a:lnTo>
                    <a:pt x="57" y="736"/>
                  </a:lnTo>
                  <a:lnTo>
                    <a:pt x="214" y="736"/>
                  </a:lnTo>
                  <a:lnTo>
                    <a:pt x="214" y="736"/>
                  </a:lnTo>
                  <a:lnTo>
                    <a:pt x="218" y="737"/>
                  </a:lnTo>
                  <a:lnTo>
                    <a:pt x="223" y="738"/>
                  </a:lnTo>
                  <a:lnTo>
                    <a:pt x="227" y="740"/>
                  </a:lnTo>
                  <a:lnTo>
                    <a:pt x="231" y="743"/>
                  </a:lnTo>
                  <a:lnTo>
                    <a:pt x="234" y="746"/>
                  </a:lnTo>
                  <a:lnTo>
                    <a:pt x="237" y="749"/>
                  </a:lnTo>
                  <a:lnTo>
                    <a:pt x="239" y="753"/>
                  </a:lnTo>
                  <a:lnTo>
                    <a:pt x="241" y="758"/>
                  </a:lnTo>
                  <a:lnTo>
                    <a:pt x="241" y="758"/>
                  </a:lnTo>
                  <a:lnTo>
                    <a:pt x="249" y="791"/>
                  </a:lnTo>
                  <a:lnTo>
                    <a:pt x="261" y="833"/>
                  </a:lnTo>
                  <a:lnTo>
                    <a:pt x="268" y="856"/>
                  </a:lnTo>
                  <a:lnTo>
                    <a:pt x="276" y="878"/>
                  </a:lnTo>
                  <a:lnTo>
                    <a:pt x="285" y="899"/>
                  </a:lnTo>
                  <a:lnTo>
                    <a:pt x="294" y="916"/>
                  </a:lnTo>
                  <a:lnTo>
                    <a:pt x="294" y="916"/>
                  </a:lnTo>
                  <a:lnTo>
                    <a:pt x="296" y="920"/>
                  </a:lnTo>
                  <a:lnTo>
                    <a:pt x="297" y="925"/>
                  </a:lnTo>
                  <a:lnTo>
                    <a:pt x="298" y="929"/>
                  </a:lnTo>
                  <a:lnTo>
                    <a:pt x="298" y="934"/>
                  </a:lnTo>
                  <a:lnTo>
                    <a:pt x="297" y="938"/>
                  </a:lnTo>
                  <a:lnTo>
                    <a:pt x="295" y="943"/>
                  </a:lnTo>
                  <a:lnTo>
                    <a:pt x="293" y="947"/>
                  </a:lnTo>
                  <a:lnTo>
                    <a:pt x="290" y="950"/>
                  </a:lnTo>
                  <a:lnTo>
                    <a:pt x="180" y="1060"/>
                  </a:lnTo>
                  <a:lnTo>
                    <a:pt x="300" y="1181"/>
                  </a:lnTo>
                  <a:lnTo>
                    <a:pt x="411" y="1070"/>
                  </a:lnTo>
                  <a:lnTo>
                    <a:pt x="411" y="1070"/>
                  </a:lnTo>
                  <a:lnTo>
                    <a:pt x="414" y="1067"/>
                  </a:lnTo>
                  <a:lnTo>
                    <a:pt x="418" y="1065"/>
                  </a:lnTo>
                  <a:lnTo>
                    <a:pt x="423" y="1063"/>
                  </a:lnTo>
                  <a:lnTo>
                    <a:pt x="427" y="1062"/>
                  </a:lnTo>
                  <a:lnTo>
                    <a:pt x="432" y="1062"/>
                  </a:lnTo>
                  <a:lnTo>
                    <a:pt x="436" y="1063"/>
                  </a:lnTo>
                  <a:lnTo>
                    <a:pt x="441" y="1064"/>
                  </a:lnTo>
                  <a:lnTo>
                    <a:pt x="445" y="1066"/>
                  </a:lnTo>
                  <a:lnTo>
                    <a:pt x="445" y="1066"/>
                  </a:lnTo>
                  <a:lnTo>
                    <a:pt x="463" y="1076"/>
                  </a:lnTo>
                  <a:lnTo>
                    <a:pt x="483" y="1085"/>
                  </a:lnTo>
                  <a:lnTo>
                    <a:pt x="505" y="1093"/>
                  </a:lnTo>
                  <a:lnTo>
                    <a:pt x="528" y="1100"/>
                  </a:lnTo>
                  <a:lnTo>
                    <a:pt x="570" y="1112"/>
                  </a:lnTo>
                  <a:lnTo>
                    <a:pt x="602" y="1120"/>
                  </a:lnTo>
                  <a:lnTo>
                    <a:pt x="602" y="1120"/>
                  </a:lnTo>
                  <a:lnTo>
                    <a:pt x="608" y="1122"/>
                  </a:lnTo>
                  <a:lnTo>
                    <a:pt x="612" y="1124"/>
                  </a:lnTo>
                  <a:lnTo>
                    <a:pt x="615" y="1127"/>
                  </a:lnTo>
                  <a:lnTo>
                    <a:pt x="619" y="1130"/>
                  </a:lnTo>
                  <a:lnTo>
                    <a:pt x="621" y="1134"/>
                  </a:lnTo>
                  <a:lnTo>
                    <a:pt x="623" y="1138"/>
                  </a:lnTo>
                  <a:lnTo>
                    <a:pt x="624" y="1143"/>
                  </a:lnTo>
                  <a:lnTo>
                    <a:pt x="625" y="1148"/>
                  </a:lnTo>
                  <a:lnTo>
                    <a:pt x="625" y="1304"/>
                  </a:lnTo>
                  <a:lnTo>
                    <a:pt x="738" y="1304"/>
                  </a:lnTo>
                  <a:lnTo>
                    <a:pt x="738" y="1148"/>
                  </a:lnTo>
                  <a:lnTo>
                    <a:pt x="738" y="1148"/>
                  </a:lnTo>
                  <a:lnTo>
                    <a:pt x="738" y="1143"/>
                  </a:lnTo>
                  <a:lnTo>
                    <a:pt x="739" y="1138"/>
                  </a:lnTo>
                  <a:lnTo>
                    <a:pt x="741" y="1134"/>
                  </a:lnTo>
                  <a:lnTo>
                    <a:pt x="744" y="1130"/>
                  </a:lnTo>
                  <a:lnTo>
                    <a:pt x="747" y="1127"/>
                  </a:lnTo>
                  <a:lnTo>
                    <a:pt x="751" y="1124"/>
                  </a:lnTo>
                  <a:lnTo>
                    <a:pt x="755" y="1122"/>
                  </a:lnTo>
                  <a:lnTo>
                    <a:pt x="759" y="1120"/>
                  </a:lnTo>
                  <a:lnTo>
                    <a:pt x="759" y="1120"/>
                  </a:lnTo>
                  <a:lnTo>
                    <a:pt x="791" y="1112"/>
                  </a:lnTo>
                  <a:lnTo>
                    <a:pt x="835" y="1100"/>
                  </a:lnTo>
                  <a:lnTo>
                    <a:pt x="857" y="1093"/>
                  </a:lnTo>
                  <a:lnTo>
                    <a:pt x="879" y="1085"/>
                  </a:lnTo>
                  <a:lnTo>
                    <a:pt x="899" y="1077"/>
                  </a:lnTo>
                  <a:lnTo>
                    <a:pt x="917" y="1066"/>
                  </a:lnTo>
                  <a:lnTo>
                    <a:pt x="917" y="1066"/>
                  </a:lnTo>
                  <a:lnTo>
                    <a:pt x="921" y="1064"/>
                  </a:lnTo>
                  <a:lnTo>
                    <a:pt x="926" y="1063"/>
                  </a:lnTo>
                  <a:lnTo>
                    <a:pt x="930" y="1062"/>
                  </a:lnTo>
                  <a:lnTo>
                    <a:pt x="935" y="1062"/>
                  </a:lnTo>
                  <a:lnTo>
                    <a:pt x="940" y="1063"/>
                  </a:lnTo>
                  <a:lnTo>
                    <a:pt x="944" y="1065"/>
                  </a:lnTo>
                  <a:lnTo>
                    <a:pt x="948" y="1067"/>
                  </a:lnTo>
                  <a:lnTo>
                    <a:pt x="952" y="1070"/>
                  </a:lnTo>
                  <a:lnTo>
                    <a:pt x="1062" y="1181"/>
                  </a:lnTo>
                  <a:lnTo>
                    <a:pt x="1182" y="1060"/>
                  </a:lnTo>
                  <a:lnTo>
                    <a:pt x="1072" y="950"/>
                  </a:lnTo>
                  <a:lnTo>
                    <a:pt x="1072" y="950"/>
                  </a:lnTo>
                  <a:lnTo>
                    <a:pt x="1069" y="947"/>
                  </a:lnTo>
                  <a:lnTo>
                    <a:pt x="1066" y="943"/>
                  </a:lnTo>
                  <a:lnTo>
                    <a:pt x="1065" y="938"/>
                  </a:lnTo>
                  <a:lnTo>
                    <a:pt x="1064" y="934"/>
                  </a:lnTo>
                  <a:lnTo>
                    <a:pt x="1064" y="929"/>
                  </a:lnTo>
                  <a:lnTo>
                    <a:pt x="1064" y="925"/>
                  </a:lnTo>
                  <a:lnTo>
                    <a:pt x="1066" y="920"/>
                  </a:lnTo>
                  <a:lnTo>
                    <a:pt x="1068" y="916"/>
                  </a:lnTo>
                  <a:lnTo>
                    <a:pt x="1068" y="916"/>
                  </a:lnTo>
                  <a:lnTo>
                    <a:pt x="1077" y="899"/>
                  </a:lnTo>
                  <a:lnTo>
                    <a:pt x="1086" y="878"/>
                  </a:lnTo>
                  <a:lnTo>
                    <a:pt x="1094" y="856"/>
                  </a:lnTo>
                  <a:lnTo>
                    <a:pt x="1101" y="833"/>
                  </a:lnTo>
                  <a:lnTo>
                    <a:pt x="1114" y="791"/>
                  </a:lnTo>
                  <a:lnTo>
                    <a:pt x="1122" y="758"/>
                  </a:lnTo>
                  <a:lnTo>
                    <a:pt x="1122" y="758"/>
                  </a:lnTo>
                  <a:lnTo>
                    <a:pt x="1123" y="753"/>
                  </a:lnTo>
                  <a:lnTo>
                    <a:pt x="1125" y="749"/>
                  </a:lnTo>
                  <a:lnTo>
                    <a:pt x="1128" y="746"/>
                  </a:lnTo>
                  <a:lnTo>
                    <a:pt x="1132" y="743"/>
                  </a:lnTo>
                  <a:lnTo>
                    <a:pt x="1135" y="740"/>
                  </a:lnTo>
                  <a:lnTo>
                    <a:pt x="1140" y="738"/>
                  </a:lnTo>
                  <a:lnTo>
                    <a:pt x="1144" y="737"/>
                  </a:lnTo>
                  <a:lnTo>
                    <a:pt x="1149" y="736"/>
                  </a:lnTo>
                  <a:lnTo>
                    <a:pt x="1304" y="736"/>
                  </a:lnTo>
                  <a:lnTo>
                    <a:pt x="1304" y="623"/>
                  </a:lnTo>
                  <a:lnTo>
                    <a:pt x="1149" y="623"/>
                  </a:lnTo>
                  <a:lnTo>
                    <a:pt x="1149" y="623"/>
                  </a:lnTo>
                  <a:lnTo>
                    <a:pt x="1144" y="623"/>
                  </a:lnTo>
                  <a:lnTo>
                    <a:pt x="1140" y="622"/>
                  </a:lnTo>
                  <a:lnTo>
                    <a:pt x="1135" y="620"/>
                  </a:lnTo>
                  <a:lnTo>
                    <a:pt x="1132" y="617"/>
                  </a:lnTo>
                  <a:lnTo>
                    <a:pt x="1128" y="614"/>
                  </a:lnTo>
                  <a:lnTo>
                    <a:pt x="1125" y="610"/>
                  </a:lnTo>
                  <a:lnTo>
                    <a:pt x="1123" y="606"/>
                  </a:lnTo>
                  <a:lnTo>
                    <a:pt x="1122" y="602"/>
                  </a:lnTo>
                  <a:lnTo>
                    <a:pt x="1122" y="602"/>
                  </a:lnTo>
                  <a:lnTo>
                    <a:pt x="1109" y="555"/>
                  </a:lnTo>
                  <a:lnTo>
                    <a:pt x="1102" y="530"/>
                  </a:lnTo>
                  <a:lnTo>
                    <a:pt x="1094" y="505"/>
                  </a:lnTo>
                  <a:lnTo>
                    <a:pt x="1094" y="505"/>
                  </a:lnTo>
                  <a:lnTo>
                    <a:pt x="1093" y="499"/>
                  </a:lnTo>
                  <a:lnTo>
                    <a:pt x="1092" y="494"/>
                  </a:lnTo>
                  <a:lnTo>
                    <a:pt x="1093" y="488"/>
                  </a:lnTo>
                  <a:lnTo>
                    <a:pt x="1095" y="482"/>
                  </a:lnTo>
                  <a:lnTo>
                    <a:pt x="1098" y="478"/>
                  </a:lnTo>
                  <a:lnTo>
                    <a:pt x="1102" y="474"/>
                  </a:lnTo>
                  <a:lnTo>
                    <a:pt x="1106" y="470"/>
                  </a:lnTo>
                  <a:lnTo>
                    <a:pt x="1112" y="468"/>
                  </a:lnTo>
                  <a:lnTo>
                    <a:pt x="1112" y="468"/>
                  </a:lnTo>
                  <a:lnTo>
                    <a:pt x="1118" y="467"/>
                  </a:lnTo>
                  <a:lnTo>
                    <a:pt x="1123" y="467"/>
                  </a:lnTo>
                  <a:lnTo>
                    <a:pt x="1129" y="468"/>
                  </a:lnTo>
                  <a:lnTo>
                    <a:pt x="1134" y="470"/>
                  </a:lnTo>
                  <a:lnTo>
                    <a:pt x="1138" y="472"/>
                  </a:lnTo>
                  <a:lnTo>
                    <a:pt x="1142" y="476"/>
                  </a:lnTo>
                  <a:lnTo>
                    <a:pt x="1146" y="481"/>
                  </a:lnTo>
                  <a:lnTo>
                    <a:pt x="1148" y="487"/>
                  </a:lnTo>
                  <a:lnTo>
                    <a:pt x="1148" y="487"/>
                  </a:lnTo>
                  <a:lnTo>
                    <a:pt x="1161" y="527"/>
                  </a:lnTo>
                  <a:lnTo>
                    <a:pt x="1171" y="566"/>
                  </a:lnTo>
                  <a:lnTo>
                    <a:pt x="1333" y="566"/>
                  </a:lnTo>
                  <a:lnTo>
                    <a:pt x="1333" y="566"/>
                  </a:lnTo>
                  <a:lnTo>
                    <a:pt x="1339" y="567"/>
                  </a:lnTo>
                  <a:lnTo>
                    <a:pt x="1344" y="568"/>
                  </a:lnTo>
                  <a:lnTo>
                    <a:pt x="1349" y="571"/>
                  </a:lnTo>
                  <a:lnTo>
                    <a:pt x="1353" y="574"/>
                  </a:lnTo>
                  <a:lnTo>
                    <a:pt x="1356" y="578"/>
                  </a:lnTo>
                  <a:lnTo>
                    <a:pt x="1359" y="584"/>
                  </a:lnTo>
                  <a:lnTo>
                    <a:pt x="1361" y="590"/>
                  </a:lnTo>
                  <a:lnTo>
                    <a:pt x="1361" y="595"/>
                  </a:lnTo>
                  <a:lnTo>
                    <a:pt x="1361" y="765"/>
                  </a:lnTo>
                  <a:lnTo>
                    <a:pt x="1361" y="765"/>
                  </a:lnTo>
                  <a:lnTo>
                    <a:pt x="1361" y="770"/>
                  </a:lnTo>
                  <a:lnTo>
                    <a:pt x="1359" y="775"/>
                  </a:lnTo>
                  <a:lnTo>
                    <a:pt x="1356" y="781"/>
                  </a:lnTo>
                  <a:lnTo>
                    <a:pt x="1353" y="785"/>
                  </a:lnTo>
                  <a:lnTo>
                    <a:pt x="1349" y="789"/>
                  </a:lnTo>
                  <a:lnTo>
                    <a:pt x="1344" y="791"/>
                  </a:lnTo>
                  <a:lnTo>
                    <a:pt x="1339" y="793"/>
                  </a:lnTo>
                  <a:lnTo>
                    <a:pt x="1333" y="794"/>
                  </a:lnTo>
                  <a:lnTo>
                    <a:pt x="1171" y="794"/>
                  </a:lnTo>
                  <a:lnTo>
                    <a:pt x="1171" y="794"/>
                  </a:lnTo>
                  <a:lnTo>
                    <a:pt x="1162" y="828"/>
                  </a:lnTo>
                  <a:lnTo>
                    <a:pt x="1152" y="862"/>
                  </a:lnTo>
                  <a:lnTo>
                    <a:pt x="1140" y="896"/>
                  </a:lnTo>
                  <a:lnTo>
                    <a:pt x="1134" y="911"/>
                  </a:lnTo>
                  <a:lnTo>
                    <a:pt x="1127" y="925"/>
                  </a:lnTo>
                  <a:lnTo>
                    <a:pt x="1242" y="1041"/>
                  </a:lnTo>
                  <a:lnTo>
                    <a:pt x="1242" y="1041"/>
                  </a:lnTo>
                  <a:lnTo>
                    <a:pt x="1246" y="1045"/>
                  </a:lnTo>
                  <a:lnTo>
                    <a:pt x="1248" y="1050"/>
                  </a:lnTo>
                  <a:lnTo>
                    <a:pt x="1250" y="1055"/>
                  </a:lnTo>
                  <a:lnTo>
                    <a:pt x="1251" y="1060"/>
                  </a:lnTo>
                  <a:lnTo>
                    <a:pt x="1250" y="1066"/>
                  </a:lnTo>
                  <a:lnTo>
                    <a:pt x="1248" y="1071"/>
                  </a:lnTo>
                  <a:lnTo>
                    <a:pt x="1246" y="1077"/>
                  </a:lnTo>
                  <a:lnTo>
                    <a:pt x="1242" y="1081"/>
                  </a:lnTo>
                  <a:lnTo>
                    <a:pt x="1082" y="1241"/>
                  </a:lnTo>
                  <a:lnTo>
                    <a:pt x="1082" y="1241"/>
                  </a:lnTo>
                  <a:lnTo>
                    <a:pt x="1077" y="1245"/>
                  </a:lnTo>
                  <a:lnTo>
                    <a:pt x="1072" y="1247"/>
                  </a:lnTo>
                  <a:lnTo>
                    <a:pt x="1067" y="1249"/>
                  </a:lnTo>
                  <a:lnTo>
                    <a:pt x="1062" y="1249"/>
                  </a:lnTo>
                  <a:lnTo>
                    <a:pt x="1056" y="1249"/>
                  </a:lnTo>
                  <a:lnTo>
                    <a:pt x="1051" y="1247"/>
                  </a:lnTo>
                  <a:lnTo>
                    <a:pt x="1046" y="1245"/>
                  </a:lnTo>
                  <a:lnTo>
                    <a:pt x="1042" y="1241"/>
                  </a:lnTo>
                  <a:lnTo>
                    <a:pt x="927" y="1126"/>
                  </a:lnTo>
                  <a:lnTo>
                    <a:pt x="927" y="1126"/>
                  </a:lnTo>
                  <a:lnTo>
                    <a:pt x="912" y="1132"/>
                  </a:lnTo>
                  <a:lnTo>
                    <a:pt x="896" y="1139"/>
                  </a:lnTo>
                  <a:lnTo>
                    <a:pt x="863" y="1150"/>
                  </a:lnTo>
                  <a:lnTo>
                    <a:pt x="829" y="1161"/>
                  </a:lnTo>
                  <a:lnTo>
                    <a:pt x="794" y="1170"/>
                  </a:lnTo>
                  <a:lnTo>
                    <a:pt x="794" y="1332"/>
                  </a:lnTo>
                  <a:lnTo>
                    <a:pt x="794" y="1332"/>
                  </a:lnTo>
                  <a:lnTo>
                    <a:pt x="793" y="1337"/>
                  </a:lnTo>
                  <a:lnTo>
                    <a:pt x="792" y="1343"/>
                  </a:lnTo>
                  <a:lnTo>
                    <a:pt x="789" y="1347"/>
                  </a:lnTo>
                  <a:lnTo>
                    <a:pt x="786" y="1352"/>
                  </a:lnTo>
                  <a:lnTo>
                    <a:pt x="782" y="1355"/>
                  </a:lnTo>
                  <a:lnTo>
                    <a:pt x="777" y="1358"/>
                  </a:lnTo>
                  <a:lnTo>
                    <a:pt x="772" y="1359"/>
                  </a:lnTo>
                  <a:lnTo>
                    <a:pt x="766" y="1360"/>
                  </a:lnTo>
                  <a:lnTo>
                    <a:pt x="766" y="1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51" name="Freeform 116">
              <a:extLst>
                <a:ext uri="{FF2B5EF4-FFF2-40B4-BE49-F238E27FC236}">
                  <a16:creationId xmlns="" xmlns:a16="http://schemas.microsoft.com/office/drawing/2014/main" id="{101C6B71-7C28-4F3E-814E-9B558F94F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6238" y="3249613"/>
              <a:ext cx="249238" cy="222250"/>
            </a:xfrm>
            <a:custGeom>
              <a:avLst/>
              <a:gdLst>
                <a:gd name="T0" fmla="*/ 281 w 944"/>
                <a:gd name="T1" fmla="*/ 843 h 843"/>
                <a:gd name="T2" fmla="*/ 281 w 944"/>
                <a:gd name="T3" fmla="*/ 843 h 843"/>
                <a:gd name="T4" fmla="*/ 276 w 944"/>
                <a:gd name="T5" fmla="*/ 842 h 843"/>
                <a:gd name="T6" fmla="*/ 270 w 944"/>
                <a:gd name="T7" fmla="*/ 841 h 843"/>
                <a:gd name="T8" fmla="*/ 266 w 944"/>
                <a:gd name="T9" fmla="*/ 838 h 843"/>
                <a:gd name="T10" fmla="*/ 261 w 944"/>
                <a:gd name="T11" fmla="*/ 835 h 843"/>
                <a:gd name="T12" fmla="*/ 8 w 944"/>
                <a:gd name="T13" fmla="*/ 580 h 843"/>
                <a:gd name="T14" fmla="*/ 8 w 944"/>
                <a:gd name="T15" fmla="*/ 580 h 843"/>
                <a:gd name="T16" fmla="*/ 4 w 944"/>
                <a:gd name="T17" fmla="*/ 576 h 843"/>
                <a:gd name="T18" fmla="*/ 2 w 944"/>
                <a:gd name="T19" fmla="*/ 571 h 843"/>
                <a:gd name="T20" fmla="*/ 0 w 944"/>
                <a:gd name="T21" fmla="*/ 566 h 843"/>
                <a:gd name="T22" fmla="*/ 0 w 944"/>
                <a:gd name="T23" fmla="*/ 561 h 843"/>
                <a:gd name="T24" fmla="*/ 0 w 944"/>
                <a:gd name="T25" fmla="*/ 555 h 843"/>
                <a:gd name="T26" fmla="*/ 2 w 944"/>
                <a:gd name="T27" fmla="*/ 550 h 843"/>
                <a:gd name="T28" fmla="*/ 4 w 944"/>
                <a:gd name="T29" fmla="*/ 545 h 843"/>
                <a:gd name="T30" fmla="*/ 8 w 944"/>
                <a:gd name="T31" fmla="*/ 541 h 843"/>
                <a:gd name="T32" fmla="*/ 8 w 944"/>
                <a:gd name="T33" fmla="*/ 541 h 843"/>
                <a:gd name="T34" fmla="*/ 12 w 944"/>
                <a:gd name="T35" fmla="*/ 537 h 843"/>
                <a:gd name="T36" fmla="*/ 17 w 944"/>
                <a:gd name="T37" fmla="*/ 535 h 843"/>
                <a:gd name="T38" fmla="*/ 23 w 944"/>
                <a:gd name="T39" fmla="*/ 533 h 843"/>
                <a:gd name="T40" fmla="*/ 28 w 944"/>
                <a:gd name="T41" fmla="*/ 532 h 843"/>
                <a:gd name="T42" fmla="*/ 33 w 944"/>
                <a:gd name="T43" fmla="*/ 533 h 843"/>
                <a:gd name="T44" fmla="*/ 38 w 944"/>
                <a:gd name="T45" fmla="*/ 535 h 843"/>
                <a:gd name="T46" fmla="*/ 43 w 944"/>
                <a:gd name="T47" fmla="*/ 537 h 843"/>
                <a:gd name="T48" fmla="*/ 48 w 944"/>
                <a:gd name="T49" fmla="*/ 541 h 843"/>
                <a:gd name="T50" fmla="*/ 279 w 944"/>
                <a:gd name="T51" fmla="*/ 772 h 843"/>
                <a:gd name="T52" fmla="*/ 893 w 944"/>
                <a:gd name="T53" fmla="*/ 10 h 843"/>
                <a:gd name="T54" fmla="*/ 893 w 944"/>
                <a:gd name="T55" fmla="*/ 10 h 843"/>
                <a:gd name="T56" fmla="*/ 898 w 944"/>
                <a:gd name="T57" fmla="*/ 6 h 843"/>
                <a:gd name="T58" fmla="*/ 903 w 944"/>
                <a:gd name="T59" fmla="*/ 3 h 843"/>
                <a:gd name="T60" fmla="*/ 908 w 944"/>
                <a:gd name="T61" fmla="*/ 1 h 843"/>
                <a:gd name="T62" fmla="*/ 913 w 944"/>
                <a:gd name="T63" fmla="*/ 0 h 843"/>
                <a:gd name="T64" fmla="*/ 919 w 944"/>
                <a:gd name="T65" fmla="*/ 0 h 843"/>
                <a:gd name="T66" fmla="*/ 924 w 944"/>
                <a:gd name="T67" fmla="*/ 1 h 843"/>
                <a:gd name="T68" fmla="*/ 929 w 944"/>
                <a:gd name="T69" fmla="*/ 3 h 843"/>
                <a:gd name="T70" fmla="*/ 934 w 944"/>
                <a:gd name="T71" fmla="*/ 6 h 843"/>
                <a:gd name="T72" fmla="*/ 934 w 944"/>
                <a:gd name="T73" fmla="*/ 6 h 843"/>
                <a:gd name="T74" fmla="*/ 938 w 944"/>
                <a:gd name="T75" fmla="*/ 10 h 843"/>
                <a:gd name="T76" fmla="*/ 941 w 944"/>
                <a:gd name="T77" fmla="*/ 15 h 843"/>
                <a:gd name="T78" fmla="*/ 943 w 944"/>
                <a:gd name="T79" fmla="*/ 20 h 843"/>
                <a:gd name="T80" fmla="*/ 944 w 944"/>
                <a:gd name="T81" fmla="*/ 25 h 843"/>
                <a:gd name="T82" fmla="*/ 944 w 944"/>
                <a:gd name="T83" fmla="*/ 30 h 843"/>
                <a:gd name="T84" fmla="*/ 943 w 944"/>
                <a:gd name="T85" fmla="*/ 36 h 843"/>
                <a:gd name="T86" fmla="*/ 941 w 944"/>
                <a:gd name="T87" fmla="*/ 41 h 843"/>
                <a:gd name="T88" fmla="*/ 938 w 944"/>
                <a:gd name="T89" fmla="*/ 46 h 843"/>
                <a:gd name="T90" fmla="*/ 304 w 944"/>
                <a:gd name="T91" fmla="*/ 832 h 843"/>
                <a:gd name="T92" fmla="*/ 304 w 944"/>
                <a:gd name="T93" fmla="*/ 832 h 843"/>
                <a:gd name="T94" fmla="*/ 300 w 944"/>
                <a:gd name="T95" fmla="*/ 837 h 843"/>
                <a:gd name="T96" fmla="*/ 295 w 944"/>
                <a:gd name="T97" fmla="*/ 840 h 843"/>
                <a:gd name="T98" fmla="*/ 288 w 944"/>
                <a:gd name="T99" fmla="*/ 842 h 843"/>
                <a:gd name="T100" fmla="*/ 283 w 944"/>
                <a:gd name="T101" fmla="*/ 843 h 843"/>
                <a:gd name="T102" fmla="*/ 283 w 944"/>
                <a:gd name="T103" fmla="*/ 843 h 843"/>
                <a:gd name="T104" fmla="*/ 281 w 944"/>
                <a:gd name="T105" fmla="*/ 843 h 843"/>
                <a:gd name="T106" fmla="*/ 281 w 944"/>
                <a:gd name="T10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44" h="843">
                  <a:moveTo>
                    <a:pt x="281" y="843"/>
                  </a:moveTo>
                  <a:lnTo>
                    <a:pt x="281" y="843"/>
                  </a:lnTo>
                  <a:lnTo>
                    <a:pt x="276" y="842"/>
                  </a:lnTo>
                  <a:lnTo>
                    <a:pt x="270" y="841"/>
                  </a:lnTo>
                  <a:lnTo>
                    <a:pt x="266" y="838"/>
                  </a:lnTo>
                  <a:lnTo>
                    <a:pt x="261" y="835"/>
                  </a:lnTo>
                  <a:lnTo>
                    <a:pt x="8" y="580"/>
                  </a:lnTo>
                  <a:lnTo>
                    <a:pt x="8" y="580"/>
                  </a:lnTo>
                  <a:lnTo>
                    <a:pt x="4" y="576"/>
                  </a:lnTo>
                  <a:lnTo>
                    <a:pt x="2" y="571"/>
                  </a:lnTo>
                  <a:lnTo>
                    <a:pt x="0" y="566"/>
                  </a:lnTo>
                  <a:lnTo>
                    <a:pt x="0" y="561"/>
                  </a:lnTo>
                  <a:lnTo>
                    <a:pt x="0" y="555"/>
                  </a:lnTo>
                  <a:lnTo>
                    <a:pt x="2" y="550"/>
                  </a:lnTo>
                  <a:lnTo>
                    <a:pt x="4" y="545"/>
                  </a:lnTo>
                  <a:lnTo>
                    <a:pt x="8" y="541"/>
                  </a:lnTo>
                  <a:lnTo>
                    <a:pt x="8" y="541"/>
                  </a:lnTo>
                  <a:lnTo>
                    <a:pt x="12" y="537"/>
                  </a:lnTo>
                  <a:lnTo>
                    <a:pt x="17" y="535"/>
                  </a:lnTo>
                  <a:lnTo>
                    <a:pt x="23" y="533"/>
                  </a:lnTo>
                  <a:lnTo>
                    <a:pt x="28" y="532"/>
                  </a:lnTo>
                  <a:lnTo>
                    <a:pt x="33" y="533"/>
                  </a:lnTo>
                  <a:lnTo>
                    <a:pt x="38" y="535"/>
                  </a:lnTo>
                  <a:lnTo>
                    <a:pt x="43" y="537"/>
                  </a:lnTo>
                  <a:lnTo>
                    <a:pt x="48" y="541"/>
                  </a:lnTo>
                  <a:lnTo>
                    <a:pt x="279" y="772"/>
                  </a:lnTo>
                  <a:lnTo>
                    <a:pt x="893" y="10"/>
                  </a:lnTo>
                  <a:lnTo>
                    <a:pt x="893" y="10"/>
                  </a:lnTo>
                  <a:lnTo>
                    <a:pt x="898" y="6"/>
                  </a:lnTo>
                  <a:lnTo>
                    <a:pt x="903" y="3"/>
                  </a:lnTo>
                  <a:lnTo>
                    <a:pt x="908" y="1"/>
                  </a:lnTo>
                  <a:lnTo>
                    <a:pt x="913" y="0"/>
                  </a:lnTo>
                  <a:lnTo>
                    <a:pt x="919" y="0"/>
                  </a:lnTo>
                  <a:lnTo>
                    <a:pt x="924" y="1"/>
                  </a:lnTo>
                  <a:lnTo>
                    <a:pt x="929" y="3"/>
                  </a:lnTo>
                  <a:lnTo>
                    <a:pt x="934" y="6"/>
                  </a:lnTo>
                  <a:lnTo>
                    <a:pt x="934" y="6"/>
                  </a:lnTo>
                  <a:lnTo>
                    <a:pt x="938" y="10"/>
                  </a:lnTo>
                  <a:lnTo>
                    <a:pt x="941" y="15"/>
                  </a:lnTo>
                  <a:lnTo>
                    <a:pt x="943" y="20"/>
                  </a:lnTo>
                  <a:lnTo>
                    <a:pt x="944" y="25"/>
                  </a:lnTo>
                  <a:lnTo>
                    <a:pt x="944" y="30"/>
                  </a:lnTo>
                  <a:lnTo>
                    <a:pt x="943" y="36"/>
                  </a:lnTo>
                  <a:lnTo>
                    <a:pt x="941" y="41"/>
                  </a:lnTo>
                  <a:lnTo>
                    <a:pt x="938" y="46"/>
                  </a:lnTo>
                  <a:lnTo>
                    <a:pt x="304" y="832"/>
                  </a:lnTo>
                  <a:lnTo>
                    <a:pt x="304" y="832"/>
                  </a:lnTo>
                  <a:lnTo>
                    <a:pt x="300" y="837"/>
                  </a:lnTo>
                  <a:lnTo>
                    <a:pt x="295" y="840"/>
                  </a:lnTo>
                  <a:lnTo>
                    <a:pt x="288" y="842"/>
                  </a:lnTo>
                  <a:lnTo>
                    <a:pt x="283" y="843"/>
                  </a:lnTo>
                  <a:lnTo>
                    <a:pt x="283" y="843"/>
                  </a:lnTo>
                  <a:lnTo>
                    <a:pt x="281" y="843"/>
                  </a:lnTo>
                  <a:lnTo>
                    <a:pt x="281" y="8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04DD5182-F18A-4EAF-9336-804BB4C39DD1}"/>
              </a:ext>
            </a:extLst>
          </p:cNvPr>
          <p:cNvGrpSpPr/>
          <p:nvPr/>
        </p:nvGrpSpPr>
        <p:grpSpPr>
          <a:xfrm>
            <a:off x="7209707" y="2304702"/>
            <a:ext cx="398144" cy="384110"/>
            <a:chOff x="4116388" y="735013"/>
            <a:chExt cx="360363" cy="347663"/>
          </a:xfrm>
          <a:solidFill>
            <a:schemeClr val="bg1"/>
          </a:solidFill>
        </p:grpSpPr>
        <p:sp>
          <p:nvSpPr>
            <p:cNvPr id="53" name="Freeform 1344">
              <a:extLst>
                <a:ext uri="{FF2B5EF4-FFF2-40B4-BE49-F238E27FC236}">
                  <a16:creationId xmlns="" xmlns:a16="http://schemas.microsoft.com/office/drawing/2014/main" id="{E1469B20-784B-418D-9A2B-D65432EE0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900" y="735013"/>
              <a:ext cx="46038" cy="92075"/>
            </a:xfrm>
            <a:custGeom>
              <a:avLst/>
              <a:gdLst>
                <a:gd name="T0" fmla="*/ 33 w 203"/>
                <a:gd name="T1" fmla="*/ 407 h 407"/>
                <a:gd name="T2" fmla="*/ 33 w 203"/>
                <a:gd name="T3" fmla="*/ 407 h 407"/>
                <a:gd name="T4" fmla="*/ 28 w 203"/>
                <a:gd name="T5" fmla="*/ 407 h 407"/>
                <a:gd name="T6" fmla="*/ 23 w 203"/>
                <a:gd name="T7" fmla="*/ 405 h 407"/>
                <a:gd name="T8" fmla="*/ 18 w 203"/>
                <a:gd name="T9" fmla="*/ 403 h 407"/>
                <a:gd name="T10" fmla="*/ 13 w 203"/>
                <a:gd name="T11" fmla="*/ 400 h 407"/>
                <a:gd name="T12" fmla="*/ 13 w 203"/>
                <a:gd name="T13" fmla="*/ 400 h 407"/>
                <a:gd name="T14" fmla="*/ 8 w 203"/>
                <a:gd name="T15" fmla="*/ 395 h 407"/>
                <a:gd name="T16" fmla="*/ 4 w 203"/>
                <a:gd name="T17" fmla="*/ 389 h 407"/>
                <a:gd name="T18" fmla="*/ 2 w 203"/>
                <a:gd name="T19" fmla="*/ 384 h 407"/>
                <a:gd name="T20" fmla="*/ 0 w 203"/>
                <a:gd name="T21" fmla="*/ 378 h 407"/>
                <a:gd name="T22" fmla="*/ 0 w 203"/>
                <a:gd name="T23" fmla="*/ 372 h 407"/>
                <a:gd name="T24" fmla="*/ 1 w 203"/>
                <a:gd name="T25" fmla="*/ 365 h 407"/>
                <a:gd name="T26" fmla="*/ 4 w 203"/>
                <a:gd name="T27" fmla="*/ 359 h 407"/>
                <a:gd name="T28" fmla="*/ 7 w 203"/>
                <a:gd name="T29" fmla="*/ 353 h 407"/>
                <a:gd name="T30" fmla="*/ 127 w 203"/>
                <a:gd name="T31" fmla="*/ 204 h 407"/>
                <a:gd name="T32" fmla="*/ 7 w 203"/>
                <a:gd name="T33" fmla="*/ 54 h 407"/>
                <a:gd name="T34" fmla="*/ 7 w 203"/>
                <a:gd name="T35" fmla="*/ 54 h 407"/>
                <a:gd name="T36" fmla="*/ 4 w 203"/>
                <a:gd name="T37" fmla="*/ 48 h 407"/>
                <a:gd name="T38" fmla="*/ 1 w 203"/>
                <a:gd name="T39" fmla="*/ 41 h 407"/>
                <a:gd name="T40" fmla="*/ 0 w 203"/>
                <a:gd name="T41" fmla="*/ 35 h 407"/>
                <a:gd name="T42" fmla="*/ 0 w 203"/>
                <a:gd name="T43" fmla="*/ 29 h 407"/>
                <a:gd name="T44" fmla="*/ 2 w 203"/>
                <a:gd name="T45" fmla="*/ 23 h 407"/>
                <a:gd name="T46" fmla="*/ 4 w 203"/>
                <a:gd name="T47" fmla="*/ 17 h 407"/>
                <a:gd name="T48" fmla="*/ 8 w 203"/>
                <a:gd name="T49" fmla="*/ 11 h 407"/>
                <a:gd name="T50" fmla="*/ 13 w 203"/>
                <a:gd name="T51" fmla="*/ 7 h 407"/>
                <a:gd name="T52" fmla="*/ 13 w 203"/>
                <a:gd name="T53" fmla="*/ 7 h 407"/>
                <a:gd name="T54" fmla="*/ 19 w 203"/>
                <a:gd name="T55" fmla="*/ 3 h 407"/>
                <a:gd name="T56" fmla="*/ 25 w 203"/>
                <a:gd name="T57" fmla="*/ 1 h 407"/>
                <a:gd name="T58" fmla="*/ 31 w 203"/>
                <a:gd name="T59" fmla="*/ 0 h 407"/>
                <a:gd name="T60" fmla="*/ 37 w 203"/>
                <a:gd name="T61" fmla="*/ 0 h 407"/>
                <a:gd name="T62" fmla="*/ 44 w 203"/>
                <a:gd name="T63" fmla="*/ 1 h 407"/>
                <a:gd name="T64" fmla="*/ 49 w 203"/>
                <a:gd name="T65" fmla="*/ 4 h 407"/>
                <a:gd name="T66" fmla="*/ 55 w 203"/>
                <a:gd name="T67" fmla="*/ 7 h 407"/>
                <a:gd name="T68" fmla="*/ 59 w 203"/>
                <a:gd name="T69" fmla="*/ 12 h 407"/>
                <a:gd name="T70" fmla="*/ 196 w 203"/>
                <a:gd name="T71" fmla="*/ 183 h 407"/>
                <a:gd name="T72" fmla="*/ 196 w 203"/>
                <a:gd name="T73" fmla="*/ 183 h 407"/>
                <a:gd name="T74" fmla="*/ 199 w 203"/>
                <a:gd name="T75" fmla="*/ 187 h 407"/>
                <a:gd name="T76" fmla="*/ 201 w 203"/>
                <a:gd name="T77" fmla="*/ 192 h 407"/>
                <a:gd name="T78" fmla="*/ 203 w 203"/>
                <a:gd name="T79" fmla="*/ 198 h 407"/>
                <a:gd name="T80" fmla="*/ 203 w 203"/>
                <a:gd name="T81" fmla="*/ 204 h 407"/>
                <a:gd name="T82" fmla="*/ 203 w 203"/>
                <a:gd name="T83" fmla="*/ 209 h 407"/>
                <a:gd name="T84" fmla="*/ 201 w 203"/>
                <a:gd name="T85" fmla="*/ 214 h 407"/>
                <a:gd name="T86" fmla="*/ 199 w 203"/>
                <a:gd name="T87" fmla="*/ 219 h 407"/>
                <a:gd name="T88" fmla="*/ 196 w 203"/>
                <a:gd name="T89" fmla="*/ 224 h 407"/>
                <a:gd name="T90" fmla="*/ 59 w 203"/>
                <a:gd name="T91" fmla="*/ 394 h 407"/>
                <a:gd name="T92" fmla="*/ 59 w 203"/>
                <a:gd name="T93" fmla="*/ 394 h 407"/>
                <a:gd name="T94" fmla="*/ 54 w 203"/>
                <a:gd name="T95" fmla="*/ 400 h 407"/>
                <a:gd name="T96" fmla="*/ 48 w 203"/>
                <a:gd name="T97" fmla="*/ 404 h 407"/>
                <a:gd name="T98" fmla="*/ 41 w 203"/>
                <a:gd name="T99" fmla="*/ 406 h 407"/>
                <a:gd name="T100" fmla="*/ 33 w 203"/>
                <a:gd name="T101" fmla="*/ 407 h 407"/>
                <a:gd name="T102" fmla="*/ 33 w 203"/>
                <a:gd name="T103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3" h="407">
                  <a:moveTo>
                    <a:pt x="33" y="407"/>
                  </a:moveTo>
                  <a:lnTo>
                    <a:pt x="33" y="407"/>
                  </a:lnTo>
                  <a:lnTo>
                    <a:pt x="28" y="407"/>
                  </a:lnTo>
                  <a:lnTo>
                    <a:pt x="23" y="405"/>
                  </a:lnTo>
                  <a:lnTo>
                    <a:pt x="18" y="403"/>
                  </a:lnTo>
                  <a:lnTo>
                    <a:pt x="13" y="400"/>
                  </a:lnTo>
                  <a:lnTo>
                    <a:pt x="13" y="400"/>
                  </a:lnTo>
                  <a:lnTo>
                    <a:pt x="8" y="395"/>
                  </a:lnTo>
                  <a:lnTo>
                    <a:pt x="4" y="389"/>
                  </a:lnTo>
                  <a:lnTo>
                    <a:pt x="2" y="384"/>
                  </a:lnTo>
                  <a:lnTo>
                    <a:pt x="0" y="378"/>
                  </a:lnTo>
                  <a:lnTo>
                    <a:pt x="0" y="372"/>
                  </a:lnTo>
                  <a:lnTo>
                    <a:pt x="1" y="365"/>
                  </a:lnTo>
                  <a:lnTo>
                    <a:pt x="4" y="359"/>
                  </a:lnTo>
                  <a:lnTo>
                    <a:pt x="7" y="353"/>
                  </a:lnTo>
                  <a:lnTo>
                    <a:pt x="127" y="20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4" y="48"/>
                  </a:lnTo>
                  <a:lnTo>
                    <a:pt x="1" y="41"/>
                  </a:lnTo>
                  <a:lnTo>
                    <a:pt x="0" y="35"/>
                  </a:lnTo>
                  <a:lnTo>
                    <a:pt x="0" y="29"/>
                  </a:lnTo>
                  <a:lnTo>
                    <a:pt x="2" y="23"/>
                  </a:lnTo>
                  <a:lnTo>
                    <a:pt x="4" y="17"/>
                  </a:lnTo>
                  <a:lnTo>
                    <a:pt x="8" y="1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9" y="3"/>
                  </a:lnTo>
                  <a:lnTo>
                    <a:pt x="25" y="1"/>
                  </a:lnTo>
                  <a:lnTo>
                    <a:pt x="31" y="0"/>
                  </a:lnTo>
                  <a:lnTo>
                    <a:pt x="37" y="0"/>
                  </a:lnTo>
                  <a:lnTo>
                    <a:pt x="44" y="1"/>
                  </a:lnTo>
                  <a:lnTo>
                    <a:pt x="49" y="4"/>
                  </a:lnTo>
                  <a:lnTo>
                    <a:pt x="55" y="7"/>
                  </a:lnTo>
                  <a:lnTo>
                    <a:pt x="59" y="12"/>
                  </a:lnTo>
                  <a:lnTo>
                    <a:pt x="196" y="183"/>
                  </a:lnTo>
                  <a:lnTo>
                    <a:pt x="196" y="183"/>
                  </a:lnTo>
                  <a:lnTo>
                    <a:pt x="199" y="187"/>
                  </a:lnTo>
                  <a:lnTo>
                    <a:pt x="201" y="192"/>
                  </a:lnTo>
                  <a:lnTo>
                    <a:pt x="203" y="198"/>
                  </a:lnTo>
                  <a:lnTo>
                    <a:pt x="203" y="204"/>
                  </a:lnTo>
                  <a:lnTo>
                    <a:pt x="203" y="209"/>
                  </a:lnTo>
                  <a:lnTo>
                    <a:pt x="201" y="214"/>
                  </a:lnTo>
                  <a:lnTo>
                    <a:pt x="199" y="219"/>
                  </a:lnTo>
                  <a:lnTo>
                    <a:pt x="196" y="224"/>
                  </a:lnTo>
                  <a:lnTo>
                    <a:pt x="59" y="394"/>
                  </a:lnTo>
                  <a:lnTo>
                    <a:pt x="59" y="394"/>
                  </a:lnTo>
                  <a:lnTo>
                    <a:pt x="54" y="400"/>
                  </a:lnTo>
                  <a:lnTo>
                    <a:pt x="48" y="404"/>
                  </a:lnTo>
                  <a:lnTo>
                    <a:pt x="41" y="406"/>
                  </a:lnTo>
                  <a:lnTo>
                    <a:pt x="33" y="407"/>
                  </a:lnTo>
                  <a:lnTo>
                    <a:pt x="33" y="4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54" name="Freeform 1345">
              <a:extLst>
                <a:ext uri="{FF2B5EF4-FFF2-40B4-BE49-F238E27FC236}">
                  <a16:creationId xmlns="" xmlns:a16="http://schemas.microsoft.com/office/drawing/2014/main" id="{18A18FF6-1DDD-4069-9BD1-B99615DEA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1325" y="773113"/>
              <a:ext cx="74613" cy="15875"/>
            </a:xfrm>
            <a:custGeom>
              <a:avLst/>
              <a:gdLst>
                <a:gd name="T0" fmla="*/ 298 w 331"/>
                <a:gd name="T1" fmla="*/ 65 h 65"/>
                <a:gd name="T2" fmla="*/ 33 w 331"/>
                <a:gd name="T3" fmla="*/ 65 h 65"/>
                <a:gd name="T4" fmla="*/ 33 w 331"/>
                <a:gd name="T5" fmla="*/ 65 h 65"/>
                <a:gd name="T6" fmla="*/ 26 w 331"/>
                <a:gd name="T7" fmla="*/ 65 h 65"/>
                <a:gd name="T8" fmla="*/ 20 w 331"/>
                <a:gd name="T9" fmla="*/ 63 h 65"/>
                <a:gd name="T10" fmla="*/ 14 w 331"/>
                <a:gd name="T11" fmla="*/ 60 h 65"/>
                <a:gd name="T12" fmla="*/ 9 w 331"/>
                <a:gd name="T13" fmla="*/ 56 h 65"/>
                <a:gd name="T14" fmla="*/ 5 w 331"/>
                <a:gd name="T15" fmla="*/ 50 h 65"/>
                <a:gd name="T16" fmla="*/ 2 w 331"/>
                <a:gd name="T17" fmla="*/ 45 h 65"/>
                <a:gd name="T18" fmla="*/ 0 w 331"/>
                <a:gd name="T19" fmla="*/ 39 h 65"/>
                <a:gd name="T20" fmla="*/ 0 w 331"/>
                <a:gd name="T21" fmla="*/ 33 h 65"/>
                <a:gd name="T22" fmla="*/ 0 w 331"/>
                <a:gd name="T23" fmla="*/ 33 h 65"/>
                <a:gd name="T24" fmla="*/ 0 w 331"/>
                <a:gd name="T25" fmla="*/ 26 h 65"/>
                <a:gd name="T26" fmla="*/ 2 w 331"/>
                <a:gd name="T27" fmla="*/ 19 h 65"/>
                <a:gd name="T28" fmla="*/ 5 w 331"/>
                <a:gd name="T29" fmla="*/ 14 h 65"/>
                <a:gd name="T30" fmla="*/ 9 w 331"/>
                <a:gd name="T31" fmla="*/ 9 h 65"/>
                <a:gd name="T32" fmla="*/ 14 w 331"/>
                <a:gd name="T33" fmla="*/ 5 h 65"/>
                <a:gd name="T34" fmla="*/ 20 w 331"/>
                <a:gd name="T35" fmla="*/ 2 h 65"/>
                <a:gd name="T36" fmla="*/ 26 w 331"/>
                <a:gd name="T37" fmla="*/ 0 h 65"/>
                <a:gd name="T38" fmla="*/ 33 w 331"/>
                <a:gd name="T39" fmla="*/ 0 h 65"/>
                <a:gd name="T40" fmla="*/ 298 w 331"/>
                <a:gd name="T41" fmla="*/ 0 h 65"/>
                <a:gd name="T42" fmla="*/ 298 w 331"/>
                <a:gd name="T43" fmla="*/ 0 h 65"/>
                <a:gd name="T44" fmla="*/ 304 w 331"/>
                <a:gd name="T45" fmla="*/ 0 h 65"/>
                <a:gd name="T46" fmla="*/ 310 w 331"/>
                <a:gd name="T47" fmla="*/ 2 h 65"/>
                <a:gd name="T48" fmla="*/ 317 w 331"/>
                <a:gd name="T49" fmla="*/ 5 h 65"/>
                <a:gd name="T50" fmla="*/ 322 w 331"/>
                <a:gd name="T51" fmla="*/ 9 h 65"/>
                <a:gd name="T52" fmla="*/ 326 w 331"/>
                <a:gd name="T53" fmla="*/ 14 h 65"/>
                <a:gd name="T54" fmla="*/ 328 w 331"/>
                <a:gd name="T55" fmla="*/ 19 h 65"/>
                <a:gd name="T56" fmla="*/ 330 w 331"/>
                <a:gd name="T57" fmla="*/ 26 h 65"/>
                <a:gd name="T58" fmla="*/ 331 w 331"/>
                <a:gd name="T59" fmla="*/ 33 h 65"/>
                <a:gd name="T60" fmla="*/ 331 w 331"/>
                <a:gd name="T61" fmla="*/ 33 h 65"/>
                <a:gd name="T62" fmla="*/ 330 w 331"/>
                <a:gd name="T63" fmla="*/ 39 h 65"/>
                <a:gd name="T64" fmla="*/ 328 w 331"/>
                <a:gd name="T65" fmla="*/ 45 h 65"/>
                <a:gd name="T66" fmla="*/ 326 w 331"/>
                <a:gd name="T67" fmla="*/ 50 h 65"/>
                <a:gd name="T68" fmla="*/ 322 w 331"/>
                <a:gd name="T69" fmla="*/ 56 h 65"/>
                <a:gd name="T70" fmla="*/ 317 w 331"/>
                <a:gd name="T71" fmla="*/ 60 h 65"/>
                <a:gd name="T72" fmla="*/ 310 w 331"/>
                <a:gd name="T73" fmla="*/ 63 h 65"/>
                <a:gd name="T74" fmla="*/ 304 w 331"/>
                <a:gd name="T75" fmla="*/ 65 h 65"/>
                <a:gd name="T76" fmla="*/ 298 w 331"/>
                <a:gd name="T77" fmla="*/ 65 h 65"/>
                <a:gd name="T78" fmla="*/ 298 w 331"/>
                <a:gd name="T7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1" h="65">
                  <a:moveTo>
                    <a:pt x="298" y="65"/>
                  </a:moveTo>
                  <a:lnTo>
                    <a:pt x="33" y="65"/>
                  </a:lnTo>
                  <a:lnTo>
                    <a:pt x="33" y="65"/>
                  </a:lnTo>
                  <a:lnTo>
                    <a:pt x="26" y="65"/>
                  </a:lnTo>
                  <a:lnTo>
                    <a:pt x="20" y="63"/>
                  </a:lnTo>
                  <a:lnTo>
                    <a:pt x="14" y="60"/>
                  </a:lnTo>
                  <a:lnTo>
                    <a:pt x="9" y="56"/>
                  </a:lnTo>
                  <a:lnTo>
                    <a:pt x="5" y="50"/>
                  </a:lnTo>
                  <a:lnTo>
                    <a:pt x="2" y="45"/>
                  </a:lnTo>
                  <a:lnTo>
                    <a:pt x="0" y="39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2" y="19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298" y="0"/>
                  </a:lnTo>
                  <a:lnTo>
                    <a:pt x="298" y="0"/>
                  </a:lnTo>
                  <a:lnTo>
                    <a:pt x="304" y="0"/>
                  </a:lnTo>
                  <a:lnTo>
                    <a:pt x="310" y="2"/>
                  </a:lnTo>
                  <a:lnTo>
                    <a:pt x="317" y="5"/>
                  </a:lnTo>
                  <a:lnTo>
                    <a:pt x="322" y="9"/>
                  </a:lnTo>
                  <a:lnTo>
                    <a:pt x="326" y="14"/>
                  </a:lnTo>
                  <a:lnTo>
                    <a:pt x="328" y="19"/>
                  </a:lnTo>
                  <a:lnTo>
                    <a:pt x="330" y="26"/>
                  </a:lnTo>
                  <a:lnTo>
                    <a:pt x="331" y="33"/>
                  </a:lnTo>
                  <a:lnTo>
                    <a:pt x="331" y="33"/>
                  </a:lnTo>
                  <a:lnTo>
                    <a:pt x="330" y="39"/>
                  </a:lnTo>
                  <a:lnTo>
                    <a:pt x="328" y="45"/>
                  </a:lnTo>
                  <a:lnTo>
                    <a:pt x="326" y="50"/>
                  </a:lnTo>
                  <a:lnTo>
                    <a:pt x="322" y="56"/>
                  </a:lnTo>
                  <a:lnTo>
                    <a:pt x="317" y="60"/>
                  </a:lnTo>
                  <a:lnTo>
                    <a:pt x="310" y="63"/>
                  </a:lnTo>
                  <a:lnTo>
                    <a:pt x="304" y="65"/>
                  </a:lnTo>
                  <a:lnTo>
                    <a:pt x="298" y="65"/>
                  </a:lnTo>
                  <a:lnTo>
                    <a:pt x="298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55" name="Freeform 1346">
              <a:extLst>
                <a:ext uri="{FF2B5EF4-FFF2-40B4-BE49-F238E27FC236}">
                  <a16:creationId xmlns="" xmlns:a16="http://schemas.microsoft.com/office/drawing/2014/main" id="{9ABCBE43-FE93-4168-836F-1C4E315F8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1325" y="990601"/>
              <a:ext cx="46038" cy="92075"/>
            </a:xfrm>
            <a:custGeom>
              <a:avLst/>
              <a:gdLst>
                <a:gd name="T0" fmla="*/ 170 w 202"/>
                <a:gd name="T1" fmla="*/ 408 h 408"/>
                <a:gd name="T2" fmla="*/ 170 w 202"/>
                <a:gd name="T3" fmla="*/ 408 h 408"/>
                <a:gd name="T4" fmla="*/ 162 w 202"/>
                <a:gd name="T5" fmla="*/ 407 h 408"/>
                <a:gd name="T6" fmla="*/ 155 w 202"/>
                <a:gd name="T7" fmla="*/ 404 h 408"/>
                <a:gd name="T8" fmla="*/ 149 w 202"/>
                <a:gd name="T9" fmla="*/ 401 h 408"/>
                <a:gd name="T10" fmla="*/ 144 w 202"/>
                <a:gd name="T11" fmla="*/ 396 h 408"/>
                <a:gd name="T12" fmla="*/ 7 w 202"/>
                <a:gd name="T13" fmla="*/ 225 h 408"/>
                <a:gd name="T14" fmla="*/ 7 w 202"/>
                <a:gd name="T15" fmla="*/ 225 h 408"/>
                <a:gd name="T16" fmla="*/ 4 w 202"/>
                <a:gd name="T17" fmla="*/ 220 h 408"/>
                <a:gd name="T18" fmla="*/ 2 w 202"/>
                <a:gd name="T19" fmla="*/ 214 h 408"/>
                <a:gd name="T20" fmla="*/ 0 w 202"/>
                <a:gd name="T21" fmla="*/ 209 h 408"/>
                <a:gd name="T22" fmla="*/ 0 w 202"/>
                <a:gd name="T23" fmla="*/ 204 h 408"/>
                <a:gd name="T24" fmla="*/ 0 w 202"/>
                <a:gd name="T25" fmla="*/ 199 h 408"/>
                <a:gd name="T26" fmla="*/ 1 w 202"/>
                <a:gd name="T27" fmla="*/ 193 h 408"/>
                <a:gd name="T28" fmla="*/ 4 w 202"/>
                <a:gd name="T29" fmla="*/ 188 h 408"/>
                <a:gd name="T30" fmla="*/ 7 w 202"/>
                <a:gd name="T31" fmla="*/ 183 h 408"/>
                <a:gd name="T32" fmla="*/ 144 w 202"/>
                <a:gd name="T33" fmla="*/ 13 h 408"/>
                <a:gd name="T34" fmla="*/ 144 w 202"/>
                <a:gd name="T35" fmla="*/ 13 h 408"/>
                <a:gd name="T36" fmla="*/ 148 w 202"/>
                <a:gd name="T37" fmla="*/ 7 h 408"/>
                <a:gd name="T38" fmla="*/ 153 w 202"/>
                <a:gd name="T39" fmla="*/ 4 h 408"/>
                <a:gd name="T40" fmla="*/ 159 w 202"/>
                <a:gd name="T41" fmla="*/ 2 h 408"/>
                <a:gd name="T42" fmla="*/ 165 w 202"/>
                <a:gd name="T43" fmla="*/ 0 h 408"/>
                <a:gd name="T44" fmla="*/ 172 w 202"/>
                <a:gd name="T45" fmla="*/ 0 h 408"/>
                <a:gd name="T46" fmla="*/ 178 w 202"/>
                <a:gd name="T47" fmla="*/ 1 h 408"/>
                <a:gd name="T48" fmla="*/ 184 w 202"/>
                <a:gd name="T49" fmla="*/ 4 h 408"/>
                <a:gd name="T50" fmla="*/ 189 w 202"/>
                <a:gd name="T51" fmla="*/ 7 h 408"/>
                <a:gd name="T52" fmla="*/ 189 w 202"/>
                <a:gd name="T53" fmla="*/ 7 h 408"/>
                <a:gd name="T54" fmla="*/ 194 w 202"/>
                <a:gd name="T55" fmla="*/ 13 h 408"/>
                <a:gd name="T56" fmla="*/ 199 w 202"/>
                <a:gd name="T57" fmla="*/ 18 h 408"/>
                <a:gd name="T58" fmla="*/ 201 w 202"/>
                <a:gd name="T59" fmla="*/ 24 h 408"/>
                <a:gd name="T60" fmla="*/ 202 w 202"/>
                <a:gd name="T61" fmla="*/ 30 h 408"/>
                <a:gd name="T62" fmla="*/ 202 w 202"/>
                <a:gd name="T63" fmla="*/ 36 h 408"/>
                <a:gd name="T64" fmla="*/ 201 w 202"/>
                <a:gd name="T65" fmla="*/ 43 h 408"/>
                <a:gd name="T66" fmla="*/ 199 w 202"/>
                <a:gd name="T67" fmla="*/ 49 h 408"/>
                <a:gd name="T68" fmla="*/ 194 w 202"/>
                <a:gd name="T69" fmla="*/ 54 h 408"/>
                <a:gd name="T70" fmla="*/ 75 w 202"/>
                <a:gd name="T71" fmla="*/ 204 h 408"/>
                <a:gd name="T72" fmla="*/ 194 w 202"/>
                <a:gd name="T73" fmla="*/ 354 h 408"/>
                <a:gd name="T74" fmla="*/ 194 w 202"/>
                <a:gd name="T75" fmla="*/ 354 h 408"/>
                <a:gd name="T76" fmla="*/ 199 w 202"/>
                <a:gd name="T77" fmla="*/ 359 h 408"/>
                <a:gd name="T78" fmla="*/ 201 w 202"/>
                <a:gd name="T79" fmla="*/ 366 h 408"/>
                <a:gd name="T80" fmla="*/ 202 w 202"/>
                <a:gd name="T81" fmla="*/ 372 h 408"/>
                <a:gd name="T82" fmla="*/ 202 w 202"/>
                <a:gd name="T83" fmla="*/ 378 h 408"/>
                <a:gd name="T84" fmla="*/ 201 w 202"/>
                <a:gd name="T85" fmla="*/ 384 h 408"/>
                <a:gd name="T86" fmla="*/ 199 w 202"/>
                <a:gd name="T87" fmla="*/ 390 h 408"/>
                <a:gd name="T88" fmla="*/ 194 w 202"/>
                <a:gd name="T89" fmla="*/ 396 h 408"/>
                <a:gd name="T90" fmla="*/ 189 w 202"/>
                <a:gd name="T91" fmla="*/ 400 h 408"/>
                <a:gd name="T92" fmla="*/ 189 w 202"/>
                <a:gd name="T93" fmla="*/ 400 h 408"/>
                <a:gd name="T94" fmla="*/ 185 w 202"/>
                <a:gd name="T95" fmla="*/ 404 h 408"/>
                <a:gd name="T96" fmla="*/ 180 w 202"/>
                <a:gd name="T97" fmla="*/ 406 h 408"/>
                <a:gd name="T98" fmla="*/ 175 w 202"/>
                <a:gd name="T99" fmla="*/ 407 h 408"/>
                <a:gd name="T100" fmla="*/ 170 w 202"/>
                <a:gd name="T101" fmla="*/ 408 h 408"/>
                <a:gd name="T102" fmla="*/ 170 w 202"/>
                <a:gd name="T103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2" h="408">
                  <a:moveTo>
                    <a:pt x="170" y="408"/>
                  </a:moveTo>
                  <a:lnTo>
                    <a:pt x="170" y="408"/>
                  </a:lnTo>
                  <a:lnTo>
                    <a:pt x="162" y="407"/>
                  </a:lnTo>
                  <a:lnTo>
                    <a:pt x="155" y="404"/>
                  </a:lnTo>
                  <a:lnTo>
                    <a:pt x="149" y="401"/>
                  </a:lnTo>
                  <a:lnTo>
                    <a:pt x="144" y="396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4" y="220"/>
                  </a:lnTo>
                  <a:lnTo>
                    <a:pt x="2" y="214"/>
                  </a:lnTo>
                  <a:lnTo>
                    <a:pt x="0" y="209"/>
                  </a:lnTo>
                  <a:lnTo>
                    <a:pt x="0" y="204"/>
                  </a:lnTo>
                  <a:lnTo>
                    <a:pt x="0" y="199"/>
                  </a:lnTo>
                  <a:lnTo>
                    <a:pt x="1" y="193"/>
                  </a:lnTo>
                  <a:lnTo>
                    <a:pt x="4" y="188"/>
                  </a:lnTo>
                  <a:lnTo>
                    <a:pt x="7" y="18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8" y="7"/>
                  </a:lnTo>
                  <a:lnTo>
                    <a:pt x="153" y="4"/>
                  </a:lnTo>
                  <a:lnTo>
                    <a:pt x="159" y="2"/>
                  </a:lnTo>
                  <a:lnTo>
                    <a:pt x="165" y="0"/>
                  </a:lnTo>
                  <a:lnTo>
                    <a:pt x="172" y="0"/>
                  </a:lnTo>
                  <a:lnTo>
                    <a:pt x="178" y="1"/>
                  </a:lnTo>
                  <a:lnTo>
                    <a:pt x="184" y="4"/>
                  </a:lnTo>
                  <a:lnTo>
                    <a:pt x="189" y="7"/>
                  </a:lnTo>
                  <a:lnTo>
                    <a:pt x="189" y="7"/>
                  </a:lnTo>
                  <a:lnTo>
                    <a:pt x="194" y="13"/>
                  </a:lnTo>
                  <a:lnTo>
                    <a:pt x="199" y="18"/>
                  </a:lnTo>
                  <a:lnTo>
                    <a:pt x="201" y="24"/>
                  </a:lnTo>
                  <a:lnTo>
                    <a:pt x="202" y="30"/>
                  </a:lnTo>
                  <a:lnTo>
                    <a:pt x="202" y="36"/>
                  </a:lnTo>
                  <a:lnTo>
                    <a:pt x="201" y="43"/>
                  </a:lnTo>
                  <a:lnTo>
                    <a:pt x="199" y="49"/>
                  </a:lnTo>
                  <a:lnTo>
                    <a:pt x="194" y="54"/>
                  </a:lnTo>
                  <a:lnTo>
                    <a:pt x="75" y="204"/>
                  </a:lnTo>
                  <a:lnTo>
                    <a:pt x="194" y="354"/>
                  </a:lnTo>
                  <a:lnTo>
                    <a:pt x="194" y="354"/>
                  </a:lnTo>
                  <a:lnTo>
                    <a:pt x="199" y="359"/>
                  </a:lnTo>
                  <a:lnTo>
                    <a:pt x="201" y="366"/>
                  </a:lnTo>
                  <a:lnTo>
                    <a:pt x="202" y="372"/>
                  </a:lnTo>
                  <a:lnTo>
                    <a:pt x="202" y="378"/>
                  </a:lnTo>
                  <a:lnTo>
                    <a:pt x="201" y="384"/>
                  </a:lnTo>
                  <a:lnTo>
                    <a:pt x="199" y="390"/>
                  </a:lnTo>
                  <a:lnTo>
                    <a:pt x="194" y="396"/>
                  </a:lnTo>
                  <a:lnTo>
                    <a:pt x="189" y="400"/>
                  </a:lnTo>
                  <a:lnTo>
                    <a:pt x="189" y="400"/>
                  </a:lnTo>
                  <a:lnTo>
                    <a:pt x="185" y="404"/>
                  </a:lnTo>
                  <a:lnTo>
                    <a:pt x="180" y="406"/>
                  </a:lnTo>
                  <a:lnTo>
                    <a:pt x="175" y="407"/>
                  </a:lnTo>
                  <a:lnTo>
                    <a:pt x="170" y="408"/>
                  </a:lnTo>
                  <a:lnTo>
                    <a:pt x="170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56" name="Freeform 1347">
              <a:extLst>
                <a:ext uri="{FF2B5EF4-FFF2-40B4-BE49-F238E27FC236}">
                  <a16:creationId xmlns="" xmlns:a16="http://schemas.microsoft.com/office/drawing/2014/main" id="{628DFCE5-2A12-496B-957B-07EA3B2A2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1325" y="1028701"/>
              <a:ext cx="74613" cy="14288"/>
            </a:xfrm>
            <a:custGeom>
              <a:avLst/>
              <a:gdLst>
                <a:gd name="T0" fmla="*/ 298 w 331"/>
                <a:gd name="T1" fmla="*/ 66 h 66"/>
                <a:gd name="T2" fmla="*/ 33 w 331"/>
                <a:gd name="T3" fmla="*/ 66 h 66"/>
                <a:gd name="T4" fmla="*/ 33 w 331"/>
                <a:gd name="T5" fmla="*/ 66 h 66"/>
                <a:gd name="T6" fmla="*/ 26 w 331"/>
                <a:gd name="T7" fmla="*/ 65 h 66"/>
                <a:gd name="T8" fmla="*/ 20 w 331"/>
                <a:gd name="T9" fmla="*/ 63 h 66"/>
                <a:gd name="T10" fmla="*/ 14 w 331"/>
                <a:gd name="T11" fmla="*/ 60 h 66"/>
                <a:gd name="T12" fmla="*/ 9 w 331"/>
                <a:gd name="T13" fmla="*/ 56 h 66"/>
                <a:gd name="T14" fmla="*/ 5 w 331"/>
                <a:gd name="T15" fmla="*/ 52 h 66"/>
                <a:gd name="T16" fmla="*/ 2 w 331"/>
                <a:gd name="T17" fmla="*/ 45 h 66"/>
                <a:gd name="T18" fmla="*/ 0 w 331"/>
                <a:gd name="T19" fmla="*/ 39 h 66"/>
                <a:gd name="T20" fmla="*/ 0 w 331"/>
                <a:gd name="T21" fmla="*/ 33 h 66"/>
                <a:gd name="T22" fmla="*/ 0 w 331"/>
                <a:gd name="T23" fmla="*/ 33 h 66"/>
                <a:gd name="T24" fmla="*/ 0 w 331"/>
                <a:gd name="T25" fmla="*/ 26 h 66"/>
                <a:gd name="T26" fmla="*/ 2 w 331"/>
                <a:gd name="T27" fmla="*/ 20 h 66"/>
                <a:gd name="T28" fmla="*/ 5 w 331"/>
                <a:gd name="T29" fmla="*/ 14 h 66"/>
                <a:gd name="T30" fmla="*/ 9 w 331"/>
                <a:gd name="T31" fmla="*/ 9 h 66"/>
                <a:gd name="T32" fmla="*/ 14 w 331"/>
                <a:gd name="T33" fmla="*/ 5 h 66"/>
                <a:gd name="T34" fmla="*/ 20 w 331"/>
                <a:gd name="T35" fmla="*/ 2 h 66"/>
                <a:gd name="T36" fmla="*/ 26 w 331"/>
                <a:gd name="T37" fmla="*/ 1 h 66"/>
                <a:gd name="T38" fmla="*/ 33 w 331"/>
                <a:gd name="T39" fmla="*/ 0 h 66"/>
                <a:gd name="T40" fmla="*/ 298 w 331"/>
                <a:gd name="T41" fmla="*/ 0 h 66"/>
                <a:gd name="T42" fmla="*/ 298 w 331"/>
                <a:gd name="T43" fmla="*/ 0 h 66"/>
                <a:gd name="T44" fmla="*/ 304 w 331"/>
                <a:gd name="T45" fmla="*/ 1 h 66"/>
                <a:gd name="T46" fmla="*/ 310 w 331"/>
                <a:gd name="T47" fmla="*/ 2 h 66"/>
                <a:gd name="T48" fmla="*/ 317 w 331"/>
                <a:gd name="T49" fmla="*/ 5 h 66"/>
                <a:gd name="T50" fmla="*/ 322 w 331"/>
                <a:gd name="T51" fmla="*/ 9 h 66"/>
                <a:gd name="T52" fmla="*/ 326 w 331"/>
                <a:gd name="T53" fmla="*/ 14 h 66"/>
                <a:gd name="T54" fmla="*/ 328 w 331"/>
                <a:gd name="T55" fmla="*/ 20 h 66"/>
                <a:gd name="T56" fmla="*/ 330 w 331"/>
                <a:gd name="T57" fmla="*/ 26 h 66"/>
                <a:gd name="T58" fmla="*/ 331 w 331"/>
                <a:gd name="T59" fmla="*/ 33 h 66"/>
                <a:gd name="T60" fmla="*/ 331 w 331"/>
                <a:gd name="T61" fmla="*/ 33 h 66"/>
                <a:gd name="T62" fmla="*/ 330 w 331"/>
                <a:gd name="T63" fmla="*/ 39 h 66"/>
                <a:gd name="T64" fmla="*/ 328 w 331"/>
                <a:gd name="T65" fmla="*/ 45 h 66"/>
                <a:gd name="T66" fmla="*/ 326 w 331"/>
                <a:gd name="T67" fmla="*/ 52 h 66"/>
                <a:gd name="T68" fmla="*/ 322 w 331"/>
                <a:gd name="T69" fmla="*/ 56 h 66"/>
                <a:gd name="T70" fmla="*/ 317 w 331"/>
                <a:gd name="T71" fmla="*/ 60 h 66"/>
                <a:gd name="T72" fmla="*/ 310 w 331"/>
                <a:gd name="T73" fmla="*/ 63 h 66"/>
                <a:gd name="T74" fmla="*/ 304 w 331"/>
                <a:gd name="T75" fmla="*/ 65 h 66"/>
                <a:gd name="T76" fmla="*/ 298 w 331"/>
                <a:gd name="T77" fmla="*/ 66 h 66"/>
                <a:gd name="T78" fmla="*/ 298 w 331"/>
                <a:gd name="T7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1" h="66">
                  <a:moveTo>
                    <a:pt x="298" y="66"/>
                  </a:moveTo>
                  <a:lnTo>
                    <a:pt x="33" y="66"/>
                  </a:lnTo>
                  <a:lnTo>
                    <a:pt x="33" y="66"/>
                  </a:lnTo>
                  <a:lnTo>
                    <a:pt x="26" y="65"/>
                  </a:lnTo>
                  <a:lnTo>
                    <a:pt x="20" y="63"/>
                  </a:lnTo>
                  <a:lnTo>
                    <a:pt x="14" y="60"/>
                  </a:lnTo>
                  <a:lnTo>
                    <a:pt x="9" y="56"/>
                  </a:lnTo>
                  <a:lnTo>
                    <a:pt x="5" y="52"/>
                  </a:lnTo>
                  <a:lnTo>
                    <a:pt x="2" y="45"/>
                  </a:lnTo>
                  <a:lnTo>
                    <a:pt x="0" y="39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20" y="2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298" y="0"/>
                  </a:lnTo>
                  <a:lnTo>
                    <a:pt x="298" y="0"/>
                  </a:lnTo>
                  <a:lnTo>
                    <a:pt x="304" y="1"/>
                  </a:lnTo>
                  <a:lnTo>
                    <a:pt x="310" y="2"/>
                  </a:lnTo>
                  <a:lnTo>
                    <a:pt x="317" y="5"/>
                  </a:lnTo>
                  <a:lnTo>
                    <a:pt x="322" y="9"/>
                  </a:lnTo>
                  <a:lnTo>
                    <a:pt x="326" y="14"/>
                  </a:lnTo>
                  <a:lnTo>
                    <a:pt x="328" y="20"/>
                  </a:lnTo>
                  <a:lnTo>
                    <a:pt x="330" y="26"/>
                  </a:lnTo>
                  <a:lnTo>
                    <a:pt x="331" y="33"/>
                  </a:lnTo>
                  <a:lnTo>
                    <a:pt x="331" y="33"/>
                  </a:lnTo>
                  <a:lnTo>
                    <a:pt x="330" y="39"/>
                  </a:lnTo>
                  <a:lnTo>
                    <a:pt x="328" y="45"/>
                  </a:lnTo>
                  <a:lnTo>
                    <a:pt x="326" y="52"/>
                  </a:lnTo>
                  <a:lnTo>
                    <a:pt x="322" y="56"/>
                  </a:lnTo>
                  <a:lnTo>
                    <a:pt x="317" y="60"/>
                  </a:lnTo>
                  <a:lnTo>
                    <a:pt x="310" y="63"/>
                  </a:lnTo>
                  <a:lnTo>
                    <a:pt x="304" y="65"/>
                  </a:lnTo>
                  <a:lnTo>
                    <a:pt x="298" y="66"/>
                  </a:lnTo>
                  <a:lnTo>
                    <a:pt x="298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57" name="Freeform 1348">
              <a:extLst>
                <a:ext uri="{FF2B5EF4-FFF2-40B4-BE49-F238E27FC236}">
                  <a16:creationId xmlns="" xmlns:a16="http://schemas.microsoft.com/office/drawing/2014/main" id="{53633778-C8D7-4CFD-9418-FE21E0E90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375" y="863601"/>
              <a:ext cx="53975" cy="93663"/>
            </a:xfrm>
            <a:custGeom>
              <a:avLst/>
              <a:gdLst>
                <a:gd name="T0" fmla="*/ 94 w 237"/>
                <a:gd name="T1" fmla="*/ 405 h 407"/>
                <a:gd name="T2" fmla="*/ 53 w 237"/>
                <a:gd name="T3" fmla="*/ 387 h 407"/>
                <a:gd name="T4" fmla="*/ 20 w 237"/>
                <a:gd name="T5" fmla="*/ 355 h 407"/>
                <a:gd name="T6" fmla="*/ 2 w 237"/>
                <a:gd name="T7" fmla="*/ 313 h 407"/>
                <a:gd name="T8" fmla="*/ 1 w 237"/>
                <a:gd name="T9" fmla="*/ 283 h 407"/>
                <a:gd name="T10" fmla="*/ 14 w 237"/>
                <a:gd name="T11" fmla="*/ 262 h 407"/>
                <a:gd name="T12" fmla="*/ 33 w 237"/>
                <a:gd name="T13" fmla="*/ 256 h 407"/>
                <a:gd name="T14" fmla="*/ 57 w 237"/>
                <a:gd name="T15" fmla="*/ 266 h 407"/>
                <a:gd name="T16" fmla="*/ 66 w 237"/>
                <a:gd name="T17" fmla="*/ 289 h 407"/>
                <a:gd name="T18" fmla="*/ 75 w 237"/>
                <a:gd name="T19" fmla="*/ 318 h 407"/>
                <a:gd name="T20" fmla="*/ 107 w 237"/>
                <a:gd name="T21" fmla="*/ 340 h 407"/>
                <a:gd name="T22" fmla="*/ 138 w 237"/>
                <a:gd name="T23" fmla="*/ 338 h 407"/>
                <a:gd name="T24" fmla="*/ 166 w 237"/>
                <a:gd name="T25" fmla="*/ 310 h 407"/>
                <a:gd name="T26" fmla="*/ 169 w 237"/>
                <a:gd name="T27" fmla="*/ 279 h 407"/>
                <a:gd name="T28" fmla="*/ 148 w 237"/>
                <a:gd name="T29" fmla="*/ 246 h 407"/>
                <a:gd name="T30" fmla="*/ 118 w 237"/>
                <a:gd name="T31" fmla="*/ 237 h 407"/>
                <a:gd name="T32" fmla="*/ 72 w 237"/>
                <a:gd name="T33" fmla="*/ 228 h 407"/>
                <a:gd name="T34" fmla="*/ 35 w 237"/>
                <a:gd name="T35" fmla="*/ 202 h 407"/>
                <a:gd name="T36" fmla="*/ 9 w 237"/>
                <a:gd name="T37" fmla="*/ 165 h 407"/>
                <a:gd name="T38" fmla="*/ 0 w 237"/>
                <a:gd name="T39" fmla="*/ 118 h 407"/>
                <a:gd name="T40" fmla="*/ 5 w 237"/>
                <a:gd name="T41" fmla="*/ 83 h 407"/>
                <a:gd name="T42" fmla="*/ 27 w 237"/>
                <a:gd name="T43" fmla="*/ 44 h 407"/>
                <a:gd name="T44" fmla="*/ 62 w 237"/>
                <a:gd name="T45" fmla="*/ 15 h 407"/>
                <a:gd name="T46" fmla="*/ 106 w 237"/>
                <a:gd name="T47" fmla="*/ 1 h 407"/>
                <a:gd name="T48" fmla="*/ 142 w 237"/>
                <a:gd name="T49" fmla="*/ 2 h 407"/>
                <a:gd name="T50" fmla="*/ 184 w 237"/>
                <a:gd name="T51" fmla="*/ 21 h 407"/>
                <a:gd name="T52" fmla="*/ 216 w 237"/>
                <a:gd name="T53" fmla="*/ 53 h 407"/>
                <a:gd name="T54" fmla="*/ 234 w 237"/>
                <a:gd name="T55" fmla="*/ 95 h 407"/>
                <a:gd name="T56" fmla="*/ 236 w 237"/>
                <a:gd name="T57" fmla="*/ 126 h 407"/>
                <a:gd name="T58" fmla="*/ 222 w 237"/>
                <a:gd name="T59" fmla="*/ 146 h 407"/>
                <a:gd name="T60" fmla="*/ 204 w 237"/>
                <a:gd name="T61" fmla="*/ 151 h 407"/>
                <a:gd name="T62" fmla="*/ 180 w 237"/>
                <a:gd name="T63" fmla="*/ 142 h 407"/>
                <a:gd name="T64" fmla="*/ 171 w 237"/>
                <a:gd name="T65" fmla="*/ 118 h 407"/>
                <a:gd name="T66" fmla="*/ 161 w 237"/>
                <a:gd name="T67" fmla="*/ 89 h 407"/>
                <a:gd name="T68" fmla="*/ 129 w 237"/>
                <a:gd name="T69" fmla="*/ 68 h 407"/>
                <a:gd name="T70" fmla="*/ 98 w 237"/>
                <a:gd name="T71" fmla="*/ 71 h 407"/>
                <a:gd name="T72" fmla="*/ 70 w 237"/>
                <a:gd name="T73" fmla="*/ 99 h 407"/>
                <a:gd name="T74" fmla="*/ 67 w 237"/>
                <a:gd name="T75" fmla="*/ 130 h 407"/>
                <a:gd name="T76" fmla="*/ 89 w 237"/>
                <a:gd name="T77" fmla="*/ 162 h 407"/>
                <a:gd name="T78" fmla="*/ 118 w 237"/>
                <a:gd name="T79" fmla="*/ 171 h 407"/>
                <a:gd name="T80" fmla="*/ 164 w 237"/>
                <a:gd name="T81" fmla="*/ 180 h 407"/>
                <a:gd name="T82" fmla="*/ 202 w 237"/>
                <a:gd name="T83" fmla="*/ 205 h 407"/>
                <a:gd name="T84" fmla="*/ 227 w 237"/>
                <a:gd name="T85" fmla="*/ 244 h 407"/>
                <a:gd name="T86" fmla="*/ 237 w 237"/>
                <a:gd name="T87" fmla="*/ 289 h 407"/>
                <a:gd name="T88" fmla="*/ 232 w 237"/>
                <a:gd name="T89" fmla="*/ 324 h 407"/>
                <a:gd name="T90" fmla="*/ 210 w 237"/>
                <a:gd name="T91" fmla="*/ 365 h 407"/>
                <a:gd name="T92" fmla="*/ 175 w 237"/>
                <a:gd name="T93" fmla="*/ 394 h 407"/>
                <a:gd name="T94" fmla="*/ 130 w 237"/>
                <a:gd name="T95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7" h="407">
                  <a:moveTo>
                    <a:pt x="118" y="407"/>
                  </a:moveTo>
                  <a:lnTo>
                    <a:pt x="118" y="407"/>
                  </a:lnTo>
                  <a:lnTo>
                    <a:pt x="106" y="407"/>
                  </a:lnTo>
                  <a:lnTo>
                    <a:pt x="94" y="405"/>
                  </a:lnTo>
                  <a:lnTo>
                    <a:pt x="84" y="402"/>
                  </a:lnTo>
                  <a:lnTo>
                    <a:pt x="72" y="398"/>
                  </a:lnTo>
                  <a:lnTo>
                    <a:pt x="62" y="394"/>
                  </a:lnTo>
                  <a:lnTo>
                    <a:pt x="53" y="387"/>
                  </a:lnTo>
                  <a:lnTo>
                    <a:pt x="43" y="380"/>
                  </a:lnTo>
                  <a:lnTo>
                    <a:pt x="35" y="373"/>
                  </a:lnTo>
                  <a:lnTo>
                    <a:pt x="27" y="365"/>
                  </a:lnTo>
                  <a:lnTo>
                    <a:pt x="20" y="355"/>
                  </a:lnTo>
                  <a:lnTo>
                    <a:pt x="14" y="346"/>
                  </a:lnTo>
                  <a:lnTo>
                    <a:pt x="9" y="336"/>
                  </a:lnTo>
                  <a:lnTo>
                    <a:pt x="5" y="324"/>
                  </a:lnTo>
                  <a:lnTo>
                    <a:pt x="2" y="313"/>
                  </a:lnTo>
                  <a:lnTo>
                    <a:pt x="1" y="302"/>
                  </a:lnTo>
                  <a:lnTo>
                    <a:pt x="0" y="289"/>
                  </a:lnTo>
                  <a:lnTo>
                    <a:pt x="0" y="289"/>
                  </a:lnTo>
                  <a:lnTo>
                    <a:pt x="1" y="283"/>
                  </a:lnTo>
                  <a:lnTo>
                    <a:pt x="3" y="277"/>
                  </a:lnTo>
                  <a:lnTo>
                    <a:pt x="6" y="271"/>
                  </a:lnTo>
                  <a:lnTo>
                    <a:pt x="9" y="266"/>
                  </a:lnTo>
                  <a:lnTo>
                    <a:pt x="14" y="262"/>
                  </a:lnTo>
                  <a:lnTo>
                    <a:pt x="20" y="259"/>
                  </a:lnTo>
                  <a:lnTo>
                    <a:pt x="27" y="257"/>
                  </a:lnTo>
                  <a:lnTo>
                    <a:pt x="33" y="256"/>
                  </a:lnTo>
                  <a:lnTo>
                    <a:pt x="33" y="256"/>
                  </a:lnTo>
                  <a:lnTo>
                    <a:pt x="40" y="257"/>
                  </a:lnTo>
                  <a:lnTo>
                    <a:pt x="46" y="259"/>
                  </a:lnTo>
                  <a:lnTo>
                    <a:pt x="52" y="262"/>
                  </a:lnTo>
                  <a:lnTo>
                    <a:pt x="57" y="266"/>
                  </a:lnTo>
                  <a:lnTo>
                    <a:pt x="61" y="271"/>
                  </a:lnTo>
                  <a:lnTo>
                    <a:pt x="64" y="277"/>
                  </a:lnTo>
                  <a:lnTo>
                    <a:pt x="65" y="283"/>
                  </a:lnTo>
                  <a:lnTo>
                    <a:pt x="66" y="289"/>
                  </a:lnTo>
                  <a:lnTo>
                    <a:pt x="66" y="289"/>
                  </a:lnTo>
                  <a:lnTo>
                    <a:pt x="67" y="299"/>
                  </a:lnTo>
                  <a:lnTo>
                    <a:pt x="70" y="310"/>
                  </a:lnTo>
                  <a:lnTo>
                    <a:pt x="75" y="318"/>
                  </a:lnTo>
                  <a:lnTo>
                    <a:pt x="82" y="326"/>
                  </a:lnTo>
                  <a:lnTo>
                    <a:pt x="89" y="333"/>
                  </a:lnTo>
                  <a:lnTo>
                    <a:pt x="98" y="338"/>
                  </a:lnTo>
                  <a:lnTo>
                    <a:pt x="107" y="340"/>
                  </a:lnTo>
                  <a:lnTo>
                    <a:pt x="118" y="342"/>
                  </a:lnTo>
                  <a:lnTo>
                    <a:pt x="118" y="342"/>
                  </a:lnTo>
                  <a:lnTo>
                    <a:pt x="129" y="340"/>
                  </a:lnTo>
                  <a:lnTo>
                    <a:pt x="138" y="338"/>
                  </a:lnTo>
                  <a:lnTo>
                    <a:pt x="148" y="333"/>
                  </a:lnTo>
                  <a:lnTo>
                    <a:pt x="155" y="326"/>
                  </a:lnTo>
                  <a:lnTo>
                    <a:pt x="161" y="318"/>
                  </a:lnTo>
                  <a:lnTo>
                    <a:pt x="166" y="310"/>
                  </a:lnTo>
                  <a:lnTo>
                    <a:pt x="169" y="299"/>
                  </a:lnTo>
                  <a:lnTo>
                    <a:pt x="171" y="289"/>
                  </a:lnTo>
                  <a:lnTo>
                    <a:pt x="171" y="289"/>
                  </a:lnTo>
                  <a:lnTo>
                    <a:pt x="169" y="279"/>
                  </a:lnTo>
                  <a:lnTo>
                    <a:pt x="166" y="269"/>
                  </a:lnTo>
                  <a:lnTo>
                    <a:pt x="161" y="260"/>
                  </a:lnTo>
                  <a:lnTo>
                    <a:pt x="155" y="253"/>
                  </a:lnTo>
                  <a:lnTo>
                    <a:pt x="148" y="246"/>
                  </a:lnTo>
                  <a:lnTo>
                    <a:pt x="138" y="242"/>
                  </a:lnTo>
                  <a:lnTo>
                    <a:pt x="129" y="238"/>
                  </a:lnTo>
                  <a:lnTo>
                    <a:pt x="118" y="237"/>
                  </a:lnTo>
                  <a:lnTo>
                    <a:pt x="118" y="237"/>
                  </a:lnTo>
                  <a:lnTo>
                    <a:pt x="106" y="236"/>
                  </a:lnTo>
                  <a:lnTo>
                    <a:pt x="94" y="234"/>
                  </a:lnTo>
                  <a:lnTo>
                    <a:pt x="84" y="232"/>
                  </a:lnTo>
                  <a:lnTo>
                    <a:pt x="72" y="228"/>
                  </a:lnTo>
                  <a:lnTo>
                    <a:pt x="62" y="223"/>
                  </a:lnTo>
                  <a:lnTo>
                    <a:pt x="53" y="217"/>
                  </a:lnTo>
                  <a:lnTo>
                    <a:pt x="43" y="210"/>
                  </a:lnTo>
                  <a:lnTo>
                    <a:pt x="35" y="202"/>
                  </a:lnTo>
                  <a:lnTo>
                    <a:pt x="27" y="194"/>
                  </a:lnTo>
                  <a:lnTo>
                    <a:pt x="20" y="185"/>
                  </a:lnTo>
                  <a:lnTo>
                    <a:pt x="14" y="175"/>
                  </a:lnTo>
                  <a:lnTo>
                    <a:pt x="9" y="165"/>
                  </a:lnTo>
                  <a:lnTo>
                    <a:pt x="5" y="154"/>
                  </a:lnTo>
                  <a:lnTo>
                    <a:pt x="2" y="142"/>
                  </a:lnTo>
                  <a:lnTo>
                    <a:pt x="1" y="131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1" y="107"/>
                  </a:lnTo>
                  <a:lnTo>
                    <a:pt x="2" y="95"/>
                  </a:lnTo>
                  <a:lnTo>
                    <a:pt x="5" y="83"/>
                  </a:lnTo>
                  <a:lnTo>
                    <a:pt x="9" y="73"/>
                  </a:lnTo>
                  <a:lnTo>
                    <a:pt x="14" y="62"/>
                  </a:lnTo>
                  <a:lnTo>
                    <a:pt x="20" y="53"/>
                  </a:lnTo>
                  <a:lnTo>
                    <a:pt x="27" y="44"/>
                  </a:lnTo>
                  <a:lnTo>
                    <a:pt x="35" y="36"/>
                  </a:lnTo>
                  <a:lnTo>
                    <a:pt x="43" y="27"/>
                  </a:lnTo>
                  <a:lnTo>
                    <a:pt x="53" y="21"/>
                  </a:lnTo>
                  <a:lnTo>
                    <a:pt x="62" y="15"/>
                  </a:lnTo>
                  <a:lnTo>
                    <a:pt x="72" y="10"/>
                  </a:lnTo>
                  <a:lnTo>
                    <a:pt x="84" y="6"/>
                  </a:lnTo>
                  <a:lnTo>
                    <a:pt x="94" y="2"/>
                  </a:lnTo>
                  <a:lnTo>
                    <a:pt x="106" y="1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30" y="1"/>
                  </a:lnTo>
                  <a:lnTo>
                    <a:pt x="142" y="2"/>
                  </a:lnTo>
                  <a:lnTo>
                    <a:pt x="153" y="6"/>
                  </a:lnTo>
                  <a:lnTo>
                    <a:pt x="164" y="10"/>
                  </a:lnTo>
                  <a:lnTo>
                    <a:pt x="175" y="15"/>
                  </a:lnTo>
                  <a:lnTo>
                    <a:pt x="184" y="21"/>
                  </a:lnTo>
                  <a:lnTo>
                    <a:pt x="193" y="27"/>
                  </a:lnTo>
                  <a:lnTo>
                    <a:pt x="202" y="36"/>
                  </a:lnTo>
                  <a:lnTo>
                    <a:pt x="210" y="44"/>
                  </a:lnTo>
                  <a:lnTo>
                    <a:pt x="216" y="53"/>
                  </a:lnTo>
                  <a:lnTo>
                    <a:pt x="222" y="62"/>
                  </a:lnTo>
                  <a:lnTo>
                    <a:pt x="227" y="73"/>
                  </a:lnTo>
                  <a:lnTo>
                    <a:pt x="232" y="83"/>
                  </a:lnTo>
                  <a:lnTo>
                    <a:pt x="234" y="95"/>
                  </a:lnTo>
                  <a:lnTo>
                    <a:pt x="236" y="107"/>
                  </a:lnTo>
                  <a:lnTo>
                    <a:pt x="237" y="118"/>
                  </a:lnTo>
                  <a:lnTo>
                    <a:pt x="237" y="118"/>
                  </a:lnTo>
                  <a:lnTo>
                    <a:pt x="236" y="126"/>
                  </a:lnTo>
                  <a:lnTo>
                    <a:pt x="234" y="132"/>
                  </a:lnTo>
                  <a:lnTo>
                    <a:pt x="231" y="137"/>
                  </a:lnTo>
                  <a:lnTo>
                    <a:pt x="226" y="142"/>
                  </a:lnTo>
                  <a:lnTo>
                    <a:pt x="222" y="146"/>
                  </a:lnTo>
                  <a:lnTo>
                    <a:pt x="216" y="149"/>
                  </a:lnTo>
                  <a:lnTo>
                    <a:pt x="210" y="151"/>
                  </a:lnTo>
                  <a:lnTo>
                    <a:pt x="204" y="151"/>
                  </a:lnTo>
                  <a:lnTo>
                    <a:pt x="204" y="151"/>
                  </a:lnTo>
                  <a:lnTo>
                    <a:pt x="196" y="151"/>
                  </a:lnTo>
                  <a:lnTo>
                    <a:pt x="190" y="149"/>
                  </a:lnTo>
                  <a:lnTo>
                    <a:pt x="185" y="146"/>
                  </a:lnTo>
                  <a:lnTo>
                    <a:pt x="180" y="142"/>
                  </a:lnTo>
                  <a:lnTo>
                    <a:pt x="176" y="137"/>
                  </a:lnTo>
                  <a:lnTo>
                    <a:pt x="173" y="132"/>
                  </a:lnTo>
                  <a:lnTo>
                    <a:pt x="171" y="126"/>
                  </a:lnTo>
                  <a:lnTo>
                    <a:pt x="171" y="118"/>
                  </a:lnTo>
                  <a:lnTo>
                    <a:pt x="171" y="118"/>
                  </a:lnTo>
                  <a:lnTo>
                    <a:pt x="169" y="108"/>
                  </a:lnTo>
                  <a:lnTo>
                    <a:pt x="166" y="99"/>
                  </a:lnTo>
                  <a:lnTo>
                    <a:pt x="161" y="89"/>
                  </a:lnTo>
                  <a:lnTo>
                    <a:pt x="155" y="82"/>
                  </a:lnTo>
                  <a:lnTo>
                    <a:pt x="148" y="76"/>
                  </a:lnTo>
                  <a:lnTo>
                    <a:pt x="138" y="71"/>
                  </a:lnTo>
                  <a:lnTo>
                    <a:pt x="129" y="68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07" y="68"/>
                  </a:lnTo>
                  <a:lnTo>
                    <a:pt x="98" y="71"/>
                  </a:lnTo>
                  <a:lnTo>
                    <a:pt x="89" y="76"/>
                  </a:lnTo>
                  <a:lnTo>
                    <a:pt x="82" y="82"/>
                  </a:lnTo>
                  <a:lnTo>
                    <a:pt x="75" y="89"/>
                  </a:lnTo>
                  <a:lnTo>
                    <a:pt x="70" y="99"/>
                  </a:lnTo>
                  <a:lnTo>
                    <a:pt x="67" y="108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7" y="130"/>
                  </a:lnTo>
                  <a:lnTo>
                    <a:pt x="70" y="139"/>
                  </a:lnTo>
                  <a:lnTo>
                    <a:pt x="75" y="148"/>
                  </a:lnTo>
                  <a:lnTo>
                    <a:pt x="82" y="156"/>
                  </a:lnTo>
                  <a:lnTo>
                    <a:pt x="89" y="162"/>
                  </a:lnTo>
                  <a:lnTo>
                    <a:pt x="98" y="167"/>
                  </a:lnTo>
                  <a:lnTo>
                    <a:pt x="10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30" y="171"/>
                  </a:lnTo>
                  <a:lnTo>
                    <a:pt x="142" y="173"/>
                  </a:lnTo>
                  <a:lnTo>
                    <a:pt x="153" y="176"/>
                  </a:lnTo>
                  <a:lnTo>
                    <a:pt x="164" y="180"/>
                  </a:lnTo>
                  <a:lnTo>
                    <a:pt x="175" y="186"/>
                  </a:lnTo>
                  <a:lnTo>
                    <a:pt x="184" y="191"/>
                  </a:lnTo>
                  <a:lnTo>
                    <a:pt x="193" y="198"/>
                  </a:lnTo>
                  <a:lnTo>
                    <a:pt x="202" y="205"/>
                  </a:lnTo>
                  <a:lnTo>
                    <a:pt x="210" y="214"/>
                  </a:lnTo>
                  <a:lnTo>
                    <a:pt x="216" y="223"/>
                  </a:lnTo>
                  <a:lnTo>
                    <a:pt x="222" y="233"/>
                  </a:lnTo>
                  <a:lnTo>
                    <a:pt x="227" y="244"/>
                  </a:lnTo>
                  <a:lnTo>
                    <a:pt x="232" y="254"/>
                  </a:lnTo>
                  <a:lnTo>
                    <a:pt x="234" y="265"/>
                  </a:lnTo>
                  <a:lnTo>
                    <a:pt x="236" y="277"/>
                  </a:lnTo>
                  <a:lnTo>
                    <a:pt x="237" y="289"/>
                  </a:lnTo>
                  <a:lnTo>
                    <a:pt x="237" y="289"/>
                  </a:lnTo>
                  <a:lnTo>
                    <a:pt x="236" y="302"/>
                  </a:lnTo>
                  <a:lnTo>
                    <a:pt x="234" y="313"/>
                  </a:lnTo>
                  <a:lnTo>
                    <a:pt x="232" y="324"/>
                  </a:lnTo>
                  <a:lnTo>
                    <a:pt x="227" y="336"/>
                  </a:lnTo>
                  <a:lnTo>
                    <a:pt x="222" y="346"/>
                  </a:lnTo>
                  <a:lnTo>
                    <a:pt x="216" y="355"/>
                  </a:lnTo>
                  <a:lnTo>
                    <a:pt x="210" y="365"/>
                  </a:lnTo>
                  <a:lnTo>
                    <a:pt x="202" y="373"/>
                  </a:lnTo>
                  <a:lnTo>
                    <a:pt x="193" y="380"/>
                  </a:lnTo>
                  <a:lnTo>
                    <a:pt x="184" y="387"/>
                  </a:lnTo>
                  <a:lnTo>
                    <a:pt x="175" y="394"/>
                  </a:lnTo>
                  <a:lnTo>
                    <a:pt x="164" y="398"/>
                  </a:lnTo>
                  <a:lnTo>
                    <a:pt x="153" y="402"/>
                  </a:lnTo>
                  <a:lnTo>
                    <a:pt x="142" y="405"/>
                  </a:lnTo>
                  <a:lnTo>
                    <a:pt x="130" y="407"/>
                  </a:lnTo>
                  <a:lnTo>
                    <a:pt x="118" y="407"/>
                  </a:lnTo>
                  <a:lnTo>
                    <a:pt x="118" y="4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58" name="Freeform 1349">
              <a:extLst>
                <a:ext uri="{FF2B5EF4-FFF2-40B4-BE49-F238E27FC236}">
                  <a16:creationId xmlns="" xmlns:a16="http://schemas.microsoft.com/office/drawing/2014/main" id="{045D50A4-983E-46B6-AE1E-7A4D89896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9425" y="849313"/>
              <a:ext cx="14288" cy="30163"/>
            </a:xfrm>
            <a:custGeom>
              <a:avLst/>
              <a:gdLst>
                <a:gd name="T0" fmla="*/ 33 w 66"/>
                <a:gd name="T1" fmla="*/ 136 h 136"/>
                <a:gd name="T2" fmla="*/ 33 w 66"/>
                <a:gd name="T3" fmla="*/ 136 h 136"/>
                <a:gd name="T4" fmla="*/ 26 w 66"/>
                <a:gd name="T5" fmla="*/ 135 h 136"/>
                <a:gd name="T6" fmla="*/ 20 w 66"/>
                <a:gd name="T7" fmla="*/ 132 h 136"/>
                <a:gd name="T8" fmla="*/ 14 w 66"/>
                <a:gd name="T9" fmla="*/ 129 h 136"/>
                <a:gd name="T10" fmla="*/ 9 w 66"/>
                <a:gd name="T11" fmla="*/ 125 h 136"/>
                <a:gd name="T12" fmla="*/ 5 w 66"/>
                <a:gd name="T13" fmla="*/ 121 h 136"/>
                <a:gd name="T14" fmla="*/ 3 w 66"/>
                <a:gd name="T15" fmla="*/ 115 h 136"/>
                <a:gd name="T16" fmla="*/ 1 w 66"/>
                <a:gd name="T17" fmla="*/ 109 h 136"/>
                <a:gd name="T18" fmla="*/ 0 w 66"/>
                <a:gd name="T19" fmla="*/ 102 h 136"/>
                <a:gd name="T20" fmla="*/ 0 w 66"/>
                <a:gd name="T21" fmla="*/ 33 h 136"/>
                <a:gd name="T22" fmla="*/ 0 w 66"/>
                <a:gd name="T23" fmla="*/ 33 h 136"/>
                <a:gd name="T24" fmla="*/ 1 w 66"/>
                <a:gd name="T25" fmla="*/ 27 h 136"/>
                <a:gd name="T26" fmla="*/ 3 w 66"/>
                <a:gd name="T27" fmla="*/ 21 h 136"/>
                <a:gd name="T28" fmla="*/ 5 w 66"/>
                <a:gd name="T29" fmla="*/ 14 h 136"/>
                <a:gd name="T30" fmla="*/ 9 w 66"/>
                <a:gd name="T31" fmla="*/ 9 h 136"/>
                <a:gd name="T32" fmla="*/ 14 w 66"/>
                <a:gd name="T33" fmla="*/ 6 h 136"/>
                <a:gd name="T34" fmla="*/ 20 w 66"/>
                <a:gd name="T35" fmla="*/ 3 h 136"/>
                <a:gd name="T36" fmla="*/ 26 w 66"/>
                <a:gd name="T37" fmla="*/ 1 h 136"/>
                <a:gd name="T38" fmla="*/ 33 w 66"/>
                <a:gd name="T39" fmla="*/ 0 h 136"/>
                <a:gd name="T40" fmla="*/ 33 w 66"/>
                <a:gd name="T41" fmla="*/ 0 h 136"/>
                <a:gd name="T42" fmla="*/ 39 w 66"/>
                <a:gd name="T43" fmla="*/ 1 h 136"/>
                <a:gd name="T44" fmla="*/ 45 w 66"/>
                <a:gd name="T45" fmla="*/ 3 h 136"/>
                <a:gd name="T46" fmla="*/ 51 w 66"/>
                <a:gd name="T47" fmla="*/ 6 h 136"/>
                <a:gd name="T48" fmla="*/ 56 w 66"/>
                <a:gd name="T49" fmla="*/ 9 h 136"/>
                <a:gd name="T50" fmla="*/ 60 w 66"/>
                <a:gd name="T51" fmla="*/ 14 h 136"/>
                <a:gd name="T52" fmla="*/ 63 w 66"/>
                <a:gd name="T53" fmla="*/ 21 h 136"/>
                <a:gd name="T54" fmla="*/ 65 w 66"/>
                <a:gd name="T55" fmla="*/ 27 h 136"/>
                <a:gd name="T56" fmla="*/ 66 w 66"/>
                <a:gd name="T57" fmla="*/ 33 h 136"/>
                <a:gd name="T58" fmla="*/ 66 w 66"/>
                <a:gd name="T59" fmla="*/ 102 h 136"/>
                <a:gd name="T60" fmla="*/ 66 w 66"/>
                <a:gd name="T61" fmla="*/ 102 h 136"/>
                <a:gd name="T62" fmla="*/ 65 w 66"/>
                <a:gd name="T63" fmla="*/ 109 h 136"/>
                <a:gd name="T64" fmla="*/ 63 w 66"/>
                <a:gd name="T65" fmla="*/ 115 h 136"/>
                <a:gd name="T66" fmla="*/ 60 w 66"/>
                <a:gd name="T67" fmla="*/ 121 h 136"/>
                <a:gd name="T68" fmla="*/ 56 w 66"/>
                <a:gd name="T69" fmla="*/ 125 h 136"/>
                <a:gd name="T70" fmla="*/ 51 w 66"/>
                <a:gd name="T71" fmla="*/ 129 h 136"/>
                <a:gd name="T72" fmla="*/ 45 w 66"/>
                <a:gd name="T73" fmla="*/ 132 h 136"/>
                <a:gd name="T74" fmla="*/ 39 w 66"/>
                <a:gd name="T75" fmla="*/ 135 h 136"/>
                <a:gd name="T76" fmla="*/ 33 w 66"/>
                <a:gd name="T77" fmla="*/ 136 h 136"/>
                <a:gd name="T78" fmla="*/ 33 w 66"/>
                <a:gd name="T7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136">
                  <a:moveTo>
                    <a:pt x="33" y="136"/>
                  </a:moveTo>
                  <a:lnTo>
                    <a:pt x="33" y="136"/>
                  </a:lnTo>
                  <a:lnTo>
                    <a:pt x="26" y="135"/>
                  </a:lnTo>
                  <a:lnTo>
                    <a:pt x="20" y="132"/>
                  </a:lnTo>
                  <a:lnTo>
                    <a:pt x="14" y="129"/>
                  </a:lnTo>
                  <a:lnTo>
                    <a:pt x="9" y="125"/>
                  </a:lnTo>
                  <a:lnTo>
                    <a:pt x="5" y="121"/>
                  </a:lnTo>
                  <a:lnTo>
                    <a:pt x="3" y="115"/>
                  </a:lnTo>
                  <a:lnTo>
                    <a:pt x="1" y="109"/>
                  </a:lnTo>
                  <a:lnTo>
                    <a:pt x="0" y="10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1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6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1"/>
                  </a:lnTo>
                  <a:lnTo>
                    <a:pt x="45" y="3"/>
                  </a:lnTo>
                  <a:lnTo>
                    <a:pt x="51" y="6"/>
                  </a:lnTo>
                  <a:lnTo>
                    <a:pt x="56" y="9"/>
                  </a:lnTo>
                  <a:lnTo>
                    <a:pt x="60" y="14"/>
                  </a:lnTo>
                  <a:lnTo>
                    <a:pt x="63" y="21"/>
                  </a:lnTo>
                  <a:lnTo>
                    <a:pt x="65" y="27"/>
                  </a:lnTo>
                  <a:lnTo>
                    <a:pt x="66" y="33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5" y="109"/>
                  </a:lnTo>
                  <a:lnTo>
                    <a:pt x="63" y="115"/>
                  </a:lnTo>
                  <a:lnTo>
                    <a:pt x="60" y="121"/>
                  </a:lnTo>
                  <a:lnTo>
                    <a:pt x="56" y="125"/>
                  </a:lnTo>
                  <a:lnTo>
                    <a:pt x="51" y="129"/>
                  </a:lnTo>
                  <a:lnTo>
                    <a:pt x="45" y="132"/>
                  </a:lnTo>
                  <a:lnTo>
                    <a:pt x="39" y="135"/>
                  </a:lnTo>
                  <a:lnTo>
                    <a:pt x="33" y="136"/>
                  </a:lnTo>
                  <a:lnTo>
                    <a:pt x="33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59" name="Freeform 1350">
              <a:extLst>
                <a:ext uri="{FF2B5EF4-FFF2-40B4-BE49-F238E27FC236}">
                  <a16:creationId xmlns="" xmlns:a16="http://schemas.microsoft.com/office/drawing/2014/main" id="{0D7523D9-7B15-4E35-B57C-C447B0C84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9425" y="941388"/>
              <a:ext cx="14288" cy="31750"/>
            </a:xfrm>
            <a:custGeom>
              <a:avLst/>
              <a:gdLst>
                <a:gd name="T0" fmla="*/ 33 w 66"/>
                <a:gd name="T1" fmla="*/ 135 h 135"/>
                <a:gd name="T2" fmla="*/ 33 w 66"/>
                <a:gd name="T3" fmla="*/ 135 h 135"/>
                <a:gd name="T4" fmla="*/ 26 w 66"/>
                <a:gd name="T5" fmla="*/ 133 h 135"/>
                <a:gd name="T6" fmla="*/ 20 w 66"/>
                <a:gd name="T7" fmla="*/ 132 h 135"/>
                <a:gd name="T8" fmla="*/ 14 w 66"/>
                <a:gd name="T9" fmla="*/ 129 h 135"/>
                <a:gd name="T10" fmla="*/ 9 w 66"/>
                <a:gd name="T11" fmla="*/ 125 h 135"/>
                <a:gd name="T12" fmla="*/ 5 w 66"/>
                <a:gd name="T13" fmla="*/ 120 h 135"/>
                <a:gd name="T14" fmla="*/ 3 w 66"/>
                <a:gd name="T15" fmla="*/ 115 h 135"/>
                <a:gd name="T16" fmla="*/ 1 w 66"/>
                <a:gd name="T17" fmla="*/ 109 h 135"/>
                <a:gd name="T18" fmla="*/ 0 w 66"/>
                <a:gd name="T19" fmla="*/ 101 h 135"/>
                <a:gd name="T20" fmla="*/ 0 w 66"/>
                <a:gd name="T21" fmla="*/ 32 h 135"/>
                <a:gd name="T22" fmla="*/ 0 w 66"/>
                <a:gd name="T23" fmla="*/ 32 h 135"/>
                <a:gd name="T24" fmla="*/ 1 w 66"/>
                <a:gd name="T25" fmla="*/ 26 h 135"/>
                <a:gd name="T26" fmla="*/ 3 w 66"/>
                <a:gd name="T27" fmla="*/ 20 h 135"/>
                <a:gd name="T28" fmla="*/ 5 w 66"/>
                <a:gd name="T29" fmla="*/ 14 h 135"/>
                <a:gd name="T30" fmla="*/ 9 w 66"/>
                <a:gd name="T31" fmla="*/ 9 h 135"/>
                <a:gd name="T32" fmla="*/ 14 w 66"/>
                <a:gd name="T33" fmla="*/ 5 h 135"/>
                <a:gd name="T34" fmla="*/ 20 w 66"/>
                <a:gd name="T35" fmla="*/ 2 h 135"/>
                <a:gd name="T36" fmla="*/ 26 w 66"/>
                <a:gd name="T37" fmla="*/ 0 h 135"/>
                <a:gd name="T38" fmla="*/ 33 w 66"/>
                <a:gd name="T39" fmla="*/ 0 h 135"/>
                <a:gd name="T40" fmla="*/ 33 w 66"/>
                <a:gd name="T41" fmla="*/ 0 h 135"/>
                <a:gd name="T42" fmla="*/ 39 w 66"/>
                <a:gd name="T43" fmla="*/ 0 h 135"/>
                <a:gd name="T44" fmla="*/ 45 w 66"/>
                <a:gd name="T45" fmla="*/ 2 h 135"/>
                <a:gd name="T46" fmla="*/ 51 w 66"/>
                <a:gd name="T47" fmla="*/ 5 h 135"/>
                <a:gd name="T48" fmla="*/ 56 w 66"/>
                <a:gd name="T49" fmla="*/ 9 h 135"/>
                <a:gd name="T50" fmla="*/ 60 w 66"/>
                <a:gd name="T51" fmla="*/ 14 h 135"/>
                <a:gd name="T52" fmla="*/ 63 w 66"/>
                <a:gd name="T53" fmla="*/ 20 h 135"/>
                <a:gd name="T54" fmla="*/ 65 w 66"/>
                <a:gd name="T55" fmla="*/ 26 h 135"/>
                <a:gd name="T56" fmla="*/ 66 w 66"/>
                <a:gd name="T57" fmla="*/ 32 h 135"/>
                <a:gd name="T58" fmla="*/ 66 w 66"/>
                <a:gd name="T59" fmla="*/ 101 h 135"/>
                <a:gd name="T60" fmla="*/ 66 w 66"/>
                <a:gd name="T61" fmla="*/ 101 h 135"/>
                <a:gd name="T62" fmla="*/ 65 w 66"/>
                <a:gd name="T63" fmla="*/ 109 h 135"/>
                <a:gd name="T64" fmla="*/ 63 w 66"/>
                <a:gd name="T65" fmla="*/ 115 h 135"/>
                <a:gd name="T66" fmla="*/ 60 w 66"/>
                <a:gd name="T67" fmla="*/ 120 h 135"/>
                <a:gd name="T68" fmla="*/ 56 w 66"/>
                <a:gd name="T69" fmla="*/ 125 h 135"/>
                <a:gd name="T70" fmla="*/ 51 w 66"/>
                <a:gd name="T71" fmla="*/ 129 h 135"/>
                <a:gd name="T72" fmla="*/ 45 w 66"/>
                <a:gd name="T73" fmla="*/ 132 h 135"/>
                <a:gd name="T74" fmla="*/ 39 w 66"/>
                <a:gd name="T75" fmla="*/ 133 h 135"/>
                <a:gd name="T76" fmla="*/ 33 w 66"/>
                <a:gd name="T77" fmla="*/ 135 h 135"/>
                <a:gd name="T78" fmla="*/ 33 w 66"/>
                <a:gd name="T7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135">
                  <a:moveTo>
                    <a:pt x="33" y="135"/>
                  </a:moveTo>
                  <a:lnTo>
                    <a:pt x="33" y="135"/>
                  </a:lnTo>
                  <a:lnTo>
                    <a:pt x="26" y="133"/>
                  </a:lnTo>
                  <a:lnTo>
                    <a:pt x="20" y="132"/>
                  </a:lnTo>
                  <a:lnTo>
                    <a:pt x="14" y="129"/>
                  </a:lnTo>
                  <a:lnTo>
                    <a:pt x="9" y="125"/>
                  </a:lnTo>
                  <a:lnTo>
                    <a:pt x="5" y="120"/>
                  </a:lnTo>
                  <a:lnTo>
                    <a:pt x="3" y="115"/>
                  </a:lnTo>
                  <a:lnTo>
                    <a:pt x="1" y="109"/>
                  </a:lnTo>
                  <a:lnTo>
                    <a:pt x="0" y="101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0"/>
                  </a:lnTo>
                  <a:lnTo>
                    <a:pt x="45" y="2"/>
                  </a:lnTo>
                  <a:lnTo>
                    <a:pt x="51" y="5"/>
                  </a:lnTo>
                  <a:lnTo>
                    <a:pt x="56" y="9"/>
                  </a:lnTo>
                  <a:lnTo>
                    <a:pt x="60" y="14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2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5" y="109"/>
                  </a:lnTo>
                  <a:lnTo>
                    <a:pt x="63" y="115"/>
                  </a:lnTo>
                  <a:lnTo>
                    <a:pt x="60" y="120"/>
                  </a:lnTo>
                  <a:lnTo>
                    <a:pt x="56" y="125"/>
                  </a:lnTo>
                  <a:lnTo>
                    <a:pt x="51" y="129"/>
                  </a:lnTo>
                  <a:lnTo>
                    <a:pt x="45" y="132"/>
                  </a:lnTo>
                  <a:lnTo>
                    <a:pt x="39" y="133"/>
                  </a:lnTo>
                  <a:lnTo>
                    <a:pt x="33" y="135"/>
                  </a:lnTo>
                  <a:lnTo>
                    <a:pt x="33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60" name="Freeform 1351">
              <a:extLst>
                <a:ext uri="{FF2B5EF4-FFF2-40B4-BE49-F238E27FC236}">
                  <a16:creationId xmlns="" xmlns:a16="http://schemas.microsoft.com/office/drawing/2014/main" id="{C584CF0A-1664-466E-B8FD-B023C38905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803276"/>
              <a:ext cx="90488" cy="90488"/>
            </a:xfrm>
            <a:custGeom>
              <a:avLst/>
              <a:gdLst>
                <a:gd name="T0" fmla="*/ 178 w 396"/>
                <a:gd name="T1" fmla="*/ 397 h 398"/>
                <a:gd name="T2" fmla="*/ 121 w 396"/>
                <a:gd name="T3" fmla="*/ 382 h 398"/>
                <a:gd name="T4" fmla="*/ 71 w 396"/>
                <a:gd name="T5" fmla="*/ 352 h 398"/>
                <a:gd name="T6" fmla="*/ 33 w 396"/>
                <a:gd name="T7" fmla="*/ 310 h 398"/>
                <a:gd name="T8" fmla="*/ 8 w 396"/>
                <a:gd name="T9" fmla="*/ 258 h 398"/>
                <a:gd name="T10" fmla="*/ 0 w 396"/>
                <a:gd name="T11" fmla="*/ 199 h 398"/>
                <a:gd name="T12" fmla="*/ 4 w 396"/>
                <a:gd name="T13" fmla="*/ 159 h 398"/>
                <a:gd name="T14" fmla="*/ 24 w 396"/>
                <a:gd name="T15" fmla="*/ 105 h 398"/>
                <a:gd name="T16" fmla="*/ 58 w 396"/>
                <a:gd name="T17" fmla="*/ 59 h 398"/>
                <a:gd name="T18" fmla="*/ 103 w 396"/>
                <a:gd name="T19" fmla="*/ 25 h 398"/>
                <a:gd name="T20" fmla="*/ 158 w 396"/>
                <a:gd name="T21" fmla="*/ 4 h 398"/>
                <a:gd name="T22" fmla="*/ 198 w 396"/>
                <a:gd name="T23" fmla="*/ 0 h 398"/>
                <a:gd name="T24" fmla="*/ 257 w 396"/>
                <a:gd name="T25" fmla="*/ 10 h 398"/>
                <a:gd name="T26" fmla="*/ 308 w 396"/>
                <a:gd name="T27" fmla="*/ 34 h 398"/>
                <a:gd name="T28" fmla="*/ 351 w 396"/>
                <a:gd name="T29" fmla="*/ 73 h 398"/>
                <a:gd name="T30" fmla="*/ 381 w 396"/>
                <a:gd name="T31" fmla="*/ 122 h 398"/>
                <a:gd name="T32" fmla="*/ 395 w 396"/>
                <a:gd name="T33" fmla="*/ 179 h 398"/>
                <a:gd name="T34" fmla="*/ 395 w 396"/>
                <a:gd name="T35" fmla="*/ 220 h 398"/>
                <a:gd name="T36" fmla="*/ 381 w 396"/>
                <a:gd name="T37" fmla="*/ 277 h 398"/>
                <a:gd name="T38" fmla="*/ 351 w 396"/>
                <a:gd name="T39" fmla="*/ 325 h 398"/>
                <a:gd name="T40" fmla="*/ 308 w 396"/>
                <a:gd name="T41" fmla="*/ 364 h 398"/>
                <a:gd name="T42" fmla="*/ 257 w 396"/>
                <a:gd name="T43" fmla="*/ 388 h 398"/>
                <a:gd name="T44" fmla="*/ 198 w 396"/>
                <a:gd name="T45" fmla="*/ 398 h 398"/>
                <a:gd name="T46" fmla="*/ 198 w 396"/>
                <a:gd name="T47" fmla="*/ 66 h 398"/>
                <a:gd name="T48" fmla="*/ 158 w 396"/>
                <a:gd name="T49" fmla="*/ 73 h 398"/>
                <a:gd name="T50" fmla="*/ 124 w 396"/>
                <a:gd name="T51" fmla="*/ 89 h 398"/>
                <a:gd name="T52" fmla="*/ 96 w 396"/>
                <a:gd name="T53" fmla="*/ 115 h 398"/>
                <a:gd name="T54" fmla="*/ 76 w 396"/>
                <a:gd name="T55" fmla="*/ 147 h 398"/>
                <a:gd name="T56" fmla="*/ 66 w 396"/>
                <a:gd name="T57" fmla="*/ 186 h 398"/>
                <a:gd name="T58" fmla="*/ 66 w 396"/>
                <a:gd name="T59" fmla="*/ 212 h 398"/>
                <a:gd name="T60" fmla="*/ 76 w 396"/>
                <a:gd name="T61" fmla="*/ 251 h 398"/>
                <a:gd name="T62" fmla="*/ 96 w 396"/>
                <a:gd name="T63" fmla="*/ 283 h 398"/>
                <a:gd name="T64" fmla="*/ 124 w 396"/>
                <a:gd name="T65" fmla="*/ 309 h 398"/>
                <a:gd name="T66" fmla="*/ 158 w 396"/>
                <a:gd name="T67" fmla="*/ 325 h 398"/>
                <a:gd name="T68" fmla="*/ 198 w 396"/>
                <a:gd name="T69" fmla="*/ 331 h 398"/>
                <a:gd name="T70" fmla="*/ 224 w 396"/>
                <a:gd name="T71" fmla="*/ 328 h 398"/>
                <a:gd name="T72" fmla="*/ 261 w 396"/>
                <a:gd name="T73" fmla="*/ 315 h 398"/>
                <a:gd name="T74" fmla="*/ 292 w 396"/>
                <a:gd name="T75" fmla="*/ 292 h 398"/>
                <a:gd name="T76" fmla="*/ 315 w 396"/>
                <a:gd name="T77" fmla="*/ 262 h 398"/>
                <a:gd name="T78" fmla="*/ 328 w 396"/>
                <a:gd name="T79" fmla="*/ 226 h 398"/>
                <a:gd name="T80" fmla="*/ 330 w 396"/>
                <a:gd name="T81" fmla="*/ 199 h 398"/>
                <a:gd name="T82" fmla="*/ 324 w 396"/>
                <a:gd name="T83" fmla="*/ 160 h 398"/>
                <a:gd name="T84" fmla="*/ 307 w 396"/>
                <a:gd name="T85" fmla="*/ 125 h 398"/>
                <a:gd name="T86" fmla="*/ 282 w 396"/>
                <a:gd name="T87" fmla="*/ 96 h 398"/>
                <a:gd name="T88" fmla="*/ 249 w 396"/>
                <a:gd name="T89" fmla="*/ 77 h 398"/>
                <a:gd name="T90" fmla="*/ 211 w 396"/>
                <a:gd name="T91" fmla="*/ 6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6" h="398">
                  <a:moveTo>
                    <a:pt x="198" y="398"/>
                  </a:moveTo>
                  <a:lnTo>
                    <a:pt x="198" y="398"/>
                  </a:lnTo>
                  <a:lnTo>
                    <a:pt x="178" y="397"/>
                  </a:lnTo>
                  <a:lnTo>
                    <a:pt x="158" y="394"/>
                  </a:lnTo>
                  <a:lnTo>
                    <a:pt x="139" y="388"/>
                  </a:lnTo>
                  <a:lnTo>
                    <a:pt x="121" y="382"/>
                  </a:lnTo>
                  <a:lnTo>
                    <a:pt x="103" y="374"/>
                  </a:lnTo>
                  <a:lnTo>
                    <a:pt x="87" y="364"/>
                  </a:lnTo>
                  <a:lnTo>
                    <a:pt x="71" y="352"/>
                  </a:lnTo>
                  <a:lnTo>
                    <a:pt x="58" y="340"/>
                  </a:lnTo>
                  <a:lnTo>
                    <a:pt x="44" y="325"/>
                  </a:lnTo>
                  <a:lnTo>
                    <a:pt x="33" y="310"/>
                  </a:lnTo>
                  <a:lnTo>
                    <a:pt x="24" y="293"/>
                  </a:lnTo>
                  <a:lnTo>
                    <a:pt x="15" y="277"/>
                  </a:lnTo>
                  <a:lnTo>
                    <a:pt x="8" y="258"/>
                  </a:lnTo>
                  <a:lnTo>
                    <a:pt x="4" y="239"/>
                  </a:lnTo>
                  <a:lnTo>
                    <a:pt x="1" y="220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1" y="179"/>
                  </a:lnTo>
                  <a:lnTo>
                    <a:pt x="4" y="159"/>
                  </a:lnTo>
                  <a:lnTo>
                    <a:pt x="8" y="140"/>
                  </a:lnTo>
                  <a:lnTo>
                    <a:pt x="15" y="122"/>
                  </a:lnTo>
                  <a:lnTo>
                    <a:pt x="24" y="105"/>
                  </a:lnTo>
                  <a:lnTo>
                    <a:pt x="33" y="88"/>
                  </a:lnTo>
                  <a:lnTo>
                    <a:pt x="44" y="73"/>
                  </a:lnTo>
                  <a:lnTo>
                    <a:pt x="58" y="59"/>
                  </a:lnTo>
                  <a:lnTo>
                    <a:pt x="71" y="46"/>
                  </a:lnTo>
                  <a:lnTo>
                    <a:pt x="87" y="34"/>
                  </a:lnTo>
                  <a:lnTo>
                    <a:pt x="103" y="25"/>
                  </a:lnTo>
                  <a:lnTo>
                    <a:pt x="121" y="16"/>
                  </a:lnTo>
                  <a:lnTo>
                    <a:pt x="139" y="10"/>
                  </a:lnTo>
                  <a:lnTo>
                    <a:pt x="158" y="4"/>
                  </a:lnTo>
                  <a:lnTo>
                    <a:pt x="178" y="1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218" y="1"/>
                  </a:lnTo>
                  <a:lnTo>
                    <a:pt x="238" y="4"/>
                  </a:lnTo>
                  <a:lnTo>
                    <a:pt x="257" y="10"/>
                  </a:lnTo>
                  <a:lnTo>
                    <a:pt x="275" y="16"/>
                  </a:lnTo>
                  <a:lnTo>
                    <a:pt x="293" y="25"/>
                  </a:lnTo>
                  <a:lnTo>
                    <a:pt x="308" y="34"/>
                  </a:lnTo>
                  <a:lnTo>
                    <a:pt x="324" y="46"/>
                  </a:lnTo>
                  <a:lnTo>
                    <a:pt x="338" y="59"/>
                  </a:lnTo>
                  <a:lnTo>
                    <a:pt x="351" y="73"/>
                  </a:lnTo>
                  <a:lnTo>
                    <a:pt x="362" y="88"/>
                  </a:lnTo>
                  <a:lnTo>
                    <a:pt x="372" y="105"/>
                  </a:lnTo>
                  <a:lnTo>
                    <a:pt x="381" y="122"/>
                  </a:lnTo>
                  <a:lnTo>
                    <a:pt x="387" y="140"/>
                  </a:lnTo>
                  <a:lnTo>
                    <a:pt x="392" y="159"/>
                  </a:lnTo>
                  <a:lnTo>
                    <a:pt x="395" y="179"/>
                  </a:lnTo>
                  <a:lnTo>
                    <a:pt x="396" y="199"/>
                  </a:lnTo>
                  <a:lnTo>
                    <a:pt x="396" y="199"/>
                  </a:lnTo>
                  <a:lnTo>
                    <a:pt x="395" y="220"/>
                  </a:lnTo>
                  <a:lnTo>
                    <a:pt x="392" y="239"/>
                  </a:lnTo>
                  <a:lnTo>
                    <a:pt x="387" y="258"/>
                  </a:lnTo>
                  <a:lnTo>
                    <a:pt x="381" y="277"/>
                  </a:lnTo>
                  <a:lnTo>
                    <a:pt x="372" y="293"/>
                  </a:lnTo>
                  <a:lnTo>
                    <a:pt x="362" y="310"/>
                  </a:lnTo>
                  <a:lnTo>
                    <a:pt x="351" y="325"/>
                  </a:lnTo>
                  <a:lnTo>
                    <a:pt x="338" y="340"/>
                  </a:lnTo>
                  <a:lnTo>
                    <a:pt x="324" y="352"/>
                  </a:lnTo>
                  <a:lnTo>
                    <a:pt x="308" y="364"/>
                  </a:lnTo>
                  <a:lnTo>
                    <a:pt x="293" y="374"/>
                  </a:lnTo>
                  <a:lnTo>
                    <a:pt x="275" y="382"/>
                  </a:lnTo>
                  <a:lnTo>
                    <a:pt x="257" y="388"/>
                  </a:lnTo>
                  <a:lnTo>
                    <a:pt x="238" y="394"/>
                  </a:lnTo>
                  <a:lnTo>
                    <a:pt x="218" y="397"/>
                  </a:lnTo>
                  <a:lnTo>
                    <a:pt x="198" y="398"/>
                  </a:lnTo>
                  <a:lnTo>
                    <a:pt x="198" y="398"/>
                  </a:lnTo>
                  <a:close/>
                  <a:moveTo>
                    <a:pt x="198" y="66"/>
                  </a:moveTo>
                  <a:lnTo>
                    <a:pt x="198" y="66"/>
                  </a:lnTo>
                  <a:lnTo>
                    <a:pt x="184" y="68"/>
                  </a:lnTo>
                  <a:lnTo>
                    <a:pt x="172" y="70"/>
                  </a:lnTo>
                  <a:lnTo>
                    <a:pt x="158" y="73"/>
                  </a:lnTo>
                  <a:lnTo>
                    <a:pt x="147" y="77"/>
                  </a:lnTo>
                  <a:lnTo>
                    <a:pt x="134" y="83"/>
                  </a:lnTo>
                  <a:lnTo>
                    <a:pt x="124" y="89"/>
                  </a:lnTo>
                  <a:lnTo>
                    <a:pt x="114" y="96"/>
                  </a:lnTo>
                  <a:lnTo>
                    <a:pt x="104" y="106"/>
                  </a:lnTo>
                  <a:lnTo>
                    <a:pt x="96" y="115"/>
                  </a:lnTo>
                  <a:lnTo>
                    <a:pt x="88" y="125"/>
                  </a:lnTo>
                  <a:lnTo>
                    <a:pt x="82" y="136"/>
                  </a:lnTo>
                  <a:lnTo>
                    <a:pt x="76" y="147"/>
                  </a:lnTo>
                  <a:lnTo>
                    <a:pt x="71" y="160"/>
                  </a:lnTo>
                  <a:lnTo>
                    <a:pt x="68" y="172"/>
                  </a:lnTo>
                  <a:lnTo>
                    <a:pt x="66" y="186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6" y="212"/>
                  </a:lnTo>
                  <a:lnTo>
                    <a:pt x="68" y="226"/>
                  </a:lnTo>
                  <a:lnTo>
                    <a:pt x="71" y="238"/>
                  </a:lnTo>
                  <a:lnTo>
                    <a:pt x="76" y="251"/>
                  </a:lnTo>
                  <a:lnTo>
                    <a:pt x="82" y="262"/>
                  </a:lnTo>
                  <a:lnTo>
                    <a:pt x="88" y="272"/>
                  </a:lnTo>
                  <a:lnTo>
                    <a:pt x="96" y="283"/>
                  </a:lnTo>
                  <a:lnTo>
                    <a:pt x="104" y="292"/>
                  </a:lnTo>
                  <a:lnTo>
                    <a:pt x="114" y="301"/>
                  </a:lnTo>
                  <a:lnTo>
                    <a:pt x="124" y="309"/>
                  </a:lnTo>
                  <a:lnTo>
                    <a:pt x="134" y="315"/>
                  </a:lnTo>
                  <a:lnTo>
                    <a:pt x="147" y="321"/>
                  </a:lnTo>
                  <a:lnTo>
                    <a:pt x="158" y="325"/>
                  </a:lnTo>
                  <a:lnTo>
                    <a:pt x="172" y="328"/>
                  </a:lnTo>
                  <a:lnTo>
                    <a:pt x="184" y="330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211" y="330"/>
                  </a:lnTo>
                  <a:lnTo>
                    <a:pt x="224" y="328"/>
                  </a:lnTo>
                  <a:lnTo>
                    <a:pt x="237" y="325"/>
                  </a:lnTo>
                  <a:lnTo>
                    <a:pt x="249" y="321"/>
                  </a:lnTo>
                  <a:lnTo>
                    <a:pt x="261" y="315"/>
                  </a:lnTo>
                  <a:lnTo>
                    <a:pt x="272" y="309"/>
                  </a:lnTo>
                  <a:lnTo>
                    <a:pt x="282" y="301"/>
                  </a:lnTo>
                  <a:lnTo>
                    <a:pt x="292" y="292"/>
                  </a:lnTo>
                  <a:lnTo>
                    <a:pt x="300" y="283"/>
                  </a:lnTo>
                  <a:lnTo>
                    <a:pt x="307" y="272"/>
                  </a:lnTo>
                  <a:lnTo>
                    <a:pt x="315" y="262"/>
                  </a:lnTo>
                  <a:lnTo>
                    <a:pt x="320" y="251"/>
                  </a:lnTo>
                  <a:lnTo>
                    <a:pt x="324" y="238"/>
                  </a:lnTo>
                  <a:lnTo>
                    <a:pt x="328" y="226"/>
                  </a:lnTo>
                  <a:lnTo>
                    <a:pt x="329" y="212"/>
                  </a:lnTo>
                  <a:lnTo>
                    <a:pt x="330" y="199"/>
                  </a:lnTo>
                  <a:lnTo>
                    <a:pt x="330" y="199"/>
                  </a:lnTo>
                  <a:lnTo>
                    <a:pt x="329" y="186"/>
                  </a:lnTo>
                  <a:lnTo>
                    <a:pt x="328" y="172"/>
                  </a:lnTo>
                  <a:lnTo>
                    <a:pt x="324" y="160"/>
                  </a:lnTo>
                  <a:lnTo>
                    <a:pt x="320" y="147"/>
                  </a:lnTo>
                  <a:lnTo>
                    <a:pt x="315" y="136"/>
                  </a:lnTo>
                  <a:lnTo>
                    <a:pt x="307" y="125"/>
                  </a:lnTo>
                  <a:lnTo>
                    <a:pt x="300" y="115"/>
                  </a:lnTo>
                  <a:lnTo>
                    <a:pt x="292" y="106"/>
                  </a:lnTo>
                  <a:lnTo>
                    <a:pt x="282" y="96"/>
                  </a:lnTo>
                  <a:lnTo>
                    <a:pt x="272" y="89"/>
                  </a:lnTo>
                  <a:lnTo>
                    <a:pt x="261" y="83"/>
                  </a:lnTo>
                  <a:lnTo>
                    <a:pt x="249" y="77"/>
                  </a:lnTo>
                  <a:lnTo>
                    <a:pt x="237" y="73"/>
                  </a:lnTo>
                  <a:lnTo>
                    <a:pt x="224" y="70"/>
                  </a:lnTo>
                  <a:lnTo>
                    <a:pt x="211" y="68"/>
                  </a:lnTo>
                  <a:lnTo>
                    <a:pt x="198" y="66"/>
                  </a:lnTo>
                  <a:lnTo>
                    <a:pt x="198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61" name="Freeform 1352">
              <a:extLst>
                <a:ext uri="{FF2B5EF4-FFF2-40B4-BE49-F238E27FC236}">
                  <a16:creationId xmlns="" xmlns:a16="http://schemas.microsoft.com/office/drawing/2014/main" id="{3F5E9AFE-B6FC-4ED4-B61B-803C319221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908051"/>
              <a:ext cx="90488" cy="150813"/>
            </a:xfrm>
            <a:custGeom>
              <a:avLst/>
              <a:gdLst>
                <a:gd name="T0" fmla="*/ 33 w 396"/>
                <a:gd name="T1" fmla="*/ 661 h 661"/>
                <a:gd name="T2" fmla="*/ 26 w 396"/>
                <a:gd name="T3" fmla="*/ 660 h 661"/>
                <a:gd name="T4" fmla="*/ 14 w 396"/>
                <a:gd name="T5" fmla="*/ 655 h 661"/>
                <a:gd name="T6" fmla="*/ 5 w 396"/>
                <a:gd name="T7" fmla="*/ 647 h 661"/>
                <a:gd name="T8" fmla="*/ 0 w 396"/>
                <a:gd name="T9" fmla="*/ 635 h 661"/>
                <a:gd name="T10" fmla="*/ 0 w 396"/>
                <a:gd name="T11" fmla="*/ 198 h 661"/>
                <a:gd name="T12" fmla="*/ 1 w 396"/>
                <a:gd name="T13" fmla="*/ 178 h 661"/>
                <a:gd name="T14" fmla="*/ 8 w 396"/>
                <a:gd name="T15" fmla="*/ 139 h 661"/>
                <a:gd name="T16" fmla="*/ 24 w 396"/>
                <a:gd name="T17" fmla="*/ 103 h 661"/>
                <a:gd name="T18" fmla="*/ 44 w 396"/>
                <a:gd name="T19" fmla="*/ 72 h 661"/>
                <a:gd name="T20" fmla="*/ 71 w 396"/>
                <a:gd name="T21" fmla="*/ 46 h 661"/>
                <a:gd name="T22" fmla="*/ 103 w 396"/>
                <a:gd name="T23" fmla="*/ 24 h 661"/>
                <a:gd name="T24" fmla="*/ 139 w 396"/>
                <a:gd name="T25" fmla="*/ 8 h 661"/>
                <a:gd name="T26" fmla="*/ 178 w 396"/>
                <a:gd name="T27" fmla="*/ 1 h 661"/>
                <a:gd name="T28" fmla="*/ 198 w 396"/>
                <a:gd name="T29" fmla="*/ 0 h 661"/>
                <a:gd name="T30" fmla="*/ 238 w 396"/>
                <a:gd name="T31" fmla="*/ 4 h 661"/>
                <a:gd name="T32" fmla="*/ 275 w 396"/>
                <a:gd name="T33" fmla="*/ 16 h 661"/>
                <a:gd name="T34" fmla="*/ 308 w 396"/>
                <a:gd name="T35" fmla="*/ 33 h 661"/>
                <a:gd name="T36" fmla="*/ 338 w 396"/>
                <a:gd name="T37" fmla="*/ 58 h 661"/>
                <a:gd name="T38" fmla="*/ 362 w 396"/>
                <a:gd name="T39" fmla="*/ 87 h 661"/>
                <a:gd name="T40" fmla="*/ 381 w 396"/>
                <a:gd name="T41" fmla="*/ 121 h 661"/>
                <a:gd name="T42" fmla="*/ 392 w 396"/>
                <a:gd name="T43" fmla="*/ 158 h 661"/>
                <a:gd name="T44" fmla="*/ 396 w 396"/>
                <a:gd name="T45" fmla="*/ 198 h 661"/>
                <a:gd name="T46" fmla="*/ 396 w 396"/>
                <a:gd name="T47" fmla="*/ 628 h 661"/>
                <a:gd name="T48" fmla="*/ 394 w 396"/>
                <a:gd name="T49" fmla="*/ 641 h 661"/>
                <a:gd name="T50" fmla="*/ 387 w 396"/>
                <a:gd name="T51" fmla="*/ 651 h 661"/>
                <a:gd name="T52" fmla="*/ 377 w 396"/>
                <a:gd name="T53" fmla="*/ 658 h 661"/>
                <a:gd name="T54" fmla="*/ 363 w 396"/>
                <a:gd name="T55" fmla="*/ 661 h 661"/>
                <a:gd name="T56" fmla="*/ 66 w 396"/>
                <a:gd name="T57" fmla="*/ 595 h 661"/>
                <a:gd name="T58" fmla="*/ 330 w 396"/>
                <a:gd name="T59" fmla="*/ 198 h 661"/>
                <a:gd name="T60" fmla="*/ 329 w 396"/>
                <a:gd name="T61" fmla="*/ 184 h 661"/>
                <a:gd name="T62" fmla="*/ 324 w 396"/>
                <a:gd name="T63" fmla="*/ 158 h 661"/>
                <a:gd name="T64" fmla="*/ 315 w 396"/>
                <a:gd name="T65" fmla="*/ 136 h 661"/>
                <a:gd name="T66" fmla="*/ 300 w 396"/>
                <a:gd name="T67" fmla="*/ 114 h 661"/>
                <a:gd name="T68" fmla="*/ 282 w 396"/>
                <a:gd name="T69" fmla="*/ 96 h 661"/>
                <a:gd name="T70" fmla="*/ 261 w 396"/>
                <a:gd name="T71" fmla="*/ 82 h 661"/>
                <a:gd name="T72" fmla="*/ 237 w 396"/>
                <a:gd name="T73" fmla="*/ 71 h 661"/>
                <a:gd name="T74" fmla="*/ 211 w 396"/>
                <a:gd name="T75" fmla="*/ 66 h 661"/>
                <a:gd name="T76" fmla="*/ 198 w 396"/>
                <a:gd name="T77" fmla="*/ 66 h 661"/>
                <a:gd name="T78" fmla="*/ 172 w 396"/>
                <a:gd name="T79" fmla="*/ 68 h 661"/>
                <a:gd name="T80" fmla="*/ 147 w 396"/>
                <a:gd name="T81" fmla="*/ 77 h 661"/>
                <a:gd name="T82" fmla="*/ 124 w 396"/>
                <a:gd name="T83" fmla="*/ 88 h 661"/>
                <a:gd name="T84" fmla="*/ 104 w 396"/>
                <a:gd name="T85" fmla="*/ 105 h 661"/>
                <a:gd name="T86" fmla="*/ 88 w 396"/>
                <a:gd name="T87" fmla="*/ 124 h 661"/>
                <a:gd name="T88" fmla="*/ 76 w 396"/>
                <a:gd name="T89" fmla="*/ 147 h 661"/>
                <a:gd name="T90" fmla="*/ 68 w 396"/>
                <a:gd name="T91" fmla="*/ 172 h 661"/>
                <a:gd name="T92" fmla="*/ 66 w 396"/>
                <a:gd name="T93" fmla="*/ 198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6" h="661">
                  <a:moveTo>
                    <a:pt x="363" y="661"/>
                  </a:moveTo>
                  <a:lnTo>
                    <a:pt x="33" y="661"/>
                  </a:lnTo>
                  <a:lnTo>
                    <a:pt x="33" y="661"/>
                  </a:lnTo>
                  <a:lnTo>
                    <a:pt x="26" y="660"/>
                  </a:lnTo>
                  <a:lnTo>
                    <a:pt x="20" y="658"/>
                  </a:lnTo>
                  <a:lnTo>
                    <a:pt x="14" y="655"/>
                  </a:lnTo>
                  <a:lnTo>
                    <a:pt x="9" y="651"/>
                  </a:lnTo>
                  <a:lnTo>
                    <a:pt x="5" y="647"/>
                  </a:lnTo>
                  <a:lnTo>
                    <a:pt x="2" y="641"/>
                  </a:lnTo>
                  <a:lnTo>
                    <a:pt x="0" y="635"/>
                  </a:lnTo>
                  <a:lnTo>
                    <a:pt x="0" y="628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1" y="178"/>
                  </a:lnTo>
                  <a:lnTo>
                    <a:pt x="4" y="158"/>
                  </a:lnTo>
                  <a:lnTo>
                    <a:pt x="8" y="139"/>
                  </a:lnTo>
                  <a:lnTo>
                    <a:pt x="15" y="121"/>
                  </a:lnTo>
                  <a:lnTo>
                    <a:pt x="24" y="103"/>
                  </a:lnTo>
                  <a:lnTo>
                    <a:pt x="33" y="87"/>
                  </a:lnTo>
                  <a:lnTo>
                    <a:pt x="44" y="72"/>
                  </a:lnTo>
                  <a:lnTo>
                    <a:pt x="58" y="58"/>
                  </a:lnTo>
                  <a:lnTo>
                    <a:pt x="71" y="46"/>
                  </a:lnTo>
                  <a:lnTo>
                    <a:pt x="87" y="33"/>
                  </a:lnTo>
                  <a:lnTo>
                    <a:pt x="103" y="24"/>
                  </a:lnTo>
                  <a:lnTo>
                    <a:pt x="121" y="16"/>
                  </a:lnTo>
                  <a:lnTo>
                    <a:pt x="139" y="8"/>
                  </a:lnTo>
                  <a:lnTo>
                    <a:pt x="158" y="4"/>
                  </a:lnTo>
                  <a:lnTo>
                    <a:pt x="178" y="1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218" y="1"/>
                  </a:lnTo>
                  <a:lnTo>
                    <a:pt x="238" y="4"/>
                  </a:lnTo>
                  <a:lnTo>
                    <a:pt x="257" y="8"/>
                  </a:lnTo>
                  <a:lnTo>
                    <a:pt x="275" y="16"/>
                  </a:lnTo>
                  <a:lnTo>
                    <a:pt x="293" y="24"/>
                  </a:lnTo>
                  <a:lnTo>
                    <a:pt x="308" y="33"/>
                  </a:lnTo>
                  <a:lnTo>
                    <a:pt x="324" y="46"/>
                  </a:lnTo>
                  <a:lnTo>
                    <a:pt x="338" y="58"/>
                  </a:lnTo>
                  <a:lnTo>
                    <a:pt x="351" y="72"/>
                  </a:lnTo>
                  <a:lnTo>
                    <a:pt x="362" y="87"/>
                  </a:lnTo>
                  <a:lnTo>
                    <a:pt x="372" y="103"/>
                  </a:lnTo>
                  <a:lnTo>
                    <a:pt x="381" y="121"/>
                  </a:lnTo>
                  <a:lnTo>
                    <a:pt x="387" y="139"/>
                  </a:lnTo>
                  <a:lnTo>
                    <a:pt x="392" y="158"/>
                  </a:lnTo>
                  <a:lnTo>
                    <a:pt x="395" y="178"/>
                  </a:lnTo>
                  <a:lnTo>
                    <a:pt x="396" y="198"/>
                  </a:lnTo>
                  <a:lnTo>
                    <a:pt x="396" y="628"/>
                  </a:lnTo>
                  <a:lnTo>
                    <a:pt x="396" y="628"/>
                  </a:lnTo>
                  <a:lnTo>
                    <a:pt x="395" y="635"/>
                  </a:lnTo>
                  <a:lnTo>
                    <a:pt x="394" y="641"/>
                  </a:lnTo>
                  <a:lnTo>
                    <a:pt x="391" y="647"/>
                  </a:lnTo>
                  <a:lnTo>
                    <a:pt x="387" y="651"/>
                  </a:lnTo>
                  <a:lnTo>
                    <a:pt x="382" y="655"/>
                  </a:lnTo>
                  <a:lnTo>
                    <a:pt x="377" y="658"/>
                  </a:lnTo>
                  <a:lnTo>
                    <a:pt x="370" y="660"/>
                  </a:lnTo>
                  <a:lnTo>
                    <a:pt x="363" y="661"/>
                  </a:lnTo>
                  <a:lnTo>
                    <a:pt x="363" y="661"/>
                  </a:lnTo>
                  <a:close/>
                  <a:moveTo>
                    <a:pt x="66" y="595"/>
                  </a:moveTo>
                  <a:lnTo>
                    <a:pt x="330" y="595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29" y="184"/>
                  </a:lnTo>
                  <a:lnTo>
                    <a:pt x="328" y="172"/>
                  </a:lnTo>
                  <a:lnTo>
                    <a:pt x="324" y="158"/>
                  </a:lnTo>
                  <a:lnTo>
                    <a:pt x="320" y="147"/>
                  </a:lnTo>
                  <a:lnTo>
                    <a:pt x="315" y="136"/>
                  </a:lnTo>
                  <a:lnTo>
                    <a:pt x="307" y="124"/>
                  </a:lnTo>
                  <a:lnTo>
                    <a:pt x="300" y="114"/>
                  </a:lnTo>
                  <a:lnTo>
                    <a:pt x="292" y="105"/>
                  </a:lnTo>
                  <a:lnTo>
                    <a:pt x="282" y="96"/>
                  </a:lnTo>
                  <a:lnTo>
                    <a:pt x="272" y="88"/>
                  </a:lnTo>
                  <a:lnTo>
                    <a:pt x="261" y="82"/>
                  </a:lnTo>
                  <a:lnTo>
                    <a:pt x="249" y="77"/>
                  </a:lnTo>
                  <a:lnTo>
                    <a:pt x="237" y="71"/>
                  </a:lnTo>
                  <a:lnTo>
                    <a:pt x="224" y="68"/>
                  </a:lnTo>
                  <a:lnTo>
                    <a:pt x="211" y="66"/>
                  </a:lnTo>
                  <a:lnTo>
                    <a:pt x="198" y="66"/>
                  </a:lnTo>
                  <a:lnTo>
                    <a:pt x="198" y="66"/>
                  </a:lnTo>
                  <a:lnTo>
                    <a:pt x="184" y="66"/>
                  </a:lnTo>
                  <a:lnTo>
                    <a:pt x="172" y="68"/>
                  </a:lnTo>
                  <a:lnTo>
                    <a:pt x="158" y="71"/>
                  </a:lnTo>
                  <a:lnTo>
                    <a:pt x="147" y="77"/>
                  </a:lnTo>
                  <a:lnTo>
                    <a:pt x="134" y="82"/>
                  </a:lnTo>
                  <a:lnTo>
                    <a:pt x="124" y="88"/>
                  </a:lnTo>
                  <a:lnTo>
                    <a:pt x="114" y="96"/>
                  </a:lnTo>
                  <a:lnTo>
                    <a:pt x="104" y="105"/>
                  </a:lnTo>
                  <a:lnTo>
                    <a:pt x="96" y="114"/>
                  </a:lnTo>
                  <a:lnTo>
                    <a:pt x="88" y="124"/>
                  </a:lnTo>
                  <a:lnTo>
                    <a:pt x="82" y="136"/>
                  </a:lnTo>
                  <a:lnTo>
                    <a:pt x="76" y="147"/>
                  </a:lnTo>
                  <a:lnTo>
                    <a:pt x="71" y="158"/>
                  </a:lnTo>
                  <a:lnTo>
                    <a:pt x="68" y="172"/>
                  </a:lnTo>
                  <a:lnTo>
                    <a:pt x="66" y="184"/>
                  </a:lnTo>
                  <a:lnTo>
                    <a:pt x="66" y="198"/>
                  </a:lnTo>
                  <a:lnTo>
                    <a:pt x="66" y="5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62" name="Freeform 1353">
              <a:extLst>
                <a:ext uri="{FF2B5EF4-FFF2-40B4-BE49-F238E27FC236}">
                  <a16:creationId xmlns="" xmlns:a16="http://schemas.microsoft.com/office/drawing/2014/main" id="{2826379A-FE9E-4772-A69A-42BE7EA306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6263" y="803276"/>
              <a:ext cx="90488" cy="90488"/>
            </a:xfrm>
            <a:custGeom>
              <a:avLst/>
              <a:gdLst>
                <a:gd name="T0" fmla="*/ 178 w 396"/>
                <a:gd name="T1" fmla="*/ 397 h 398"/>
                <a:gd name="T2" fmla="*/ 121 w 396"/>
                <a:gd name="T3" fmla="*/ 382 h 398"/>
                <a:gd name="T4" fmla="*/ 72 w 396"/>
                <a:gd name="T5" fmla="*/ 352 h 398"/>
                <a:gd name="T6" fmla="*/ 34 w 396"/>
                <a:gd name="T7" fmla="*/ 310 h 398"/>
                <a:gd name="T8" fmla="*/ 9 w 396"/>
                <a:gd name="T9" fmla="*/ 258 h 398"/>
                <a:gd name="T10" fmla="*/ 0 w 396"/>
                <a:gd name="T11" fmla="*/ 199 h 398"/>
                <a:gd name="T12" fmla="*/ 4 w 396"/>
                <a:gd name="T13" fmla="*/ 159 h 398"/>
                <a:gd name="T14" fmla="*/ 24 w 396"/>
                <a:gd name="T15" fmla="*/ 105 h 398"/>
                <a:gd name="T16" fmla="*/ 58 w 396"/>
                <a:gd name="T17" fmla="*/ 59 h 398"/>
                <a:gd name="T18" fmla="*/ 103 w 396"/>
                <a:gd name="T19" fmla="*/ 25 h 398"/>
                <a:gd name="T20" fmla="*/ 158 w 396"/>
                <a:gd name="T21" fmla="*/ 4 h 398"/>
                <a:gd name="T22" fmla="*/ 199 w 396"/>
                <a:gd name="T23" fmla="*/ 0 h 398"/>
                <a:gd name="T24" fmla="*/ 258 w 396"/>
                <a:gd name="T25" fmla="*/ 10 h 398"/>
                <a:gd name="T26" fmla="*/ 309 w 396"/>
                <a:gd name="T27" fmla="*/ 34 h 398"/>
                <a:gd name="T28" fmla="*/ 351 w 396"/>
                <a:gd name="T29" fmla="*/ 73 h 398"/>
                <a:gd name="T30" fmla="*/ 381 w 396"/>
                <a:gd name="T31" fmla="*/ 122 h 398"/>
                <a:gd name="T32" fmla="*/ 395 w 396"/>
                <a:gd name="T33" fmla="*/ 179 h 398"/>
                <a:gd name="T34" fmla="*/ 395 w 396"/>
                <a:gd name="T35" fmla="*/ 220 h 398"/>
                <a:gd name="T36" fmla="*/ 381 w 396"/>
                <a:gd name="T37" fmla="*/ 277 h 398"/>
                <a:gd name="T38" fmla="*/ 351 w 396"/>
                <a:gd name="T39" fmla="*/ 325 h 398"/>
                <a:gd name="T40" fmla="*/ 309 w 396"/>
                <a:gd name="T41" fmla="*/ 364 h 398"/>
                <a:gd name="T42" fmla="*/ 258 w 396"/>
                <a:gd name="T43" fmla="*/ 388 h 398"/>
                <a:gd name="T44" fmla="*/ 199 w 396"/>
                <a:gd name="T45" fmla="*/ 398 h 398"/>
                <a:gd name="T46" fmla="*/ 199 w 396"/>
                <a:gd name="T47" fmla="*/ 66 h 398"/>
                <a:gd name="T48" fmla="*/ 159 w 396"/>
                <a:gd name="T49" fmla="*/ 73 h 398"/>
                <a:gd name="T50" fmla="*/ 124 w 396"/>
                <a:gd name="T51" fmla="*/ 89 h 398"/>
                <a:gd name="T52" fmla="*/ 96 w 396"/>
                <a:gd name="T53" fmla="*/ 115 h 398"/>
                <a:gd name="T54" fmla="*/ 77 w 396"/>
                <a:gd name="T55" fmla="*/ 147 h 398"/>
                <a:gd name="T56" fmla="*/ 66 w 396"/>
                <a:gd name="T57" fmla="*/ 186 h 398"/>
                <a:gd name="T58" fmla="*/ 66 w 396"/>
                <a:gd name="T59" fmla="*/ 212 h 398"/>
                <a:gd name="T60" fmla="*/ 77 w 396"/>
                <a:gd name="T61" fmla="*/ 251 h 398"/>
                <a:gd name="T62" fmla="*/ 96 w 396"/>
                <a:gd name="T63" fmla="*/ 283 h 398"/>
                <a:gd name="T64" fmla="*/ 124 w 396"/>
                <a:gd name="T65" fmla="*/ 309 h 398"/>
                <a:gd name="T66" fmla="*/ 159 w 396"/>
                <a:gd name="T67" fmla="*/ 325 h 398"/>
                <a:gd name="T68" fmla="*/ 199 w 396"/>
                <a:gd name="T69" fmla="*/ 331 h 398"/>
                <a:gd name="T70" fmla="*/ 225 w 396"/>
                <a:gd name="T71" fmla="*/ 328 h 398"/>
                <a:gd name="T72" fmla="*/ 261 w 396"/>
                <a:gd name="T73" fmla="*/ 315 h 398"/>
                <a:gd name="T74" fmla="*/ 292 w 396"/>
                <a:gd name="T75" fmla="*/ 292 h 398"/>
                <a:gd name="T76" fmla="*/ 315 w 396"/>
                <a:gd name="T77" fmla="*/ 262 h 398"/>
                <a:gd name="T78" fmla="*/ 328 w 396"/>
                <a:gd name="T79" fmla="*/ 226 h 398"/>
                <a:gd name="T80" fmla="*/ 330 w 396"/>
                <a:gd name="T81" fmla="*/ 199 h 398"/>
                <a:gd name="T82" fmla="*/ 325 w 396"/>
                <a:gd name="T83" fmla="*/ 160 h 398"/>
                <a:gd name="T84" fmla="*/ 308 w 396"/>
                <a:gd name="T85" fmla="*/ 125 h 398"/>
                <a:gd name="T86" fmla="*/ 283 w 396"/>
                <a:gd name="T87" fmla="*/ 96 h 398"/>
                <a:gd name="T88" fmla="*/ 249 w 396"/>
                <a:gd name="T89" fmla="*/ 77 h 398"/>
                <a:gd name="T90" fmla="*/ 212 w 396"/>
                <a:gd name="T91" fmla="*/ 6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6" h="398">
                  <a:moveTo>
                    <a:pt x="199" y="398"/>
                  </a:moveTo>
                  <a:lnTo>
                    <a:pt x="199" y="398"/>
                  </a:lnTo>
                  <a:lnTo>
                    <a:pt x="178" y="397"/>
                  </a:lnTo>
                  <a:lnTo>
                    <a:pt x="158" y="394"/>
                  </a:lnTo>
                  <a:lnTo>
                    <a:pt x="140" y="388"/>
                  </a:lnTo>
                  <a:lnTo>
                    <a:pt x="121" y="382"/>
                  </a:lnTo>
                  <a:lnTo>
                    <a:pt x="103" y="374"/>
                  </a:lnTo>
                  <a:lnTo>
                    <a:pt x="87" y="364"/>
                  </a:lnTo>
                  <a:lnTo>
                    <a:pt x="72" y="352"/>
                  </a:lnTo>
                  <a:lnTo>
                    <a:pt x="58" y="340"/>
                  </a:lnTo>
                  <a:lnTo>
                    <a:pt x="46" y="325"/>
                  </a:lnTo>
                  <a:lnTo>
                    <a:pt x="34" y="310"/>
                  </a:lnTo>
                  <a:lnTo>
                    <a:pt x="24" y="293"/>
                  </a:lnTo>
                  <a:lnTo>
                    <a:pt x="16" y="277"/>
                  </a:lnTo>
                  <a:lnTo>
                    <a:pt x="9" y="258"/>
                  </a:lnTo>
                  <a:lnTo>
                    <a:pt x="4" y="239"/>
                  </a:lnTo>
                  <a:lnTo>
                    <a:pt x="1" y="220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1" y="179"/>
                  </a:lnTo>
                  <a:lnTo>
                    <a:pt x="4" y="159"/>
                  </a:lnTo>
                  <a:lnTo>
                    <a:pt x="9" y="140"/>
                  </a:lnTo>
                  <a:lnTo>
                    <a:pt x="16" y="122"/>
                  </a:lnTo>
                  <a:lnTo>
                    <a:pt x="24" y="105"/>
                  </a:lnTo>
                  <a:lnTo>
                    <a:pt x="34" y="88"/>
                  </a:lnTo>
                  <a:lnTo>
                    <a:pt x="46" y="73"/>
                  </a:lnTo>
                  <a:lnTo>
                    <a:pt x="58" y="59"/>
                  </a:lnTo>
                  <a:lnTo>
                    <a:pt x="72" y="46"/>
                  </a:lnTo>
                  <a:lnTo>
                    <a:pt x="87" y="34"/>
                  </a:lnTo>
                  <a:lnTo>
                    <a:pt x="103" y="25"/>
                  </a:lnTo>
                  <a:lnTo>
                    <a:pt x="121" y="16"/>
                  </a:lnTo>
                  <a:lnTo>
                    <a:pt x="140" y="10"/>
                  </a:lnTo>
                  <a:lnTo>
                    <a:pt x="158" y="4"/>
                  </a:lnTo>
                  <a:lnTo>
                    <a:pt x="178" y="1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218" y="1"/>
                  </a:lnTo>
                  <a:lnTo>
                    <a:pt x="238" y="4"/>
                  </a:lnTo>
                  <a:lnTo>
                    <a:pt x="258" y="10"/>
                  </a:lnTo>
                  <a:lnTo>
                    <a:pt x="275" y="16"/>
                  </a:lnTo>
                  <a:lnTo>
                    <a:pt x="293" y="25"/>
                  </a:lnTo>
                  <a:lnTo>
                    <a:pt x="309" y="34"/>
                  </a:lnTo>
                  <a:lnTo>
                    <a:pt x="324" y="46"/>
                  </a:lnTo>
                  <a:lnTo>
                    <a:pt x="338" y="59"/>
                  </a:lnTo>
                  <a:lnTo>
                    <a:pt x="351" y="73"/>
                  </a:lnTo>
                  <a:lnTo>
                    <a:pt x="363" y="88"/>
                  </a:lnTo>
                  <a:lnTo>
                    <a:pt x="373" y="105"/>
                  </a:lnTo>
                  <a:lnTo>
                    <a:pt x="381" y="122"/>
                  </a:lnTo>
                  <a:lnTo>
                    <a:pt x="388" y="140"/>
                  </a:lnTo>
                  <a:lnTo>
                    <a:pt x="392" y="159"/>
                  </a:lnTo>
                  <a:lnTo>
                    <a:pt x="395" y="179"/>
                  </a:lnTo>
                  <a:lnTo>
                    <a:pt x="396" y="199"/>
                  </a:lnTo>
                  <a:lnTo>
                    <a:pt x="396" y="199"/>
                  </a:lnTo>
                  <a:lnTo>
                    <a:pt x="395" y="220"/>
                  </a:lnTo>
                  <a:lnTo>
                    <a:pt x="392" y="239"/>
                  </a:lnTo>
                  <a:lnTo>
                    <a:pt x="388" y="258"/>
                  </a:lnTo>
                  <a:lnTo>
                    <a:pt x="381" y="277"/>
                  </a:lnTo>
                  <a:lnTo>
                    <a:pt x="373" y="293"/>
                  </a:lnTo>
                  <a:lnTo>
                    <a:pt x="363" y="310"/>
                  </a:lnTo>
                  <a:lnTo>
                    <a:pt x="351" y="325"/>
                  </a:lnTo>
                  <a:lnTo>
                    <a:pt x="338" y="340"/>
                  </a:lnTo>
                  <a:lnTo>
                    <a:pt x="324" y="352"/>
                  </a:lnTo>
                  <a:lnTo>
                    <a:pt x="309" y="364"/>
                  </a:lnTo>
                  <a:lnTo>
                    <a:pt x="293" y="374"/>
                  </a:lnTo>
                  <a:lnTo>
                    <a:pt x="275" y="382"/>
                  </a:lnTo>
                  <a:lnTo>
                    <a:pt x="258" y="388"/>
                  </a:lnTo>
                  <a:lnTo>
                    <a:pt x="238" y="394"/>
                  </a:lnTo>
                  <a:lnTo>
                    <a:pt x="218" y="397"/>
                  </a:lnTo>
                  <a:lnTo>
                    <a:pt x="199" y="398"/>
                  </a:lnTo>
                  <a:lnTo>
                    <a:pt x="199" y="398"/>
                  </a:lnTo>
                  <a:close/>
                  <a:moveTo>
                    <a:pt x="199" y="66"/>
                  </a:moveTo>
                  <a:lnTo>
                    <a:pt x="199" y="66"/>
                  </a:lnTo>
                  <a:lnTo>
                    <a:pt x="185" y="68"/>
                  </a:lnTo>
                  <a:lnTo>
                    <a:pt x="172" y="70"/>
                  </a:lnTo>
                  <a:lnTo>
                    <a:pt x="159" y="73"/>
                  </a:lnTo>
                  <a:lnTo>
                    <a:pt x="147" y="77"/>
                  </a:lnTo>
                  <a:lnTo>
                    <a:pt x="136" y="83"/>
                  </a:lnTo>
                  <a:lnTo>
                    <a:pt x="124" y="89"/>
                  </a:lnTo>
                  <a:lnTo>
                    <a:pt x="114" y="96"/>
                  </a:lnTo>
                  <a:lnTo>
                    <a:pt x="105" y="106"/>
                  </a:lnTo>
                  <a:lnTo>
                    <a:pt x="96" y="115"/>
                  </a:lnTo>
                  <a:lnTo>
                    <a:pt x="89" y="125"/>
                  </a:lnTo>
                  <a:lnTo>
                    <a:pt x="82" y="136"/>
                  </a:lnTo>
                  <a:lnTo>
                    <a:pt x="77" y="147"/>
                  </a:lnTo>
                  <a:lnTo>
                    <a:pt x="72" y="160"/>
                  </a:lnTo>
                  <a:lnTo>
                    <a:pt x="68" y="172"/>
                  </a:lnTo>
                  <a:lnTo>
                    <a:pt x="66" y="186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6" y="212"/>
                  </a:lnTo>
                  <a:lnTo>
                    <a:pt x="68" y="226"/>
                  </a:lnTo>
                  <a:lnTo>
                    <a:pt x="72" y="238"/>
                  </a:lnTo>
                  <a:lnTo>
                    <a:pt x="77" y="251"/>
                  </a:lnTo>
                  <a:lnTo>
                    <a:pt x="82" y="262"/>
                  </a:lnTo>
                  <a:lnTo>
                    <a:pt x="89" y="272"/>
                  </a:lnTo>
                  <a:lnTo>
                    <a:pt x="96" y="283"/>
                  </a:lnTo>
                  <a:lnTo>
                    <a:pt x="105" y="292"/>
                  </a:lnTo>
                  <a:lnTo>
                    <a:pt x="114" y="301"/>
                  </a:lnTo>
                  <a:lnTo>
                    <a:pt x="124" y="309"/>
                  </a:lnTo>
                  <a:lnTo>
                    <a:pt x="136" y="315"/>
                  </a:lnTo>
                  <a:lnTo>
                    <a:pt x="147" y="321"/>
                  </a:lnTo>
                  <a:lnTo>
                    <a:pt x="159" y="325"/>
                  </a:lnTo>
                  <a:lnTo>
                    <a:pt x="172" y="328"/>
                  </a:lnTo>
                  <a:lnTo>
                    <a:pt x="185" y="330"/>
                  </a:lnTo>
                  <a:lnTo>
                    <a:pt x="199" y="331"/>
                  </a:lnTo>
                  <a:lnTo>
                    <a:pt x="199" y="331"/>
                  </a:lnTo>
                  <a:lnTo>
                    <a:pt x="212" y="330"/>
                  </a:lnTo>
                  <a:lnTo>
                    <a:pt x="225" y="328"/>
                  </a:lnTo>
                  <a:lnTo>
                    <a:pt x="238" y="325"/>
                  </a:lnTo>
                  <a:lnTo>
                    <a:pt x="249" y="321"/>
                  </a:lnTo>
                  <a:lnTo>
                    <a:pt x="261" y="315"/>
                  </a:lnTo>
                  <a:lnTo>
                    <a:pt x="272" y="309"/>
                  </a:lnTo>
                  <a:lnTo>
                    <a:pt x="283" y="301"/>
                  </a:lnTo>
                  <a:lnTo>
                    <a:pt x="292" y="292"/>
                  </a:lnTo>
                  <a:lnTo>
                    <a:pt x="300" y="283"/>
                  </a:lnTo>
                  <a:lnTo>
                    <a:pt x="308" y="272"/>
                  </a:lnTo>
                  <a:lnTo>
                    <a:pt x="315" y="262"/>
                  </a:lnTo>
                  <a:lnTo>
                    <a:pt x="320" y="251"/>
                  </a:lnTo>
                  <a:lnTo>
                    <a:pt x="325" y="238"/>
                  </a:lnTo>
                  <a:lnTo>
                    <a:pt x="328" y="226"/>
                  </a:lnTo>
                  <a:lnTo>
                    <a:pt x="330" y="212"/>
                  </a:lnTo>
                  <a:lnTo>
                    <a:pt x="330" y="199"/>
                  </a:lnTo>
                  <a:lnTo>
                    <a:pt x="330" y="199"/>
                  </a:lnTo>
                  <a:lnTo>
                    <a:pt x="330" y="186"/>
                  </a:lnTo>
                  <a:lnTo>
                    <a:pt x="328" y="172"/>
                  </a:lnTo>
                  <a:lnTo>
                    <a:pt x="325" y="160"/>
                  </a:lnTo>
                  <a:lnTo>
                    <a:pt x="320" y="147"/>
                  </a:lnTo>
                  <a:lnTo>
                    <a:pt x="315" y="136"/>
                  </a:lnTo>
                  <a:lnTo>
                    <a:pt x="308" y="125"/>
                  </a:lnTo>
                  <a:lnTo>
                    <a:pt x="300" y="115"/>
                  </a:lnTo>
                  <a:lnTo>
                    <a:pt x="292" y="106"/>
                  </a:lnTo>
                  <a:lnTo>
                    <a:pt x="283" y="96"/>
                  </a:lnTo>
                  <a:lnTo>
                    <a:pt x="272" y="89"/>
                  </a:lnTo>
                  <a:lnTo>
                    <a:pt x="261" y="83"/>
                  </a:lnTo>
                  <a:lnTo>
                    <a:pt x="249" y="77"/>
                  </a:lnTo>
                  <a:lnTo>
                    <a:pt x="238" y="73"/>
                  </a:lnTo>
                  <a:lnTo>
                    <a:pt x="225" y="70"/>
                  </a:lnTo>
                  <a:lnTo>
                    <a:pt x="212" y="68"/>
                  </a:lnTo>
                  <a:lnTo>
                    <a:pt x="199" y="66"/>
                  </a:lnTo>
                  <a:lnTo>
                    <a:pt x="19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63" name="Freeform 1354">
              <a:extLst>
                <a:ext uri="{FF2B5EF4-FFF2-40B4-BE49-F238E27FC236}">
                  <a16:creationId xmlns="" xmlns:a16="http://schemas.microsoft.com/office/drawing/2014/main" id="{954F2B60-FE25-45E2-B881-A5819AA958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6263" y="908051"/>
              <a:ext cx="90488" cy="150813"/>
            </a:xfrm>
            <a:custGeom>
              <a:avLst/>
              <a:gdLst>
                <a:gd name="T0" fmla="*/ 33 w 396"/>
                <a:gd name="T1" fmla="*/ 661 h 661"/>
                <a:gd name="T2" fmla="*/ 26 w 396"/>
                <a:gd name="T3" fmla="*/ 660 h 661"/>
                <a:gd name="T4" fmla="*/ 14 w 396"/>
                <a:gd name="T5" fmla="*/ 655 h 661"/>
                <a:gd name="T6" fmla="*/ 5 w 396"/>
                <a:gd name="T7" fmla="*/ 647 h 661"/>
                <a:gd name="T8" fmla="*/ 1 w 396"/>
                <a:gd name="T9" fmla="*/ 635 h 661"/>
                <a:gd name="T10" fmla="*/ 0 w 396"/>
                <a:gd name="T11" fmla="*/ 198 h 661"/>
                <a:gd name="T12" fmla="*/ 1 w 396"/>
                <a:gd name="T13" fmla="*/ 178 h 661"/>
                <a:gd name="T14" fmla="*/ 9 w 396"/>
                <a:gd name="T15" fmla="*/ 139 h 661"/>
                <a:gd name="T16" fmla="*/ 24 w 396"/>
                <a:gd name="T17" fmla="*/ 103 h 661"/>
                <a:gd name="T18" fmla="*/ 46 w 396"/>
                <a:gd name="T19" fmla="*/ 72 h 661"/>
                <a:gd name="T20" fmla="*/ 72 w 396"/>
                <a:gd name="T21" fmla="*/ 46 h 661"/>
                <a:gd name="T22" fmla="*/ 103 w 396"/>
                <a:gd name="T23" fmla="*/ 24 h 661"/>
                <a:gd name="T24" fmla="*/ 140 w 396"/>
                <a:gd name="T25" fmla="*/ 8 h 661"/>
                <a:gd name="T26" fmla="*/ 178 w 396"/>
                <a:gd name="T27" fmla="*/ 1 h 661"/>
                <a:gd name="T28" fmla="*/ 199 w 396"/>
                <a:gd name="T29" fmla="*/ 0 h 661"/>
                <a:gd name="T30" fmla="*/ 238 w 396"/>
                <a:gd name="T31" fmla="*/ 4 h 661"/>
                <a:gd name="T32" fmla="*/ 275 w 396"/>
                <a:gd name="T33" fmla="*/ 16 h 661"/>
                <a:gd name="T34" fmla="*/ 309 w 396"/>
                <a:gd name="T35" fmla="*/ 33 h 661"/>
                <a:gd name="T36" fmla="*/ 338 w 396"/>
                <a:gd name="T37" fmla="*/ 58 h 661"/>
                <a:gd name="T38" fmla="*/ 363 w 396"/>
                <a:gd name="T39" fmla="*/ 87 h 661"/>
                <a:gd name="T40" fmla="*/ 381 w 396"/>
                <a:gd name="T41" fmla="*/ 121 h 661"/>
                <a:gd name="T42" fmla="*/ 392 w 396"/>
                <a:gd name="T43" fmla="*/ 158 h 661"/>
                <a:gd name="T44" fmla="*/ 396 w 396"/>
                <a:gd name="T45" fmla="*/ 198 h 661"/>
                <a:gd name="T46" fmla="*/ 396 w 396"/>
                <a:gd name="T47" fmla="*/ 628 h 661"/>
                <a:gd name="T48" fmla="*/ 394 w 396"/>
                <a:gd name="T49" fmla="*/ 641 h 661"/>
                <a:gd name="T50" fmla="*/ 387 w 396"/>
                <a:gd name="T51" fmla="*/ 651 h 661"/>
                <a:gd name="T52" fmla="*/ 377 w 396"/>
                <a:gd name="T53" fmla="*/ 658 h 661"/>
                <a:gd name="T54" fmla="*/ 363 w 396"/>
                <a:gd name="T55" fmla="*/ 661 h 661"/>
                <a:gd name="T56" fmla="*/ 66 w 396"/>
                <a:gd name="T57" fmla="*/ 595 h 661"/>
                <a:gd name="T58" fmla="*/ 330 w 396"/>
                <a:gd name="T59" fmla="*/ 198 h 661"/>
                <a:gd name="T60" fmla="*/ 330 w 396"/>
                <a:gd name="T61" fmla="*/ 184 h 661"/>
                <a:gd name="T62" fmla="*/ 325 w 396"/>
                <a:gd name="T63" fmla="*/ 158 h 661"/>
                <a:gd name="T64" fmla="*/ 315 w 396"/>
                <a:gd name="T65" fmla="*/ 136 h 661"/>
                <a:gd name="T66" fmla="*/ 300 w 396"/>
                <a:gd name="T67" fmla="*/ 114 h 661"/>
                <a:gd name="T68" fmla="*/ 283 w 396"/>
                <a:gd name="T69" fmla="*/ 96 h 661"/>
                <a:gd name="T70" fmla="*/ 261 w 396"/>
                <a:gd name="T71" fmla="*/ 82 h 661"/>
                <a:gd name="T72" fmla="*/ 238 w 396"/>
                <a:gd name="T73" fmla="*/ 71 h 661"/>
                <a:gd name="T74" fmla="*/ 212 w 396"/>
                <a:gd name="T75" fmla="*/ 66 h 661"/>
                <a:gd name="T76" fmla="*/ 199 w 396"/>
                <a:gd name="T77" fmla="*/ 66 h 661"/>
                <a:gd name="T78" fmla="*/ 172 w 396"/>
                <a:gd name="T79" fmla="*/ 68 h 661"/>
                <a:gd name="T80" fmla="*/ 147 w 396"/>
                <a:gd name="T81" fmla="*/ 77 h 661"/>
                <a:gd name="T82" fmla="*/ 124 w 396"/>
                <a:gd name="T83" fmla="*/ 88 h 661"/>
                <a:gd name="T84" fmla="*/ 105 w 396"/>
                <a:gd name="T85" fmla="*/ 105 h 661"/>
                <a:gd name="T86" fmla="*/ 89 w 396"/>
                <a:gd name="T87" fmla="*/ 124 h 661"/>
                <a:gd name="T88" fmla="*/ 77 w 396"/>
                <a:gd name="T89" fmla="*/ 147 h 661"/>
                <a:gd name="T90" fmla="*/ 68 w 396"/>
                <a:gd name="T91" fmla="*/ 172 h 661"/>
                <a:gd name="T92" fmla="*/ 66 w 396"/>
                <a:gd name="T93" fmla="*/ 198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6" h="661">
                  <a:moveTo>
                    <a:pt x="363" y="661"/>
                  </a:moveTo>
                  <a:lnTo>
                    <a:pt x="33" y="661"/>
                  </a:lnTo>
                  <a:lnTo>
                    <a:pt x="33" y="661"/>
                  </a:lnTo>
                  <a:lnTo>
                    <a:pt x="26" y="660"/>
                  </a:lnTo>
                  <a:lnTo>
                    <a:pt x="20" y="658"/>
                  </a:lnTo>
                  <a:lnTo>
                    <a:pt x="14" y="655"/>
                  </a:lnTo>
                  <a:lnTo>
                    <a:pt x="9" y="651"/>
                  </a:lnTo>
                  <a:lnTo>
                    <a:pt x="5" y="647"/>
                  </a:lnTo>
                  <a:lnTo>
                    <a:pt x="2" y="641"/>
                  </a:lnTo>
                  <a:lnTo>
                    <a:pt x="1" y="635"/>
                  </a:lnTo>
                  <a:lnTo>
                    <a:pt x="0" y="628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1" y="178"/>
                  </a:lnTo>
                  <a:lnTo>
                    <a:pt x="4" y="158"/>
                  </a:lnTo>
                  <a:lnTo>
                    <a:pt x="9" y="139"/>
                  </a:lnTo>
                  <a:lnTo>
                    <a:pt x="16" y="121"/>
                  </a:lnTo>
                  <a:lnTo>
                    <a:pt x="24" y="103"/>
                  </a:lnTo>
                  <a:lnTo>
                    <a:pt x="34" y="87"/>
                  </a:lnTo>
                  <a:lnTo>
                    <a:pt x="46" y="72"/>
                  </a:lnTo>
                  <a:lnTo>
                    <a:pt x="58" y="58"/>
                  </a:lnTo>
                  <a:lnTo>
                    <a:pt x="72" y="46"/>
                  </a:lnTo>
                  <a:lnTo>
                    <a:pt x="87" y="33"/>
                  </a:lnTo>
                  <a:lnTo>
                    <a:pt x="103" y="24"/>
                  </a:lnTo>
                  <a:lnTo>
                    <a:pt x="121" y="16"/>
                  </a:lnTo>
                  <a:lnTo>
                    <a:pt x="140" y="8"/>
                  </a:lnTo>
                  <a:lnTo>
                    <a:pt x="158" y="4"/>
                  </a:lnTo>
                  <a:lnTo>
                    <a:pt x="178" y="1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218" y="1"/>
                  </a:lnTo>
                  <a:lnTo>
                    <a:pt x="238" y="4"/>
                  </a:lnTo>
                  <a:lnTo>
                    <a:pt x="258" y="8"/>
                  </a:lnTo>
                  <a:lnTo>
                    <a:pt x="275" y="16"/>
                  </a:lnTo>
                  <a:lnTo>
                    <a:pt x="293" y="24"/>
                  </a:lnTo>
                  <a:lnTo>
                    <a:pt x="309" y="33"/>
                  </a:lnTo>
                  <a:lnTo>
                    <a:pt x="324" y="46"/>
                  </a:lnTo>
                  <a:lnTo>
                    <a:pt x="338" y="58"/>
                  </a:lnTo>
                  <a:lnTo>
                    <a:pt x="351" y="72"/>
                  </a:lnTo>
                  <a:lnTo>
                    <a:pt x="363" y="87"/>
                  </a:lnTo>
                  <a:lnTo>
                    <a:pt x="373" y="103"/>
                  </a:lnTo>
                  <a:lnTo>
                    <a:pt x="381" y="121"/>
                  </a:lnTo>
                  <a:lnTo>
                    <a:pt x="388" y="139"/>
                  </a:lnTo>
                  <a:lnTo>
                    <a:pt x="392" y="158"/>
                  </a:lnTo>
                  <a:lnTo>
                    <a:pt x="395" y="178"/>
                  </a:lnTo>
                  <a:lnTo>
                    <a:pt x="396" y="198"/>
                  </a:lnTo>
                  <a:lnTo>
                    <a:pt x="396" y="628"/>
                  </a:lnTo>
                  <a:lnTo>
                    <a:pt x="396" y="628"/>
                  </a:lnTo>
                  <a:lnTo>
                    <a:pt x="396" y="635"/>
                  </a:lnTo>
                  <a:lnTo>
                    <a:pt x="394" y="641"/>
                  </a:lnTo>
                  <a:lnTo>
                    <a:pt x="391" y="647"/>
                  </a:lnTo>
                  <a:lnTo>
                    <a:pt x="387" y="651"/>
                  </a:lnTo>
                  <a:lnTo>
                    <a:pt x="382" y="655"/>
                  </a:lnTo>
                  <a:lnTo>
                    <a:pt x="377" y="658"/>
                  </a:lnTo>
                  <a:lnTo>
                    <a:pt x="370" y="660"/>
                  </a:lnTo>
                  <a:lnTo>
                    <a:pt x="363" y="661"/>
                  </a:lnTo>
                  <a:lnTo>
                    <a:pt x="363" y="661"/>
                  </a:lnTo>
                  <a:close/>
                  <a:moveTo>
                    <a:pt x="66" y="595"/>
                  </a:moveTo>
                  <a:lnTo>
                    <a:pt x="330" y="595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84"/>
                  </a:lnTo>
                  <a:lnTo>
                    <a:pt x="328" y="172"/>
                  </a:lnTo>
                  <a:lnTo>
                    <a:pt x="325" y="158"/>
                  </a:lnTo>
                  <a:lnTo>
                    <a:pt x="320" y="147"/>
                  </a:lnTo>
                  <a:lnTo>
                    <a:pt x="315" y="136"/>
                  </a:lnTo>
                  <a:lnTo>
                    <a:pt x="308" y="124"/>
                  </a:lnTo>
                  <a:lnTo>
                    <a:pt x="300" y="114"/>
                  </a:lnTo>
                  <a:lnTo>
                    <a:pt x="292" y="105"/>
                  </a:lnTo>
                  <a:lnTo>
                    <a:pt x="283" y="96"/>
                  </a:lnTo>
                  <a:lnTo>
                    <a:pt x="272" y="88"/>
                  </a:lnTo>
                  <a:lnTo>
                    <a:pt x="261" y="82"/>
                  </a:lnTo>
                  <a:lnTo>
                    <a:pt x="249" y="77"/>
                  </a:lnTo>
                  <a:lnTo>
                    <a:pt x="238" y="71"/>
                  </a:lnTo>
                  <a:lnTo>
                    <a:pt x="225" y="68"/>
                  </a:lnTo>
                  <a:lnTo>
                    <a:pt x="212" y="66"/>
                  </a:lnTo>
                  <a:lnTo>
                    <a:pt x="199" y="66"/>
                  </a:lnTo>
                  <a:lnTo>
                    <a:pt x="199" y="66"/>
                  </a:lnTo>
                  <a:lnTo>
                    <a:pt x="185" y="66"/>
                  </a:lnTo>
                  <a:lnTo>
                    <a:pt x="172" y="68"/>
                  </a:lnTo>
                  <a:lnTo>
                    <a:pt x="159" y="71"/>
                  </a:lnTo>
                  <a:lnTo>
                    <a:pt x="147" y="77"/>
                  </a:lnTo>
                  <a:lnTo>
                    <a:pt x="136" y="82"/>
                  </a:lnTo>
                  <a:lnTo>
                    <a:pt x="124" y="88"/>
                  </a:lnTo>
                  <a:lnTo>
                    <a:pt x="114" y="96"/>
                  </a:lnTo>
                  <a:lnTo>
                    <a:pt x="105" y="105"/>
                  </a:lnTo>
                  <a:lnTo>
                    <a:pt x="96" y="114"/>
                  </a:lnTo>
                  <a:lnTo>
                    <a:pt x="89" y="124"/>
                  </a:lnTo>
                  <a:lnTo>
                    <a:pt x="82" y="136"/>
                  </a:lnTo>
                  <a:lnTo>
                    <a:pt x="77" y="147"/>
                  </a:lnTo>
                  <a:lnTo>
                    <a:pt x="72" y="158"/>
                  </a:lnTo>
                  <a:lnTo>
                    <a:pt x="68" y="172"/>
                  </a:lnTo>
                  <a:lnTo>
                    <a:pt x="66" y="184"/>
                  </a:lnTo>
                  <a:lnTo>
                    <a:pt x="66" y="198"/>
                  </a:lnTo>
                  <a:lnTo>
                    <a:pt x="66" y="5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5704052A-11E3-469B-9D55-67A3E31A4DFB}"/>
              </a:ext>
            </a:extLst>
          </p:cNvPr>
          <p:cNvGrpSpPr/>
          <p:nvPr/>
        </p:nvGrpSpPr>
        <p:grpSpPr>
          <a:xfrm>
            <a:off x="7247870" y="3850149"/>
            <a:ext cx="359558" cy="398142"/>
            <a:chOff x="6291263" y="5048251"/>
            <a:chExt cx="325438" cy="360363"/>
          </a:xfrm>
          <a:solidFill>
            <a:schemeClr val="bg1"/>
          </a:solidFill>
        </p:grpSpPr>
        <p:sp>
          <p:nvSpPr>
            <p:cNvPr id="65" name="Freeform 344">
              <a:extLst>
                <a:ext uri="{FF2B5EF4-FFF2-40B4-BE49-F238E27FC236}">
                  <a16:creationId xmlns="" xmlns:a16="http://schemas.microsoft.com/office/drawing/2014/main" id="{675822D5-8594-40E6-9824-E7485A56D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48251"/>
              <a:ext cx="325438" cy="360363"/>
            </a:xfrm>
            <a:custGeom>
              <a:avLst/>
              <a:gdLst>
                <a:gd name="T0" fmla="*/ 239 w 1231"/>
                <a:gd name="T1" fmla="*/ 1355 h 1360"/>
                <a:gd name="T2" fmla="*/ 226 w 1231"/>
                <a:gd name="T3" fmla="*/ 1021 h 1360"/>
                <a:gd name="T4" fmla="*/ 107 w 1231"/>
                <a:gd name="T5" fmla="*/ 916 h 1360"/>
                <a:gd name="T6" fmla="*/ 22 w 1231"/>
                <a:gd name="T7" fmla="*/ 746 h 1360"/>
                <a:gd name="T8" fmla="*/ 0 w 1231"/>
                <a:gd name="T9" fmla="*/ 570 h 1360"/>
                <a:gd name="T10" fmla="*/ 25 w 1231"/>
                <a:gd name="T11" fmla="*/ 399 h 1360"/>
                <a:gd name="T12" fmla="*/ 96 w 1231"/>
                <a:gd name="T13" fmla="*/ 249 h 1360"/>
                <a:gd name="T14" fmla="*/ 204 w 1231"/>
                <a:gd name="T15" fmla="*/ 128 h 1360"/>
                <a:gd name="T16" fmla="*/ 344 w 1231"/>
                <a:gd name="T17" fmla="*/ 44 h 1360"/>
                <a:gd name="T18" fmla="*/ 508 w 1231"/>
                <a:gd name="T19" fmla="*/ 3 h 1360"/>
                <a:gd name="T20" fmla="*/ 641 w 1231"/>
                <a:gd name="T21" fmla="*/ 5 h 1360"/>
                <a:gd name="T22" fmla="*/ 788 w 1231"/>
                <a:gd name="T23" fmla="*/ 41 h 1360"/>
                <a:gd name="T24" fmla="*/ 918 w 1231"/>
                <a:gd name="T25" fmla="*/ 111 h 1360"/>
                <a:gd name="T26" fmla="*/ 1023 w 1231"/>
                <a:gd name="T27" fmla="*/ 214 h 1360"/>
                <a:gd name="T28" fmla="*/ 1090 w 1231"/>
                <a:gd name="T29" fmla="*/ 345 h 1360"/>
                <a:gd name="T30" fmla="*/ 1109 w 1231"/>
                <a:gd name="T31" fmla="*/ 476 h 1360"/>
                <a:gd name="T32" fmla="*/ 1149 w 1231"/>
                <a:gd name="T33" fmla="*/ 558 h 1360"/>
                <a:gd name="T34" fmla="*/ 1225 w 1231"/>
                <a:gd name="T35" fmla="*/ 721 h 1360"/>
                <a:gd name="T36" fmla="*/ 1230 w 1231"/>
                <a:gd name="T37" fmla="*/ 778 h 1360"/>
                <a:gd name="T38" fmla="*/ 1219 w 1231"/>
                <a:gd name="T39" fmla="*/ 821 h 1360"/>
                <a:gd name="T40" fmla="*/ 1180 w 1231"/>
                <a:gd name="T41" fmla="*/ 848 h 1360"/>
                <a:gd name="T42" fmla="*/ 1107 w 1231"/>
                <a:gd name="T43" fmla="*/ 851 h 1360"/>
                <a:gd name="T44" fmla="*/ 1091 w 1231"/>
                <a:gd name="T45" fmla="*/ 1023 h 1360"/>
                <a:gd name="T46" fmla="*/ 1052 w 1231"/>
                <a:gd name="T47" fmla="*/ 1108 h 1360"/>
                <a:gd name="T48" fmla="*/ 1006 w 1231"/>
                <a:gd name="T49" fmla="*/ 1140 h 1360"/>
                <a:gd name="T50" fmla="*/ 886 w 1231"/>
                <a:gd name="T51" fmla="*/ 1162 h 1360"/>
                <a:gd name="T52" fmla="*/ 845 w 1231"/>
                <a:gd name="T53" fmla="*/ 1348 h 1360"/>
                <a:gd name="T54" fmla="*/ 822 w 1231"/>
                <a:gd name="T55" fmla="*/ 1360 h 1360"/>
                <a:gd name="T56" fmla="*/ 796 w 1231"/>
                <a:gd name="T57" fmla="*/ 1124 h 1360"/>
                <a:gd name="T58" fmla="*/ 815 w 1231"/>
                <a:gd name="T59" fmla="*/ 1107 h 1360"/>
                <a:gd name="T60" fmla="*/ 948 w 1231"/>
                <a:gd name="T61" fmla="*/ 1098 h 1360"/>
                <a:gd name="T62" fmla="*/ 1007 w 1231"/>
                <a:gd name="T63" fmla="*/ 1072 h 1360"/>
                <a:gd name="T64" fmla="*/ 1031 w 1231"/>
                <a:gd name="T65" fmla="*/ 1029 h 1360"/>
                <a:gd name="T66" fmla="*/ 1050 w 1231"/>
                <a:gd name="T67" fmla="*/ 856 h 1360"/>
                <a:gd name="T68" fmla="*/ 1058 w 1231"/>
                <a:gd name="T69" fmla="*/ 802 h 1360"/>
                <a:gd name="T70" fmla="*/ 1079 w 1231"/>
                <a:gd name="T71" fmla="*/ 793 h 1360"/>
                <a:gd name="T72" fmla="*/ 1168 w 1231"/>
                <a:gd name="T73" fmla="*/ 792 h 1360"/>
                <a:gd name="T74" fmla="*/ 1173 w 1231"/>
                <a:gd name="T75" fmla="*/ 767 h 1360"/>
                <a:gd name="T76" fmla="*/ 1160 w 1231"/>
                <a:gd name="T77" fmla="*/ 705 h 1360"/>
                <a:gd name="T78" fmla="*/ 1079 w 1231"/>
                <a:gd name="T79" fmla="*/ 550 h 1360"/>
                <a:gd name="T80" fmla="*/ 1052 w 1231"/>
                <a:gd name="T81" fmla="*/ 476 h 1360"/>
                <a:gd name="T82" fmla="*/ 1028 w 1231"/>
                <a:gd name="T83" fmla="*/ 340 h 1360"/>
                <a:gd name="T84" fmla="*/ 961 w 1231"/>
                <a:gd name="T85" fmla="*/ 228 h 1360"/>
                <a:gd name="T86" fmla="*/ 863 w 1231"/>
                <a:gd name="T87" fmla="*/ 142 h 1360"/>
                <a:gd name="T88" fmla="*/ 743 w 1231"/>
                <a:gd name="T89" fmla="*/ 85 h 1360"/>
                <a:gd name="T90" fmla="*/ 611 w 1231"/>
                <a:gd name="T91" fmla="*/ 58 h 1360"/>
                <a:gd name="T92" fmla="*/ 488 w 1231"/>
                <a:gd name="T93" fmla="*/ 62 h 1360"/>
                <a:gd name="T94" fmla="*/ 343 w 1231"/>
                <a:gd name="T95" fmla="*/ 107 h 1360"/>
                <a:gd name="T96" fmla="*/ 222 w 1231"/>
                <a:gd name="T97" fmla="*/ 188 h 1360"/>
                <a:gd name="T98" fmla="*/ 129 w 1231"/>
                <a:gd name="T99" fmla="*/ 302 h 1360"/>
                <a:gd name="T100" fmla="*/ 72 w 1231"/>
                <a:gd name="T101" fmla="*/ 440 h 1360"/>
                <a:gd name="T102" fmla="*/ 56 w 1231"/>
                <a:gd name="T103" fmla="*/ 570 h 1360"/>
                <a:gd name="T104" fmla="*/ 87 w 1231"/>
                <a:gd name="T105" fmla="*/ 761 h 1360"/>
                <a:gd name="T106" fmla="*/ 177 w 1231"/>
                <a:gd name="T107" fmla="*/ 908 h 1360"/>
                <a:gd name="T108" fmla="*/ 275 w 1231"/>
                <a:gd name="T109" fmla="*/ 985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31" h="1360">
                  <a:moveTo>
                    <a:pt x="822" y="1360"/>
                  </a:moveTo>
                  <a:lnTo>
                    <a:pt x="254" y="1360"/>
                  </a:lnTo>
                  <a:lnTo>
                    <a:pt x="254" y="1360"/>
                  </a:lnTo>
                  <a:lnTo>
                    <a:pt x="249" y="1359"/>
                  </a:lnTo>
                  <a:lnTo>
                    <a:pt x="244" y="1358"/>
                  </a:lnTo>
                  <a:lnTo>
                    <a:pt x="239" y="1355"/>
                  </a:lnTo>
                  <a:lnTo>
                    <a:pt x="235" y="1352"/>
                  </a:lnTo>
                  <a:lnTo>
                    <a:pt x="231" y="1348"/>
                  </a:lnTo>
                  <a:lnTo>
                    <a:pt x="229" y="1343"/>
                  </a:lnTo>
                  <a:lnTo>
                    <a:pt x="227" y="1338"/>
                  </a:lnTo>
                  <a:lnTo>
                    <a:pt x="226" y="1332"/>
                  </a:lnTo>
                  <a:lnTo>
                    <a:pt x="226" y="1021"/>
                  </a:lnTo>
                  <a:lnTo>
                    <a:pt x="226" y="1021"/>
                  </a:lnTo>
                  <a:lnTo>
                    <a:pt x="199" y="1002"/>
                  </a:lnTo>
                  <a:lnTo>
                    <a:pt x="173" y="982"/>
                  </a:lnTo>
                  <a:lnTo>
                    <a:pt x="149" y="961"/>
                  </a:lnTo>
                  <a:lnTo>
                    <a:pt x="127" y="939"/>
                  </a:lnTo>
                  <a:lnTo>
                    <a:pt x="107" y="916"/>
                  </a:lnTo>
                  <a:lnTo>
                    <a:pt x="89" y="890"/>
                  </a:lnTo>
                  <a:lnTo>
                    <a:pt x="71" y="864"/>
                  </a:lnTo>
                  <a:lnTo>
                    <a:pt x="56" y="836"/>
                  </a:lnTo>
                  <a:lnTo>
                    <a:pt x="43" y="808"/>
                  </a:lnTo>
                  <a:lnTo>
                    <a:pt x="32" y="777"/>
                  </a:lnTo>
                  <a:lnTo>
                    <a:pt x="22" y="746"/>
                  </a:lnTo>
                  <a:lnTo>
                    <a:pt x="14" y="714"/>
                  </a:lnTo>
                  <a:lnTo>
                    <a:pt x="8" y="679"/>
                  </a:lnTo>
                  <a:lnTo>
                    <a:pt x="3" y="644"/>
                  </a:lnTo>
                  <a:lnTo>
                    <a:pt x="1" y="608"/>
                  </a:lnTo>
                  <a:lnTo>
                    <a:pt x="0" y="570"/>
                  </a:lnTo>
                  <a:lnTo>
                    <a:pt x="0" y="570"/>
                  </a:lnTo>
                  <a:lnTo>
                    <a:pt x="1" y="540"/>
                  </a:lnTo>
                  <a:lnTo>
                    <a:pt x="3" y="511"/>
                  </a:lnTo>
                  <a:lnTo>
                    <a:pt x="6" y="482"/>
                  </a:lnTo>
                  <a:lnTo>
                    <a:pt x="11" y="454"/>
                  </a:lnTo>
                  <a:lnTo>
                    <a:pt x="17" y="426"/>
                  </a:lnTo>
                  <a:lnTo>
                    <a:pt x="25" y="399"/>
                  </a:lnTo>
                  <a:lnTo>
                    <a:pt x="33" y="372"/>
                  </a:lnTo>
                  <a:lnTo>
                    <a:pt x="43" y="346"/>
                  </a:lnTo>
                  <a:lnTo>
                    <a:pt x="54" y="321"/>
                  </a:lnTo>
                  <a:lnTo>
                    <a:pt x="67" y="296"/>
                  </a:lnTo>
                  <a:lnTo>
                    <a:pt x="81" y="272"/>
                  </a:lnTo>
                  <a:lnTo>
                    <a:pt x="96" y="249"/>
                  </a:lnTo>
                  <a:lnTo>
                    <a:pt x="111" y="227"/>
                  </a:lnTo>
                  <a:lnTo>
                    <a:pt x="128" y="206"/>
                  </a:lnTo>
                  <a:lnTo>
                    <a:pt x="145" y="184"/>
                  </a:lnTo>
                  <a:lnTo>
                    <a:pt x="164" y="165"/>
                  </a:lnTo>
                  <a:lnTo>
                    <a:pt x="184" y="146"/>
                  </a:lnTo>
                  <a:lnTo>
                    <a:pt x="204" y="128"/>
                  </a:lnTo>
                  <a:lnTo>
                    <a:pt x="225" y="112"/>
                  </a:lnTo>
                  <a:lnTo>
                    <a:pt x="247" y="96"/>
                  </a:lnTo>
                  <a:lnTo>
                    <a:pt x="270" y="81"/>
                  </a:lnTo>
                  <a:lnTo>
                    <a:pt x="295" y="67"/>
                  </a:lnTo>
                  <a:lnTo>
                    <a:pt x="319" y="55"/>
                  </a:lnTo>
                  <a:lnTo>
                    <a:pt x="344" y="44"/>
                  </a:lnTo>
                  <a:lnTo>
                    <a:pt x="369" y="34"/>
                  </a:lnTo>
                  <a:lnTo>
                    <a:pt x="397" y="25"/>
                  </a:lnTo>
                  <a:lnTo>
                    <a:pt x="423" y="18"/>
                  </a:lnTo>
                  <a:lnTo>
                    <a:pt x="451" y="11"/>
                  </a:lnTo>
                  <a:lnTo>
                    <a:pt x="480" y="6"/>
                  </a:lnTo>
                  <a:lnTo>
                    <a:pt x="508" y="3"/>
                  </a:lnTo>
                  <a:lnTo>
                    <a:pt x="537" y="1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92" y="1"/>
                  </a:lnTo>
                  <a:lnTo>
                    <a:pt x="617" y="2"/>
                  </a:lnTo>
                  <a:lnTo>
                    <a:pt x="641" y="5"/>
                  </a:lnTo>
                  <a:lnTo>
                    <a:pt x="666" y="8"/>
                  </a:lnTo>
                  <a:lnTo>
                    <a:pt x="691" y="13"/>
                  </a:lnTo>
                  <a:lnTo>
                    <a:pt x="716" y="18"/>
                  </a:lnTo>
                  <a:lnTo>
                    <a:pt x="740" y="25"/>
                  </a:lnTo>
                  <a:lnTo>
                    <a:pt x="763" y="32"/>
                  </a:lnTo>
                  <a:lnTo>
                    <a:pt x="788" y="41"/>
                  </a:lnTo>
                  <a:lnTo>
                    <a:pt x="811" y="50"/>
                  </a:lnTo>
                  <a:lnTo>
                    <a:pt x="833" y="60"/>
                  </a:lnTo>
                  <a:lnTo>
                    <a:pt x="855" y="71"/>
                  </a:lnTo>
                  <a:lnTo>
                    <a:pt x="876" y="84"/>
                  </a:lnTo>
                  <a:lnTo>
                    <a:pt x="898" y="98"/>
                  </a:lnTo>
                  <a:lnTo>
                    <a:pt x="918" y="111"/>
                  </a:lnTo>
                  <a:lnTo>
                    <a:pt x="937" y="126"/>
                  </a:lnTo>
                  <a:lnTo>
                    <a:pt x="956" y="142"/>
                  </a:lnTo>
                  <a:lnTo>
                    <a:pt x="974" y="158"/>
                  </a:lnTo>
                  <a:lnTo>
                    <a:pt x="992" y="176"/>
                  </a:lnTo>
                  <a:lnTo>
                    <a:pt x="1008" y="195"/>
                  </a:lnTo>
                  <a:lnTo>
                    <a:pt x="1023" y="214"/>
                  </a:lnTo>
                  <a:lnTo>
                    <a:pt x="1037" y="233"/>
                  </a:lnTo>
                  <a:lnTo>
                    <a:pt x="1049" y="254"/>
                  </a:lnTo>
                  <a:lnTo>
                    <a:pt x="1061" y="275"/>
                  </a:lnTo>
                  <a:lnTo>
                    <a:pt x="1072" y="299"/>
                  </a:lnTo>
                  <a:lnTo>
                    <a:pt x="1081" y="322"/>
                  </a:lnTo>
                  <a:lnTo>
                    <a:pt x="1090" y="345"/>
                  </a:lnTo>
                  <a:lnTo>
                    <a:pt x="1097" y="370"/>
                  </a:lnTo>
                  <a:lnTo>
                    <a:pt x="1102" y="396"/>
                  </a:lnTo>
                  <a:lnTo>
                    <a:pt x="1106" y="422"/>
                  </a:lnTo>
                  <a:lnTo>
                    <a:pt x="1108" y="448"/>
                  </a:lnTo>
                  <a:lnTo>
                    <a:pt x="1109" y="476"/>
                  </a:lnTo>
                  <a:lnTo>
                    <a:pt x="1109" y="476"/>
                  </a:lnTo>
                  <a:lnTo>
                    <a:pt x="1110" y="481"/>
                  </a:lnTo>
                  <a:lnTo>
                    <a:pt x="1113" y="489"/>
                  </a:lnTo>
                  <a:lnTo>
                    <a:pt x="1123" y="511"/>
                  </a:lnTo>
                  <a:lnTo>
                    <a:pt x="1136" y="535"/>
                  </a:lnTo>
                  <a:lnTo>
                    <a:pt x="1149" y="558"/>
                  </a:lnTo>
                  <a:lnTo>
                    <a:pt x="1149" y="558"/>
                  </a:lnTo>
                  <a:lnTo>
                    <a:pt x="1179" y="612"/>
                  </a:lnTo>
                  <a:lnTo>
                    <a:pt x="1194" y="640"/>
                  </a:lnTo>
                  <a:lnTo>
                    <a:pt x="1207" y="667"/>
                  </a:lnTo>
                  <a:lnTo>
                    <a:pt x="1217" y="694"/>
                  </a:lnTo>
                  <a:lnTo>
                    <a:pt x="1222" y="708"/>
                  </a:lnTo>
                  <a:lnTo>
                    <a:pt x="1225" y="721"/>
                  </a:lnTo>
                  <a:lnTo>
                    <a:pt x="1228" y="734"/>
                  </a:lnTo>
                  <a:lnTo>
                    <a:pt x="1230" y="746"/>
                  </a:lnTo>
                  <a:lnTo>
                    <a:pt x="1231" y="759"/>
                  </a:lnTo>
                  <a:lnTo>
                    <a:pt x="1230" y="771"/>
                  </a:lnTo>
                  <a:lnTo>
                    <a:pt x="1230" y="778"/>
                  </a:lnTo>
                  <a:lnTo>
                    <a:pt x="1230" y="778"/>
                  </a:lnTo>
                  <a:lnTo>
                    <a:pt x="1230" y="788"/>
                  </a:lnTo>
                  <a:lnTo>
                    <a:pt x="1229" y="798"/>
                  </a:lnTo>
                  <a:lnTo>
                    <a:pt x="1225" y="810"/>
                  </a:lnTo>
                  <a:lnTo>
                    <a:pt x="1223" y="815"/>
                  </a:lnTo>
                  <a:lnTo>
                    <a:pt x="1219" y="821"/>
                  </a:lnTo>
                  <a:lnTo>
                    <a:pt x="1219" y="821"/>
                  </a:lnTo>
                  <a:lnTo>
                    <a:pt x="1214" y="827"/>
                  </a:lnTo>
                  <a:lnTo>
                    <a:pt x="1209" y="833"/>
                  </a:lnTo>
                  <a:lnTo>
                    <a:pt x="1203" y="838"/>
                  </a:lnTo>
                  <a:lnTo>
                    <a:pt x="1196" y="842"/>
                  </a:lnTo>
                  <a:lnTo>
                    <a:pt x="1188" y="845"/>
                  </a:lnTo>
                  <a:lnTo>
                    <a:pt x="1180" y="848"/>
                  </a:lnTo>
                  <a:lnTo>
                    <a:pt x="1172" y="849"/>
                  </a:lnTo>
                  <a:lnTo>
                    <a:pt x="1164" y="850"/>
                  </a:lnTo>
                  <a:lnTo>
                    <a:pt x="1164" y="850"/>
                  </a:lnTo>
                  <a:lnTo>
                    <a:pt x="1135" y="851"/>
                  </a:lnTo>
                  <a:lnTo>
                    <a:pt x="1107" y="851"/>
                  </a:lnTo>
                  <a:lnTo>
                    <a:pt x="1107" y="851"/>
                  </a:lnTo>
                  <a:lnTo>
                    <a:pt x="1107" y="879"/>
                  </a:lnTo>
                  <a:lnTo>
                    <a:pt x="1105" y="913"/>
                  </a:lnTo>
                  <a:lnTo>
                    <a:pt x="1102" y="949"/>
                  </a:lnTo>
                  <a:lnTo>
                    <a:pt x="1098" y="986"/>
                  </a:lnTo>
                  <a:lnTo>
                    <a:pt x="1095" y="1005"/>
                  </a:lnTo>
                  <a:lnTo>
                    <a:pt x="1091" y="1023"/>
                  </a:lnTo>
                  <a:lnTo>
                    <a:pt x="1085" y="1040"/>
                  </a:lnTo>
                  <a:lnTo>
                    <a:pt x="1080" y="1057"/>
                  </a:lnTo>
                  <a:lnTo>
                    <a:pt x="1075" y="1072"/>
                  </a:lnTo>
                  <a:lnTo>
                    <a:pt x="1068" y="1085"/>
                  </a:lnTo>
                  <a:lnTo>
                    <a:pt x="1061" y="1097"/>
                  </a:lnTo>
                  <a:lnTo>
                    <a:pt x="1052" y="1108"/>
                  </a:lnTo>
                  <a:lnTo>
                    <a:pt x="1052" y="1108"/>
                  </a:lnTo>
                  <a:lnTo>
                    <a:pt x="1044" y="1115"/>
                  </a:lnTo>
                  <a:lnTo>
                    <a:pt x="1035" y="1123"/>
                  </a:lnTo>
                  <a:lnTo>
                    <a:pt x="1026" y="1129"/>
                  </a:lnTo>
                  <a:lnTo>
                    <a:pt x="1016" y="1134"/>
                  </a:lnTo>
                  <a:lnTo>
                    <a:pt x="1006" y="1140"/>
                  </a:lnTo>
                  <a:lnTo>
                    <a:pt x="996" y="1144"/>
                  </a:lnTo>
                  <a:lnTo>
                    <a:pt x="983" y="1148"/>
                  </a:lnTo>
                  <a:lnTo>
                    <a:pt x="971" y="1151"/>
                  </a:lnTo>
                  <a:lnTo>
                    <a:pt x="946" y="1156"/>
                  </a:lnTo>
                  <a:lnTo>
                    <a:pt x="917" y="1160"/>
                  </a:lnTo>
                  <a:lnTo>
                    <a:pt x="886" y="1162"/>
                  </a:lnTo>
                  <a:lnTo>
                    <a:pt x="850" y="1163"/>
                  </a:lnTo>
                  <a:lnTo>
                    <a:pt x="850" y="1332"/>
                  </a:lnTo>
                  <a:lnTo>
                    <a:pt x="850" y="1332"/>
                  </a:lnTo>
                  <a:lnTo>
                    <a:pt x="849" y="1338"/>
                  </a:lnTo>
                  <a:lnTo>
                    <a:pt x="848" y="1343"/>
                  </a:lnTo>
                  <a:lnTo>
                    <a:pt x="845" y="1348"/>
                  </a:lnTo>
                  <a:lnTo>
                    <a:pt x="842" y="1352"/>
                  </a:lnTo>
                  <a:lnTo>
                    <a:pt x="837" y="1355"/>
                  </a:lnTo>
                  <a:lnTo>
                    <a:pt x="833" y="1358"/>
                  </a:lnTo>
                  <a:lnTo>
                    <a:pt x="827" y="1359"/>
                  </a:lnTo>
                  <a:lnTo>
                    <a:pt x="822" y="1360"/>
                  </a:lnTo>
                  <a:lnTo>
                    <a:pt x="822" y="1360"/>
                  </a:lnTo>
                  <a:close/>
                  <a:moveTo>
                    <a:pt x="284" y="1303"/>
                  </a:moveTo>
                  <a:lnTo>
                    <a:pt x="794" y="1303"/>
                  </a:lnTo>
                  <a:lnTo>
                    <a:pt x="794" y="1135"/>
                  </a:lnTo>
                  <a:lnTo>
                    <a:pt x="794" y="1135"/>
                  </a:lnTo>
                  <a:lnTo>
                    <a:pt x="794" y="1129"/>
                  </a:lnTo>
                  <a:lnTo>
                    <a:pt x="796" y="1124"/>
                  </a:lnTo>
                  <a:lnTo>
                    <a:pt x="798" y="1119"/>
                  </a:lnTo>
                  <a:lnTo>
                    <a:pt x="802" y="1115"/>
                  </a:lnTo>
                  <a:lnTo>
                    <a:pt x="802" y="1115"/>
                  </a:lnTo>
                  <a:lnTo>
                    <a:pt x="806" y="1111"/>
                  </a:lnTo>
                  <a:lnTo>
                    <a:pt x="810" y="1109"/>
                  </a:lnTo>
                  <a:lnTo>
                    <a:pt x="815" y="1107"/>
                  </a:lnTo>
                  <a:lnTo>
                    <a:pt x="822" y="1107"/>
                  </a:lnTo>
                  <a:lnTo>
                    <a:pt x="822" y="1107"/>
                  </a:lnTo>
                  <a:lnTo>
                    <a:pt x="861" y="1105"/>
                  </a:lnTo>
                  <a:lnTo>
                    <a:pt x="895" y="1104"/>
                  </a:lnTo>
                  <a:lnTo>
                    <a:pt x="924" y="1102"/>
                  </a:lnTo>
                  <a:lnTo>
                    <a:pt x="948" y="1098"/>
                  </a:lnTo>
                  <a:lnTo>
                    <a:pt x="968" y="1093"/>
                  </a:lnTo>
                  <a:lnTo>
                    <a:pt x="977" y="1089"/>
                  </a:lnTo>
                  <a:lnTo>
                    <a:pt x="985" y="1086"/>
                  </a:lnTo>
                  <a:lnTo>
                    <a:pt x="994" y="1082"/>
                  </a:lnTo>
                  <a:lnTo>
                    <a:pt x="1000" y="1077"/>
                  </a:lnTo>
                  <a:lnTo>
                    <a:pt x="1007" y="1072"/>
                  </a:lnTo>
                  <a:lnTo>
                    <a:pt x="1013" y="1067"/>
                  </a:lnTo>
                  <a:lnTo>
                    <a:pt x="1013" y="1067"/>
                  </a:lnTo>
                  <a:lnTo>
                    <a:pt x="1018" y="1060"/>
                  </a:lnTo>
                  <a:lnTo>
                    <a:pt x="1023" y="1052"/>
                  </a:lnTo>
                  <a:lnTo>
                    <a:pt x="1027" y="1041"/>
                  </a:lnTo>
                  <a:lnTo>
                    <a:pt x="1031" y="1029"/>
                  </a:lnTo>
                  <a:lnTo>
                    <a:pt x="1034" y="1015"/>
                  </a:lnTo>
                  <a:lnTo>
                    <a:pt x="1038" y="999"/>
                  </a:lnTo>
                  <a:lnTo>
                    <a:pt x="1043" y="965"/>
                  </a:lnTo>
                  <a:lnTo>
                    <a:pt x="1047" y="929"/>
                  </a:lnTo>
                  <a:lnTo>
                    <a:pt x="1049" y="891"/>
                  </a:lnTo>
                  <a:lnTo>
                    <a:pt x="1050" y="856"/>
                  </a:lnTo>
                  <a:lnTo>
                    <a:pt x="1050" y="822"/>
                  </a:lnTo>
                  <a:lnTo>
                    <a:pt x="1050" y="822"/>
                  </a:lnTo>
                  <a:lnTo>
                    <a:pt x="1050" y="817"/>
                  </a:lnTo>
                  <a:lnTo>
                    <a:pt x="1052" y="811"/>
                  </a:lnTo>
                  <a:lnTo>
                    <a:pt x="1055" y="806"/>
                  </a:lnTo>
                  <a:lnTo>
                    <a:pt x="1058" y="802"/>
                  </a:lnTo>
                  <a:lnTo>
                    <a:pt x="1058" y="802"/>
                  </a:lnTo>
                  <a:lnTo>
                    <a:pt x="1063" y="797"/>
                  </a:lnTo>
                  <a:lnTo>
                    <a:pt x="1068" y="794"/>
                  </a:lnTo>
                  <a:lnTo>
                    <a:pt x="1073" y="793"/>
                  </a:lnTo>
                  <a:lnTo>
                    <a:pt x="1079" y="793"/>
                  </a:lnTo>
                  <a:lnTo>
                    <a:pt x="1079" y="793"/>
                  </a:lnTo>
                  <a:lnTo>
                    <a:pt x="1108" y="793"/>
                  </a:lnTo>
                  <a:lnTo>
                    <a:pt x="1134" y="794"/>
                  </a:lnTo>
                  <a:lnTo>
                    <a:pt x="1162" y="793"/>
                  </a:lnTo>
                  <a:lnTo>
                    <a:pt x="1162" y="793"/>
                  </a:lnTo>
                  <a:lnTo>
                    <a:pt x="1165" y="793"/>
                  </a:lnTo>
                  <a:lnTo>
                    <a:pt x="1168" y="792"/>
                  </a:lnTo>
                  <a:lnTo>
                    <a:pt x="1170" y="790"/>
                  </a:lnTo>
                  <a:lnTo>
                    <a:pt x="1172" y="788"/>
                  </a:lnTo>
                  <a:lnTo>
                    <a:pt x="1172" y="788"/>
                  </a:lnTo>
                  <a:lnTo>
                    <a:pt x="1173" y="778"/>
                  </a:lnTo>
                  <a:lnTo>
                    <a:pt x="1173" y="778"/>
                  </a:lnTo>
                  <a:lnTo>
                    <a:pt x="1173" y="767"/>
                  </a:lnTo>
                  <a:lnTo>
                    <a:pt x="1173" y="767"/>
                  </a:lnTo>
                  <a:lnTo>
                    <a:pt x="1173" y="758"/>
                  </a:lnTo>
                  <a:lnTo>
                    <a:pt x="1172" y="748"/>
                  </a:lnTo>
                  <a:lnTo>
                    <a:pt x="1171" y="738"/>
                  </a:lnTo>
                  <a:lnTo>
                    <a:pt x="1168" y="727"/>
                  </a:lnTo>
                  <a:lnTo>
                    <a:pt x="1160" y="705"/>
                  </a:lnTo>
                  <a:lnTo>
                    <a:pt x="1150" y="680"/>
                  </a:lnTo>
                  <a:lnTo>
                    <a:pt x="1139" y="656"/>
                  </a:lnTo>
                  <a:lnTo>
                    <a:pt x="1126" y="632"/>
                  </a:lnTo>
                  <a:lnTo>
                    <a:pt x="1101" y="586"/>
                  </a:lnTo>
                  <a:lnTo>
                    <a:pt x="1101" y="586"/>
                  </a:lnTo>
                  <a:lnTo>
                    <a:pt x="1079" y="550"/>
                  </a:lnTo>
                  <a:lnTo>
                    <a:pt x="1064" y="520"/>
                  </a:lnTo>
                  <a:lnTo>
                    <a:pt x="1059" y="508"/>
                  </a:lnTo>
                  <a:lnTo>
                    <a:pt x="1055" y="497"/>
                  </a:lnTo>
                  <a:lnTo>
                    <a:pt x="1053" y="485"/>
                  </a:lnTo>
                  <a:lnTo>
                    <a:pt x="1052" y="476"/>
                  </a:lnTo>
                  <a:lnTo>
                    <a:pt x="1052" y="476"/>
                  </a:lnTo>
                  <a:lnTo>
                    <a:pt x="1051" y="452"/>
                  </a:lnTo>
                  <a:lnTo>
                    <a:pt x="1049" y="428"/>
                  </a:lnTo>
                  <a:lnTo>
                    <a:pt x="1046" y="405"/>
                  </a:lnTo>
                  <a:lnTo>
                    <a:pt x="1041" y="382"/>
                  </a:lnTo>
                  <a:lnTo>
                    <a:pt x="1035" y="361"/>
                  </a:lnTo>
                  <a:lnTo>
                    <a:pt x="1028" y="340"/>
                  </a:lnTo>
                  <a:lnTo>
                    <a:pt x="1019" y="320"/>
                  </a:lnTo>
                  <a:lnTo>
                    <a:pt x="1010" y="300"/>
                  </a:lnTo>
                  <a:lnTo>
                    <a:pt x="999" y="280"/>
                  </a:lnTo>
                  <a:lnTo>
                    <a:pt x="988" y="262"/>
                  </a:lnTo>
                  <a:lnTo>
                    <a:pt x="974" y="245"/>
                  </a:lnTo>
                  <a:lnTo>
                    <a:pt x="961" y="228"/>
                  </a:lnTo>
                  <a:lnTo>
                    <a:pt x="947" y="212"/>
                  </a:lnTo>
                  <a:lnTo>
                    <a:pt x="932" y="197"/>
                  </a:lnTo>
                  <a:lnTo>
                    <a:pt x="916" y="181"/>
                  </a:lnTo>
                  <a:lnTo>
                    <a:pt x="899" y="167"/>
                  </a:lnTo>
                  <a:lnTo>
                    <a:pt x="881" y="154"/>
                  </a:lnTo>
                  <a:lnTo>
                    <a:pt x="863" y="142"/>
                  </a:lnTo>
                  <a:lnTo>
                    <a:pt x="844" y="131"/>
                  </a:lnTo>
                  <a:lnTo>
                    <a:pt x="825" y="120"/>
                  </a:lnTo>
                  <a:lnTo>
                    <a:pt x="805" y="110"/>
                  </a:lnTo>
                  <a:lnTo>
                    <a:pt x="785" y="101"/>
                  </a:lnTo>
                  <a:lnTo>
                    <a:pt x="764" y="93"/>
                  </a:lnTo>
                  <a:lnTo>
                    <a:pt x="743" y="85"/>
                  </a:lnTo>
                  <a:lnTo>
                    <a:pt x="722" y="78"/>
                  </a:lnTo>
                  <a:lnTo>
                    <a:pt x="700" y="72"/>
                  </a:lnTo>
                  <a:lnTo>
                    <a:pt x="678" y="67"/>
                  </a:lnTo>
                  <a:lnTo>
                    <a:pt x="656" y="63"/>
                  </a:lnTo>
                  <a:lnTo>
                    <a:pt x="634" y="60"/>
                  </a:lnTo>
                  <a:lnTo>
                    <a:pt x="611" y="58"/>
                  </a:lnTo>
                  <a:lnTo>
                    <a:pt x="589" y="57"/>
                  </a:lnTo>
                  <a:lnTo>
                    <a:pt x="566" y="56"/>
                  </a:lnTo>
                  <a:lnTo>
                    <a:pt x="566" y="56"/>
                  </a:lnTo>
                  <a:lnTo>
                    <a:pt x="540" y="57"/>
                  </a:lnTo>
                  <a:lnTo>
                    <a:pt x="514" y="59"/>
                  </a:lnTo>
                  <a:lnTo>
                    <a:pt x="488" y="62"/>
                  </a:lnTo>
                  <a:lnTo>
                    <a:pt x="462" y="66"/>
                  </a:lnTo>
                  <a:lnTo>
                    <a:pt x="437" y="72"/>
                  </a:lnTo>
                  <a:lnTo>
                    <a:pt x="413" y="79"/>
                  </a:lnTo>
                  <a:lnTo>
                    <a:pt x="390" y="87"/>
                  </a:lnTo>
                  <a:lnTo>
                    <a:pt x="366" y="97"/>
                  </a:lnTo>
                  <a:lnTo>
                    <a:pt x="343" y="107"/>
                  </a:lnTo>
                  <a:lnTo>
                    <a:pt x="321" y="118"/>
                  </a:lnTo>
                  <a:lnTo>
                    <a:pt x="300" y="130"/>
                  </a:lnTo>
                  <a:lnTo>
                    <a:pt x="280" y="143"/>
                  </a:lnTo>
                  <a:lnTo>
                    <a:pt x="259" y="157"/>
                  </a:lnTo>
                  <a:lnTo>
                    <a:pt x="240" y="172"/>
                  </a:lnTo>
                  <a:lnTo>
                    <a:pt x="222" y="188"/>
                  </a:lnTo>
                  <a:lnTo>
                    <a:pt x="204" y="206"/>
                  </a:lnTo>
                  <a:lnTo>
                    <a:pt x="188" y="223"/>
                  </a:lnTo>
                  <a:lnTo>
                    <a:pt x="171" y="241"/>
                  </a:lnTo>
                  <a:lnTo>
                    <a:pt x="156" y="261"/>
                  </a:lnTo>
                  <a:lnTo>
                    <a:pt x="142" y="281"/>
                  </a:lnTo>
                  <a:lnTo>
                    <a:pt x="129" y="302"/>
                  </a:lnTo>
                  <a:lnTo>
                    <a:pt x="117" y="323"/>
                  </a:lnTo>
                  <a:lnTo>
                    <a:pt x="106" y="345"/>
                  </a:lnTo>
                  <a:lnTo>
                    <a:pt x="96" y="368"/>
                  </a:lnTo>
                  <a:lnTo>
                    <a:pt x="87" y="391"/>
                  </a:lnTo>
                  <a:lnTo>
                    <a:pt x="79" y="416"/>
                  </a:lnTo>
                  <a:lnTo>
                    <a:pt x="72" y="440"/>
                  </a:lnTo>
                  <a:lnTo>
                    <a:pt x="66" y="465"/>
                  </a:lnTo>
                  <a:lnTo>
                    <a:pt x="62" y="490"/>
                  </a:lnTo>
                  <a:lnTo>
                    <a:pt x="59" y="517"/>
                  </a:lnTo>
                  <a:lnTo>
                    <a:pt x="57" y="543"/>
                  </a:lnTo>
                  <a:lnTo>
                    <a:pt x="56" y="570"/>
                  </a:lnTo>
                  <a:lnTo>
                    <a:pt x="56" y="570"/>
                  </a:lnTo>
                  <a:lnTo>
                    <a:pt x="57" y="605"/>
                  </a:lnTo>
                  <a:lnTo>
                    <a:pt x="59" y="639"/>
                  </a:lnTo>
                  <a:lnTo>
                    <a:pt x="64" y="671"/>
                  </a:lnTo>
                  <a:lnTo>
                    <a:pt x="69" y="703"/>
                  </a:lnTo>
                  <a:lnTo>
                    <a:pt x="78" y="732"/>
                  </a:lnTo>
                  <a:lnTo>
                    <a:pt x="87" y="761"/>
                  </a:lnTo>
                  <a:lnTo>
                    <a:pt x="98" y="788"/>
                  </a:lnTo>
                  <a:lnTo>
                    <a:pt x="110" y="815"/>
                  </a:lnTo>
                  <a:lnTo>
                    <a:pt x="124" y="840"/>
                  </a:lnTo>
                  <a:lnTo>
                    <a:pt x="140" y="864"/>
                  </a:lnTo>
                  <a:lnTo>
                    <a:pt x="157" y="886"/>
                  </a:lnTo>
                  <a:lnTo>
                    <a:pt x="177" y="908"/>
                  </a:lnTo>
                  <a:lnTo>
                    <a:pt x="197" y="928"/>
                  </a:lnTo>
                  <a:lnTo>
                    <a:pt x="220" y="947"/>
                  </a:lnTo>
                  <a:lnTo>
                    <a:pt x="243" y="964"/>
                  </a:lnTo>
                  <a:lnTo>
                    <a:pt x="269" y="981"/>
                  </a:lnTo>
                  <a:lnTo>
                    <a:pt x="269" y="981"/>
                  </a:lnTo>
                  <a:lnTo>
                    <a:pt x="275" y="985"/>
                  </a:lnTo>
                  <a:lnTo>
                    <a:pt x="280" y="991"/>
                  </a:lnTo>
                  <a:lnTo>
                    <a:pt x="283" y="997"/>
                  </a:lnTo>
                  <a:lnTo>
                    <a:pt x="284" y="1006"/>
                  </a:lnTo>
                  <a:lnTo>
                    <a:pt x="284" y="13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66" name="Freeform 345">
              <a:extLst>
                <a:ext uri="{FF2B5EF4-FFF2-40B4-BE49-F238E27FC236}">
                  <a16:creationId xmlns="" xmlns:a16="http://schemas.microsoft.com/office/drawing/2014/main" id="{F5E37312-E05F-4714-85F1-50338F0A4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3026"/>
              <a:ext cx="74613" cy="15875"/>
            </a:xfrm>
            <a:custGeom>
              <a:avLst/>
              <a:gdLst>
                <a:gd name="T0" fmla="*/ 255 w 284"/>
                <a:gd name="T1" fmla="*/ 56 h 56"/>
                <a:gd name="T2" fmla="*/ 28 w 284"/>
                <a:gd name="T3" fmla="*/ 56 h 56"/>
                <a:gd name="T4" fmla="*/ 28 w 284"/>
                <a:gd name="T5" fmla="*/ 56 h 56"/>
                <a:gd name="T6" fmla="*/ 22 w 284"/>
                <a:gd name="T7" fmla="*/ 55 h 56"/>
                <a:gd name="T8" fmla="*/ 17 w 284"/>
                <a:gd name="T9" fmla="*/ 54 h 56"/>
                <a:gd name="T10" fmla="*/ 12 w 284"/>
                <a:gd name="T11" fmla="*/ 51 h 56"/>
                <a:gd name="T12" fmla="*/ 8 w 284"/>
                <a:gd name="T13" fmla="*/ 48 h 56"/>
                <a:gd name="T14" fmla="*/ 5 w 284"/>
                <a:gd name="T15" fmla="*/ 44 h 56"/>
                <a:gd name="T16" fmla="*/ 2 w 284"/>
                <a:gd name="T17" fmla="*/ 39 h 56"/>
                <a:gd name="T18" fmla="*/ 1 w 284"/>
                <a:gd name="T19" fmla="*/ 34 h 56"/>
                <a:gd name="T20" fmla="*/ 0 w 284"/>
                <a:gd name="T21" fmla="*/ 28 h 56"/>
                <a:gd name="T22" fmla="*/ 0 w 284"/>
                <a:gd name="T23" fmla="*/ 28 h 56"/>
                <a:gd name="T24" fmla="*/ 1 w 284"/>
                <a:gd name="T25" fmla="*/ 22 h 56"/>
                <a:gd name="T26" fmla="*/ 2 w 284"/>
                <a:gd name="T27" fmla="*/ 17 h 56"/>
                <a:gd name="T28" fmla="*/ 5 w 284"/>
                <a:gd name="T29" fmla="*/ 12 h 56"/>
                <a:gd name="T30" fmla="*/ 8 w 284"/>
                <a:gd name="T31" fmla="*/ 8 h 56"/>
                <a:gd name="T32" fmla="*/ 12 w 284"/>
                <a:gd name="T33" fmla="*/ 5 h 56"/>
                <a:gd name="T34" fmla="*/ 17 w 284"/>
                <a:gd name="T35" fmla="*/ 2 h 56"/>
                <a:gd name="T36" fmla="*/ 22 w 284"/>
                <a:gd name="T37" fmla="*/ 0 h 56"/>
                <a:gd name="T38" fmla="*/ 28 w 284"/>
                <a:gd name="T39" fmla="*/ 0 h 56"/>
                <a:gd name="T40" fmla="*/ 255 w 284"/>
                <a:gd name="T41" fmla="*/ 0 h 56"/>
                <a:gd name="T42" fmla="*/ 255 w 284"/>
                <a:gd name="T43" fmla="*/ 0 h 56"/>
                <a:gd name="T44" fmla="*/ 260 w 284"/>
                <a:gd name="T45" fmla="*/ 0 h 56"/>
                <a:gd name="T46" fmla="*/ 266 w 284"/>
                <a:gd name="T47" fmla="*/ 2 h 56"/>
                <a:gd name="T48" fmla="*/ 270 w 284"/>
                <a:gd name="T49" fmla="*/ 5 h 56"/>
                <a:gd name="T50" fmla="*/ 275 w 284"/>
                <a:gd name="T51" fmla="*/ 8 h 56"/>
                <a:gd name="T52" fmla="*/ 279 w 284"/>
                <a:gd name="T53" fmla="*/ 12 h 56"/>
                <a:gd name="T54" fmla="*/ 281 w 284"/>
                <a:gd name="T55" fmla="*/ 17 h 56"/>
                <a:gd name="T56" fmla="*/ 283 w 284"/>
                <a:gd name="T57" fmla="*/ 22 h 56"/>
                <a:gd name="T58" fmla="*/ 284 w 284"/>
                <a:gd name="T59" fmla="*/ 28 h 56"/>
                <a:gd name="T60" fmla="*/ 284 w 284"/>
                <a:gd name="T61" fmla="*/ 28 h 56"/>
                <a:gd name="T62" fmla="*/ 283 w 284"/>
                <a:gd name="T63" fmla="*/ 34 h 56"/>
                <a:gd name="T64" fmla="*/ 281 w 284"/>
                <a:gd name="T65" fmla="*/ 39 h 56"/>
                <a:gd name="T66" fmla="*/ 279 w 284"/>
                <a:gd name="T67" fmla="*/ 44 h 56"/>
                <a:gd name="T68" fmla="*/ 275 w 284"/>
                <a:gd name="T69" fmla="*/ 48 h 56"/>
                <a:gd name="T70" fmla="*/ 270 w 284"/>
                <a:gd name="T71" fmla="*/ 51 h 56"/>
                <a:gd name="T72" fmla="*/ 266 w 284"/>
                <a:gd name="T73" fmla="*/ 54 h 56"/>
                <a:gd name="T74" fmla="*/ 260 w 284"/>
                <a:gd name="T75" fmla="*/ 55 h 56"/>
                <a:gd name="T76" fmla="*/ 255 w 284"/>
                <a:gd name="T77" fmla="*/ 56 h 56"/>
                <a:gd name="T78" fmla="*/ 255 w 284"/>
                <a:gd name="T7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4" h="56">
                  <a:moveTo>
                    <a:pt x="255" y="56"/>
                  </a:moveTo>
                  <a:lnTo>
                    <a:pt x="28" y="56"/>
                  </a:lnTo>
                  <a:lnTo>
                    <a:pt x="28" y="56"/>
                  </a:lnTo>
                  <a:lnTo>
                    <a:pt x="22" y="55"/>
                  </a:lnTo>
                  <a:lnTo>
                    <a:pt x="17" y="54"/>
                  </a:lnTo>
                  <a:lnTo>
                    <a:pt x="12" y="51"/>
                  </a:lnTo>
                  <a:lnTo>
                    <a:pt x="8" y="48"/>
                  </a:lnTo>
                  <a:lnTo>
                    <a:pt x="5" y="44"/>
                  </a:lnTo>
                  <a:lnTo>
                    <a:pt x="2" y="39"/>
                  </a:lnTo>
                  <a:lnTo>
                    <a:pt x="1" y="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2"/>
                  </a:lnTo>
                  <a:lnTo>
                    <a:pt x="2" y="17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255" y="0"/>
                  </a:lnTo>
                  <a:lnTo>
                    <a:pt x="255" y="0"/>
                  </a:lnTo>
                  <a:lnTo>
                    <a:pt x="260" y="0"/>
                  </a:lnTo>
                  <a:lnTo>
                    <a:pt x="266" y="2"/>
                  </a:lnTo>
                  <a:lnTo>
                    <a:pt x="270" y="5"/>
                  </a:lnTo>
                  <a:lnTo>
                    <a:pt x="275" y="8"/>
                  </a:lnTo>
                  <a:lnTo>
                    <a:pt x="279" y="12"/>
                  </a:lnTo>
                  <a:lnTo>
                    <a:pt x="281" y="17"/>
                  </a:lnTo>
                  <a:lnTo>
                    <a:pt x="283" y="22"/>
                  </a:lnTo>
                  <a:lnTo>
                    <a:pt x="284" y="28"/>
                  </a:lnTo>
                  <a:lnTo>
                    <a:pt x="284" y="28"/>
                  </a:lnTo>
                  <a:lnTo>
                    <a:pt x="283" y="34"/>
                  </a:lnTo>
                  <a:lnTo>
                    <a:pt x="281" y="39"/>
                  </a:lnTo>
                  <a:lnTo>
                    <a:pt x="279" y="44"/>
                  </a:lnTo>
                  <a:lnTo>
                    <a:pt x="275" y="48"/>
                  </a:lnTo>
                  <a:lnTo>
                    <a:pt x="270" y="51"/>
                  </a:lnTo>
                  <a:lnTo>
                    <a:pt x="266" y="54"/>
                  </a:lnTo>
                  <a:lnTo>
                    <a:pt x="260" y="55"/>
                  </a:lnTo>
                  <a:lnTo>
                    <a:pt x="255" y="56"/>
                  </a:lnTo>
                  <a:lnTo>
                    <a:pt x="255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67" name="Freeform 346">
              <a:extLst>
                <a:ext uri="{FF2B5EF4-FFF2-40B4-BE49-F238E27FC236}">
                  <a16:creationId xmlns="" xmlns:a16="http://schemas.microsoft.com/office/drawing/2014/main" id="{36CCC81B-3C92-41AB-BEE4-B7E4C8AF1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3188"/>
              <a:ext cx="104775" cy="15875"/>
            </a:xfrm>
            <a:custGeom>
              <a:avLst/>
              <a:gdLst>
                <a:gd name="T0" fmla="*/ 368 w 397"/>
                <a:gd name="T1" fmla="*/ 56 h 56"/>
                <a:gd name="T2" fmla="*/ 28 w 397"/>
                <a:gd name="T3" fmla="*/ 56 h 56"/>
                <a:gd name="T4" fmla="*/ 28 w 397"/>
                <a:gd name="T5" fmla="*/ 56 h 56"/>
                <a:gd name="T6" fmla="*/ 22 w 397"/>
                <a:gd name="T7" fmla="*/ 56 h 56"/>
                <a:gd name="T8" fmla="*/ 17 w 397"/>
                <a:gd name="T9" fmla="*/ 54 h 56"/>
                <a:gd name="T10" fmla="*/ 12 w 397"/>
                <a:gd name="T11" fmla="*/ 51 h 56"/>
                <a:gd name="T12" fmla="*/ 8 w 397"/>
                <a:gd name="T13" fmla="*/ 48 h 56"/>
                <a:gd name="T14" fmla="*/ 5 w 397"/>
                <a:gd name="T15" fmla="*/ 44 h 56"/>
                <a:gd name="T16" fmla="*/ 2 w 397"/>
                <a:gd name="T17" fmla="*/ 39 h 56"/>
                <a:gd name="T18" fmla="*/ 0 w 397"/>
                <a:gd name="T19" fmla="*/ 34 h 56"/>
                <a:gd name="T20" fmla="*/ 0 w 397"/>
                <a:gd name="T21" fmla="*/ 28 h 56"/>
                <a:gd name="T22" fmla="*/ 0 w 397"/>
                <a:gd name="T23" fmla="*/ 28 h 56"/>
                <a:gd name="T24" fmla="*/ 0 w 397"/>
                <a:gd name="T25" fmla="*/ 23 h 56"/>
                <a:gd name="T26" fmla="*/ 2 w 397"/>
                <a:gd name="T27" fmla="*/ 17 h 56"/>
                <a:gd name="T28" fmla="*/ 5 w 397"/>
                <a:gd name="T29" fmla="*/ 13 h 56"/>
                <a:gd name="T30" fmla="*/ 8 w 397"/>
                <a:gd name="T31" fmla="*/ 8 h 56"/>
                <a:gd name="T32" fmla="*/ 12 w 397"/>
                <a:gd name="T33" fmla="*/ 5 h 56"/>
                <a:gd name="T34" fmla="*/ 17 w 397"/>
                <a:gd name="T35" fmla="*/ 2 h 56"/>
                <a:gd name="T36" fmla="*/ 22 w 397"/>
                <a:gd name="T37" fmla="*/ 1 h 56"/>
                <a:gd name="T38" fmla="*/ 28 w 397"/>
                <a:gd name="T39" fmla="*/ 0 h 56"/>
                <a:gd name="T40" fmla="*/ 368 w 397"/>
                <a:gd name="T41" fmla="*/ 0 h 56"/>
                <a:gd name="T42" fmla="*/ 368 w 397"/>
                <a:gd name="T43" fmla="*/ 0 h 56"/>
                <a:gd name="T44" fmla="*/ 373 w 397"/>
                <a:gd name="T45" fmla="*/ 1 h 56"/>
                <a:gd name="T46" fmla="*/ 379 w 397"/>
                <a:gd name="T47" fmla="*/ 2 h 56"/>
                <a:gd name="T48" fmla="*/ 383 w 397"/>
                <a:gd name="T49" fmla="*/ 5 h 56"/>
                <a:gd name="T50" fmla="*/ 388 w 397"/>
                <a:gd name="T51" fmla="*/ 8 h 56"/>
                <a:gd name="T52" fmla="*/ 392 w 397"/>
                <a:gd name="T53" fmla="*/ 13 h 56"/>
                <a:gd name="T54" fmla="*/ 394 w 397"/>
                <a:gd name="T55" fmla="*/ 17 h 56"/>
                <a:gd name="T56" fmla="*/ 396 w 397"/>
                <a:gd name="T57" fmla="*/ 23 h 56"/>
                <a:gd name="T58" fmla="*/ 397 w 397"/>
                <a:gd name="T59" fmla="*/ 28 h 56"/>
                <a:gd name="T60" fmla="*/ 397 w 397"/>
                <a:gd name="T61" fmla="*/ 28 h 56"/>
                <a:gd name="T62" fmla="*/ 396 w 397"/>
                <a:gd name="T63" fmla="*/ 34 h 56"/>
                <a:gd name="T64" fmla="*/ 394 w 397"/>
                <a:gd name="T65" fmla="*/ 39 h 56"/>
                <a:gd name="T66" fmla="*/ 392 w 397"/>
                <a:gd name="T67" fmla="*/ 44 h 56"/>
                <a:gd name="T68" fmla="*/ 388 w 397"/>
                <a:gd name="T69" fmla="*/ 48 h 56"/>
                <a:gd name="T70" fmla="*/ 383 w 397"/>
                <a:gd name="T71" fmla="*/ 51 h 56"/>
                <a:gd name="T72" fmla="*/ 379 w 397"/>
                <a:gd name="T73" fmla="*/ 54 h 56"/>
                <a:gd name="T74" fmla="*/ 373 w 397"/>
                <a:gd name="T75" fmla="*/ 56 h 56"/>
                <a:gd name="T76" fmla="*/ 368 w 397"/>
                <a:gd name="T77" fmla="*/ 56 h 56"/>
                <a:gd name="T78" fmla="*/ 368 w 397"/>
                <a:gd name="T7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7" h="56">
                  <a:moveTo>
                    <a:pt x="368" y="56"/>
                  </a:moveTo>
                  <a:lnTo>
                    <a:pt x="28" y="56"/>
                  </a:lnTo>
                  <a:lnTo>
                    <a:pt x="28" y="56"/>
                  </a:lnTo>
                  <a:lnTo>
                    <a:pt x="22" y="56"/>
                  </a:lnTo>
                  <a:lnTo>
                    <a:pt x="17" y="54"/>
                  </a:lnTo>
                  <a:lnTo>
                    <a:pt x="12" y="51"/>
                  </a:lnTo>
                  <a:lnTo>
                    <a:pt x="8" y="48"/>
                  </a:lnTo>
                  <a:lnTo>
                    <a:pt x="5" y="44"/>
                  </a:lnTo>
                  <a:lnTo>
                    <a:pt x="2" y="39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5" y="13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2" y="1"/>
                  </a:lnTo>
                  <a:lnTo>
                    <a:pt x="28" y="0"/>
                  </a:lnTo>
                  <a:lnTo>
                    <a:pt x="368" y="0"/>
                  </a:lnTo>
                  <a:lnTo>
                    <a:pt x="368" y="0"/>
                  </a:lnTo>
                  <a:lnTo>
                    <a:pt x="373" y="1"/>
                  </a:lnTo>
                  <a:lnTo>
                    <a:pt x="379" y="2"/>
                  </a:lnTo>
                  <a:lnTo>
                    <a:pt x="383" y="5"/>
                  </a:lnTo>
                  <a:lnTo>
                    <a:pt x="388" y="8"/>
                  </a:lnTo>
                  <a:lnTo>
                    <a:pt x="392" y="13"/>
                  </a:lnTo>
                  <a:lnTo>
                    <a:pt x="394" y="17"/>
                  </a:lnTo>
                  <a:lnTo>
                    <a:pt x="396" y="23"/>
                  </a:lnTo>
                  <a:lnTo>
                    <a:pt x="397" y="28"/>
                  </a:lnTo>
                  <a:lnTo>
                    <a:pt x="397" y="28"/>
                  </a:lnTo>
                  <a:lnTo>
                    <a:pt x="396" y="34"/>
                  </a:lnTo>
                  <a:lnTo>
                    <a:pt x="394" y="39"/>
                  </a:lnTo>
                  <a:lnTo>
                    <a:pt x="392" y="44"/>
                  </a:lnTo>
                  <a:lnTo>
                    <a:pt x="388" y="48"/>
                  </a:lnTo>
                  <a:lnTo>
                    <a:pt x="383" y="51"/>
                  </a:lnTo>
                  <a:lnTo>
                    <a:pt x="379" y="54"/>
                  </a:lnTo>
                  <a:lnTo>
                    <a:pt x="373" y="56"/>
                  </a:lnTo>
                  <a:lnTo>
                    <a:pt x="368" y="56"/>
                  </a:lnTo>
                  <a:lnTo>
                    <a:pt x="368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68" name="Freeform 347">
              <a:extLst>
                <a:ext uri="{FF2B5EF4-FFF2-40B4-BE49-F238E27FC236}">
                  <a16:creationId xmlns="" xmlns:a16="http://schemas.microsoft.com/office/drawing/2014/main" id="{C3BF1B87-9604-4ED9-AE57-FF390A4A1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3351"/>
              <a:ext cx="104775" cy="15875"/>
            </a:xfrm>
            <a:custGeom>
              <a:avLst/>
              <a:gdLst>
                <a:gd name="T0" fmla="*/ 368 w 397"/>
                <a:gd name="T1" fmla="*/ 57 h 57"/>
                <a:gd name="T2" fmla="*/ 28 w 397"/>
                <a:gd name="T3" fmla="*/ 57 h 57"/>
                <a:gd name="T4" fmla="*/ 28 w 397"/>
                <a:gd name="T5" fmla="*/ 57 h 57"/>
                <a:gd name="T6" fmla="*/ 22 w 397"/>
                <a:gd name="T7" fmla="*/ 56 h 57"/>
                <a:gd name="T8" fmla="*/ 17 w 397"/>
                <a:gd name="T9" fmla="*/ 54 h 57"/>
                <a:gd name="T10" fmla="*/ 12 w 397"/>
                <a:gd name="T11" fmla="*/ 52 h 57"/>
                <a:gd name="T12" fmla="*/ 8 w 397"/>
                <a:gd name="T13" fmla="*/ 48 h 57"/>
                <a:gd name="T14" fmla="*/ 5 w 397"/>
                <a:gd name="T15" fmla="*/ 44 h 57"/>
                <a:gd name="T16" fmla="*/ 2 w 397"/>
                <a:gd name="T17" fmla="*/ 39 h 57"/>
                <a:gd name="T18" fmla="*/ 0 w 397"/>
                <a:gd name="T19" fmla="*/ 34 h 57"/>
                <a:gd name="T20" fmla="*/ 0 w 397"/>
                <a:gd name="T21" fmla="*/ 28 h 57"/>
                <a:gd name="T22" fmla="*/ 0 w 397"/>
                <a:gd name="T23" fmla="*/ 28 h 57"/>
                <a:gd name="T24" fmla="*/ 0 w 397"/>
                <a:gd name="T25" fmla="*/ 23 h 57"/>
                <a:gd name="T26" fmla="*/ 2 w 397"/>
                <a:gd name="T27" fmla="*/ 18 h 57"/>
                <a:gd name="T28" fmla="*/ 5 w 397"/>
                <a:gd name="T29" fmla="*/ 13 h 57"/>
                <a:gd name="T30" fmla="*/ 8 w 397"/>
                <a:gd name="T31" fmla="*/ 9 h 57"/>
                <a:gd name="T32" fmla="*/ 12 w 397"/>
                <a:gd name="T33" fmla="*/ 5 h 57"/>
                <a:gd name="T34" fmla="*/ 17 w 397"/>
                <a:gd name="T35" fmla="*/ 3 h 57"/>
                <a:gd name="T36" fmla="*/ 22 w 397"/>
                <a:gd name="T37" fmla="*/ 1 h 57"/>
                <a:gd name="T38" fmla="*/ 28 w 397"/>
                <a:gd name="T39" fmla="*/ 0 h 57"/>
                <a:gd name="T40" fmla="*/ 368 w 397"/>
                <a:gd name="T41" fmla="*/ 0 h 57"/>
                <a:gd name="T42" fmla="*/ 368 w 397"/>
                <a:gd name="T43" fmla="*/ 0 h 57"/>
                <a:gd name="T44" fmla="*/ 373 w 397"/>
                <a:gd name="T45" fmla="*/ 1 h 57"/>
                <a:gd name="T46" fmla="*/ 379 w 397"/>
                <a:gd name="T47" fmla="*/ 3 h 57"/>
                <a:gd name="T48" fmla="*/ 383 w 397"/>
                <a:gd name="T49" fmla="*/ 5 h 57"/>
                <a:gd name="T50" fmla="*/ 388 w 397"/>
                <a:gd name="T51" fmla="*/ 9 h 57"/>
                <a:gd name="T52" fmla="*/ 392 w 397"/>
                <a:gd name="T53" fmla="*/ 13 h 57"/>
                <a:gd name="T54" fmla="*/ 394 w 397"/>
                <a:gd name="T55" fmla="*/ 18 h 57"/>
                <a:gd name="T56" fmla="*/ 396 w 397"/>
                <a:gd name="T57" fmla="*/ 23 h 57"/>
                <a:gd name="T58" fmla="*/ 397 w 397"/>
                <a:gd name="T59" fmla="*/ 28 h 57"/>
                <a:gd name="T60" fmla="*/ 397 w 397"/>
                <a:gd name="T61" fmla="*/ 28 h 57"/>
                <a:gd name="T62" fmla="*/ 396 w 397"/>
                <a:gd name="T63" fmla="*/ 34 h 57"/>
                <a:gd name="T64" fmla="*/ 394 w 397"/>
                <a:gd name="T65" fmla="*/ 39 h 57"/>
                <a:gd name="T66" fmla="*/ 392 w 397"/>
                <a:gd name="T67" fmla="*/ 44 h 57"/>
                <a:gd name="T68" fmla="*/ 388 w 397"/>
                <a:gd name="T69" fmla="*/ 48 h 57"/>
                <a:gd name="T70" fmla="*/ 383 w 397"/>
                <a:gd name="T71" fmla="*/ 52 h 57"/>
                <a:gd name="T72" fmla="*/ 379 w 397"/>
                <a:gd name="T73" fmla="*/ 54 h 57"/>
                <a:gd name="T74" fmla="*/ 373 w 397"/>
                <a:gd name="T75" fmla="*/ 56 h 57"/>
                <a:gd name="T76" fmla="*/ 368 w 397"/>
                <a:gd name="T77" fmla="*/ 57 h 57"/>
                <a:gd name="T78" fmla="*/ 368 w 397"/>
                <a:gd name="T7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7" h="57">
                  <a:moveTo>
                    <a:pt x="368" y="57"/>
                  </a:moveTo>
                  <a:lnTo>
                    <a:pt x="28" y="57"/>
                  </a:lnTo>
                  <a:lnTo>
                    <a:pt x="28" y="57"/>
                  </a:lnTo>
                  <a:lnTo>
                    <a:pt x="22" y="56"/>
                  </a:lnTo>
                  <a:lnTo>
                    <a:pt x="17" y="54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5" y="44"/>
                  </a:lnTo>
                  <a:lnTo>
                    <a:pt x="2" y="39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2" y="18"/>
                  </a:lnTo>
                  <a:lnTo>
                    <a:pt x="5" y="13"/>
                  </a:lnTo>
                  <a:lnTo>
                    <a:pt x="8" y="9"/>
                  </a:lnTo>
                  <a:lnTo>
                    <a:pt x="12" y="5"/>
                  </a:lnTo>
                  <a:lnTo>
                    <a:pt x="17" y="3"/>
                  </a:lnTo>
                  <a:lnTo>
                    <a:pt x="22" y="1"/>
                  </a:lnTo>
                  <a:lnTo>
                    <a:pt x="28" y="0"/>
                  </a:lnTo>
                  <a:lnTo>
                    <a:pt x="368" y="0"/>
                  </a:lnTo>
                  <a:lnTo>
                    <a:pt x="368" y="0"/>
                  </a:lnTo>
                  <a:lnTo>
                    <a:pt x="373" y="1"/>
                  </a:lnTo>
                  <a:lnTo>
                    <a:pt x="379" y="3"/>
                  </a:lnTo>
                  <a:lnTo>
                    <a:pt x="383" y="5"/>
                  </a:lnTo>
                  <a:lnTo>
                    <a:pt x="388" y="9"/>
                  </a:lnTo>
                  <a:lnTo>
                    <a:pt x="392" y="13"/>
                  </a:lnTo>
                  <a:lnTo>
                    <a:pt x="394" y="18"/>
                  </a:lnTo>
                  <a:lnTo>
                    <a:pt x="396" y="23"/>
                  </a:lnTo>
                  <a:lnTo>
                    <a:pt x="397" y="28"/>
                  </a:lnTo>
                  <a:lnTo>
                    <a:pt x="397" y="28"/>
                  </a:lnTo>
                  <a:lnTo>
                    <a:pt x="396" y="34"/>
                  </a:lnTo>
                  <a:lnTo>
                    <a:pt x="394" y="39"/>
                  </a:lnTo>
                  <a:lnTo>
                    <a:pt x="392" y="44"/>
                  </a:lnTo>
                  <a:lnTo>
                    <a:pt x="388" y="48"/>
                  </a:lnTo>
                  <a:lnTo>
                    <a:pt x="383" y="52"/>
                  </a:lnTo>
                  <a:lnTo>
                    <a:pt x="379" y="54"/>
                  </a:lnTo>
                  <a:lnTo>
                    <a:pt x="373" y="56"/>
                  </a:lnTo>
                  <a:lnTo>
                    <a:pt x="368" y="57"/>
                  </a:lnTo>
                  <a:lnTo>
                    <a:pt x="36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69" name="Freeform 348">
              <a:extLst>
                <a:ext uri="{FF2B5EF4-FFF2-40B4-BE49-F238E27FC236}">
                  <a16:creationId xmlns="" xmlns:a16="http://schemas.microsoft.com/office/drawing/2014/main" id="{39B11074-9037-4F42-B501-4D2978C9E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3513"/>
              <a:ext cx="104775" cy="15875"/>
            </a:xfrm>
            <a:custGeom>
              <a:avLst/>
              <a:gdLst>
                <a:gd name="T0" fmla="*/ 368 w 397"/>
                <a:gd name="T1" fmla="*/ 56 h 56"/>
                <a:gd name="T2" fmla="*/ 28 w 397"/>
                <a:gd name="T3" fmla="*/ 56 h 56"/>
                <a:gd name="T4" fmla="*/ 28 w 397"/>
                <a:gd name="T5" fmla="*/ 56 h 56"/>
                <a:gd name="T6" fmla="*/ 22 w 397"/>
                <a:gd name="T7" fmla="*/ 55 h 56"/>
                <a:gd name="T8" fmla="*/ 17 w 397"/>
                <a:gd name="T9" fmla="*/ 54 h 56"/>
                <a:gd name="T10" fmla="*/ 12 w 397"/>
                <a:gd name="T11" fmla="*/ 51 h 56"/>
                <a:gd name="T12" fmla="*/ 8 w 397"/>
                <a:gd name="T13" fmla="*/ 48 h 56"/>
                <a:gd name="T14" fmla="*/ 5 w 397"/>
                <a:gd name="T15" fmla="*/ 43 h 56"/>
                <a:gd name="T16" fmla="*/ 2 w 397"/>
                <a:gd name="T17" fmla="*/ 39 h 56"/>
                <a:gd name="T18" fmla="*/ 0 w 397"/>
                <a:gd name="T19" fmla="*/ 33 h 56"/>
                <a:gd name="T20" fmla="*/ 0 w 397"/>
                <a:gd name="T21" fmla="*/ 28 h 56"/>
                <a:gd name="T22" fmla="*/ 0 w 397"/>
                <a:gd name="T23" fmla="*/ 28 h 56"/>
                <a:gd name="T24" fmla="*/ 0 w 397"/>
                <a:gd name="T25" fmla="*/ 22 h 56"/>
                <a:gd name="T26" fmla="*/ 2 w 397"/>
                <a:gd name="T27" fmla="*/ 17 h 56"/>
                <a:gd name="T28" fmla="*/ 5 w 397"/>
                <a:gd name="T29" fmla="*/ 12 h 56"/>
                <a:gd name="T30" fmla="*/ 8 w 397"/>
                <a:gd name="T31" fmla="*/ 8 h 56"/>
                <a:gd name="T32" fmla="*/ 12 w 397"/>
                <a:gd name="T33" fmla="*/ 4 h 56"/>
                <a:gd name="T34" fmla="*/ 17 w 397"/>
                <a:gd name="T35" fmla="*/ 2 h 56"/>
                <a:gd name="T36" fmla="*/ 22 w 397"/>
                <a:gd name="T37" fmla="*/ 0 h 56"/>
                <a:gd name="T38" fmla="*/ 28 w 397"/>
                <a:gd name="T39" fmla="*/ 0 h 56"/>
                <a:gd name="T40" fmla="*/ 368 w 397"/>
                <a:gd name="T41" fmla="*/ 0 h 56"/>
                <a:gd name="T42" fmla="*/ 368 w 397"/>
                <a:gd name="T43" fmla="*/ 0 h 56"/>
                <a:gd name="T44" fmla="*/ 373 w 397"/>
                <a:gd name="T45" fmla="*/ 0 h 56"/>
                <a:gd name="T46" fmla="*/ 379 w 397"/>
                <a:gd name="T47" fmla="*/ 2 h 56"/>
                <a:gd name="T48" fmla="*/ 383 w 397"/>
                <a:gd name="T49" fmla="*/ 4 h 56"/>
                <a:gd name="T50" fmla="*/ 388 w 397"/>
                <a:gd name="T51" fmla="*/ 8 h 56"/>
                <a:gd name="T52" fmla="*/ 392 w 397"/>
                <a:gd name="T53" fmla="*/ 12 h 56"/>
                <a:gd name="T54" fmla="*/ 394 w 397"/>
                <a:gd name="T55" fmla="*/ 17 h 56"/>
                <a:gd name="T56" fmla="*/ 396 w 397"/>
                <a:gd name="T57" fmla="*/ 22 h 56"/>
                <a:gd name="T58" fmla="*/ 397 w 397"/>
                <a:gd name="T59" fmla="*/ 28 h 56"/>
                <a:gd name="T60" fmla="*/ 397 w 397"/>
                <a:gd name="T61" fmla="*/ 28 h 56"/>
                <a:gd name="T62" fmla="*/ 396 w 397"/>
                <a:gd name="T63" fmla="*/ 33 h 56"/>
                <a:gd name="T64" fmla="*/ 394 w 397"/>
                <a:gd name="T65" fmla="*/ 39 h 56"/>
                <a:gd name="T66" fmla="*/ 392 w 397"/>
                <a:gd name="T67" fmla="*/ 43 h 56"/>
                <a:gd name="T68" fmla="*/ 388 w 397"/>
                <a:gd name="T69" fmla="*/ 48 h 56"/>
                <a:gd name="T70" fmla="*/ 383 w 397"/>
                <a:gd name="T71" fmla="*/ 51 h 56"/>
                <a:gd name="T72" fmla="*/ 379 w 397"/>
                <a:gd name="T73" fmla="*/ 54 h 56"/>
                <a:gd name="T74" fmla="*/ 373 w 397"/>
                <a:gd name="T75" fmla="*/ 55 h 56"/>
                <a:gd name="T76" fmla="*/ 368 w 397"/>
                <a:gd name="T77" fmla="*/ 56 h 56"/>
                <a:gd name="T78" fmla="*/ 368 w 397"/>
                <a:gd name="T7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7" h="56">
                  <a:moveTo>
                    <a:pt x="368" y="56"/>
                  </a:moveTo>
                  <a:lnTo>
                    <a:pt x="28" y="56"/>
                  </a:lnTo>
                  <a:lnTo>
                    <a:pt x="28" y="56"/>
                  </a:lnTo>
                  <a:lnTo>
                    <a:pt x="22" y="55"/>
                  </a:lnTo>
                  <a:lnTo>
                    <a:pt x="17" y="54"/>
                  </a:lnTo>
                  <a:lnTo>
                    <a:pt x="12" y="51"/>
                  </a:lnTo>
                  <a:lnTo>
                    <a:pt x="8" y="48"/>
                  </a:lnTo>
                  <a:lnTo>
                    <a:pt x="5" y="43"/>
                  </a:lnTo>
                  <a:lnTo>
                    <a:pt x="2" y="39"/>
                  </a:lnTo>
                  <a:lnTo>
                    <a:pt x="0" y="33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2" y="17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368" y="0"/>
                  </a:lnTo>
                  <a:lnTo>
                    <a:pt x="368" y="0"/>
                  </a:lnTo>
                  <a:lnTo>
                    <a:pt x="373" y="0"/>
                  </a:lnTo>
                  <a:lnTo>
                    <a:pt x="379" y="2"/>
                  </a:lnTo>
                  <a:lnTo>
                    <a:pt x="383" y="4"/>
                  </a:lnTo>
                  <a:lnTo>
                    <a:pt x="388" y="8"/>
                  </a:lnTo>
                  <a:lnTo>
                    <a:pt x="392" y="12"/>
                  </a:lnTo>
                  <a:lnTo>
                    <a:pt x="394" y="17"/>
                  </a:lnTo>
                  <a:lnTo>
                    <a:pt x="396" y="22"/>
                  </a:lnTo>
                  <a:lnTo>
                    <a:pt x="397" y="28"/>
                  </a:lnTo>
                  <a:lnTo>
                    <a:pt x="397" y="28"/>
                  </a:lnTo>
                  <a:lnTo>
                    <a:pt x="396" y="33"/>
                  </a:lnTo>
                  <a:lnTo>
                    <a:pt x="394" y="39"/>
                  </a:lnTo>
                  <a:lnTo>
                    <a:pt x="392" y="43"/>
                  </a:lnTo>
                  <a:lnTo>
                    <a:pt x="388" y="48"/>
                  </a:lnTo>
                  <a:lnTo>
                    <a:pt x="383" y="51"/>
                  </a:lnTo>
                  <a:lnTo>
                    <a:pt x="379" y="54"/>
                  </a:lnTo>
                  <a:lnTo>
                    <a:pt x="373" y="55"/>
                  </a:lnTo>
                  <a:lnTo>
                    <a:pt x="368" y="56"/>
                  </a:lnTo>
                  <a:lnTo>
                    <a:pt x="368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70" name="Freeform 349">
              <a:extLst>
                <a:ext uri="{FF2B5EF4-FFF2-40B4-BE49-F238E27FC236}">
                  <a16:creationId xmlns="" xmlns:a16="http://schemas.microsoft.com/office/drawing/2014/main" id="{59114E99-8328-4536-8F1B-5F90DD57D8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5875" y="5124451"/>
              <a:ext cx="165100" cy="163513"/>
            </a:xfrm>
            <a:custGeom>
              <a:avLst/>
              <a:gdLst>
                <a:gd name="T0" fmla="*/ 594 w 623"/>
                <a:gd name="T1" fmla="*/ 624 h 624"/>
                <a:gd name="T2" fmla="*/ 28 w 623"/>
                <a:gd name="T3" fmla="*/ 624 h 624"/>
                <a:gd name="T4" fmla="*/ 28 w 623"/>
                <a:gd name="T5" fmla="*/ 624 h 624"/>
                <a:gd name="T6" fmla="*/ 22 w 623"/>
                <a:gd name="T7" fmla="*/ 623 h 624"/>
                <a:gd name="T8" fmla="*/ 17 w 623"/>
                <a:gd name="T9" fmla="*/ 622 h 624"/>
                <a:gd name="T10" fmla="*/ 12 w 623"/>
                <a:gd name="T11" fmla="*/ 618 h 624"/>
                <a:gd name="T12" fmla="*/ 8 w 623"/>
                <a:gd name="T13" fmla="*/ 615 h 624"/>
                <a:gd name="T14" fmla="*/ 4 w 623"/>
                <a:gd name="T15" fmla="*/ 611 h 624"/>
                <a:gd name="T16" fmla="*/ 2 w 623"/>
                <a:gd name="T17" fmla="*/ 606 h 624"/>
                <a:gd name="T18" fmla="*/ 0 w 623"/>
                <a:gd name="T19" fmla="*/ 601 h 624"/>
                <a:gd name="T20" fmla="*/ 0 w 623"/>
                <a:gd name="T21" fmla="*/ 595 h 624"/>
                <a:gd name="T22" fmla="*/ 0 w 623"/>
                <a:gd name="T23" fmla="*/ 29 h 624"/>
                <a:gd name="T24" fmla="*/ 0 w 623"/>
                <a:gd name="T25" fmla="*/ 29 h 624"/>
                <a:gd name="T26" fmla="*/ 0 w 623"/>
                <a:gd name="T27" fmla="*/ 23 h 624"/>
                <a:gd name="T28" fmla="*/ 2 w 623"/>
                <a:gd name="T29" fmla="*/ 18 h 624"/>
                <a:gd name="T30" fmla="*/ 4 w 623"/>
                <a:gd name="T31" fmla="*/ 13 h 624"/>
                <a:gd name="T32" fmla="*/ 8 w 623"/>
                <a:gd name="T33" fmla="*/ 9 h 624"/>
                <a:gd name="T34" fmla="*/ 12 w 623"/>
                <a:gd name="T35" fmla="*/ 4 h 624"/>
                <a:gd name="T36" fmla="*/ 17 w 623"/>
                <a:gd name="T37" fmla="*/ 2 h 624"/>
                <a:gd name="T38" fmla="*/ 22 w 623"/>
                <a:gd name="T39" fmla="*/ 0 h 624"/>
                <a:gd name="T40" fmla="*/ 28 w 623"/>
                <a:gd name="T41" fmla="*/ 0 h 624"/>
                <a:gd name="T42" fmla="*/ 594 w 623"/>
                <a:gd name="T43" fmla="*/ 0 h 624"/>
                <a:gd name="T44" fmla="*/ 594 w 623"/>
                <a:gd name="T45" fmla="*/ 0 h 624"/>
                <a:gd name="T46" fmla="*/ 599 w 623"/>
                <a:gd name="T47" fmla="*/ 0 h 624"/>
                <a:gd name="T48" fmla="*/ 606 w 623"/>
                <a:gd name="T49" fmla="*/ 2 h 624"/>
                <a:gd name="T50" fmla="*/ 611 w 623"/>
                <a:gd name="T51" fmla="*/ 4 h 624"/>
                <a:gd name="T52" fmla="*/ 615 w 623"/>
                <a:gd name="T53" fmla="*/ 9 h 624"/>
                <a:gd name="T54" fmla="*/ 618 w 623"/>
                <a:gd name="T55" fmla="*/ 13 h 624"/>
                <a:gd name="T56" fmla="*/ 621 w 623"/>
                <a:gd name="T57" fmla="*/ 18 h 624"/>
                <a:gd name="T58" fmla="*/ 622 w 623"/>
                <a:gd name="T59" fmla="*/ 23 h 624"/>
                <a:gd name="T60" fmla="*/ 623 w 623"/>
                <a:gd name="T61" fmla="*/ 29 h 624"/>
                <a:gd name="T62" fmla="*/ 623 w 623"/>
                <a:gd name="T63" fmla="*/ 595 h 624"/>
                <a:gd name="T64" fmla="*/ 623 w 623"/>
                <a:gd name="T65" fmla="*/ 595 h 624"/>
                <a:gd name="T66" fmla="*/ 622 w 623"/>
                <a:gd name="T67" fmla="*/ 601 h 624"/>
                <a:gd name="T68" fmla="*/ 621 w 623"/>
                <a:gd name="T69" fmla="*/ 606 h 624"/>
                <a:gd name="T70" fmla="*/ 618 w 623"/>
                <a:gd name="T71" fmla="*/ 611 h 624"/>
                <a:gd name="T72" fmla="*/ 615 w 623"/>
                <a:gd name="T73" fmla="*/ 615 h 624"/>
                <a:gd name="T74" fmla="*/ 611 w 623"/>
                <a:gd name="T75" fmla="*/ 618 h 624"/>
                <a:gd name="T76" fmla="*/ 606 w 623"/>
                <a:gd name="T77" fmla="*/ 622 h 624"/>
                <a:gd name="T78" fmla="*/ 599 w 623"/>
                <a:gd name="T79" fmla="*/ 623 h 624"/>
                <a:gd name="T80" fmla="*/ 594 w 623"/>
                <a:gd name="T81" fmla="*/ 624 h 624"/>
                <a:gd name="T82" fmla="*/ 594 w 623"/>
                <a:gd name="T83" fmla="*/ 624 h 624"/>
                <a:gd name="T84" fmla="*/ 56 w 623"/>
                <a:gd name="T85" fmla="*/ 567 h 624"/>
                <a:gd name="T86" fmla="*/ 566 w 623"/>
                <a:gd name="T87" fmla="*/ 567 h 624"/>
                <a:gd name="T88" fmla="*/ 566 w 623"/>
                <a:gd name="T89" fmla="*/ 57 h 624"/>
                <a:gd name="T90" fmla="*/ 56 w 623"/>
                <a:gd name="T91" fmla="*/ 57 h 624"/>
                <a:gd name="T92" fmla="*/ 56 w 623"/>
                <a:gd name="T93" fmla="*/ 567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3" h="624">
                  <a:moveTo>
                    <a:pt x="594" y="624"/>
                  </a:moveTo>
                  <a:lnTo>
                    <a:pt x="28" y="624"/>
                  </a:lnTo>
                  <a:lnTo>
                    <a:pt x="28" y="624"/>
                  </a:lnTo>
                  <a:lnTo>
                    <a:pt x="22" y="623"/>
                  </a:lnTo>
                  <a:lnTo>
                    <a:pt x="17" y="622"/>
                  </a:lnTo>
                  <a:lnTo>
                    <a:pt x="12" y="618"/>
                  </a:lnTo>
                  <a:lnTo>
                    <a:pt x="8" y="615"/>
                  </a:lnTo>
                  <a:lnTo>
                    <a:pt x="4" y="611"/>
                  </a:lnTo>
                  <a:lnTo>
                    <a:pt x="2" y="606"/>
                  </a:lnTo>
                  <a:lnTo>
                    <a:pt x="0" y="601"/>
                  </a:lnTo>
                  <a:lnTo>
                    <a:pt x="0" y="595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3"/>
                  </a:lnTo>
                  <a:lnTo>
                    <a:pt x="2" y="18"/>
                  </a:lnTo>
                  <a:lnTo>
                    <a:pt x="4" y="13"/>
                  </a:lnTo>
                  <a:lnTo>
                    <a:pt x="8" y="9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594" y="0"/>
                  </a:lnTo>
                  <a:lnTo>
                    <a:pt x="594" y="0"/>
                  </a:lnTo>
                  <a:lnTo>
                    <a:pt x="599" y="0"/>
                  </a:lnTo>
                  <a:lnTo>
                    <a:pt x="606" y="2"/>
                  </a:lnTo>
                  <a:lnTo>
                    <a:pt x="611" y="4"/>
                  </a:lnTo>
                  <a:lnTo>
                    <a:pt x="615" y="9"/>
                  </a:lnTo>
                  <a:lnTo>
                    <a:pt x="618" y="13"/>
                  </a:lnTo>
                  <a:lnTo>
                    <a:pt x="621" y="18"/>
                  </a:lnTo>
                  <a:lnTo>
                    <a:pt x="622" y="23"/>
                  </a:lnTo>
                  <a:lnTo>
                    <a:pt x="623" y="29"/>
                  </a:lnTo>
                  <a:lnTo>
                    <a:pt x="623" y="595"/>
                  </a:lnTo>
                  <a:lnTo>
                    <a:pt x="623" y="595"/>
                  </a:lnTo>
                  <a:lnTo>
                    <a:pt x="622" y="601"/>
                  </a:lnTo>
                  <a:lnTo>
                    <a:pt x="621" y="606"/>
                  </a:lnTo>
                  <a:lnTo>
                    <a:pt x="618" y="611"/>
                  </a:lnTo>
                  <a:lnTo>
                    <a:pt x="615" y="615"/>
                  </a:lnTo>
                  <a:lnTo>
                    <a:pt x="611" y="618"/>
                  </a:lnTo>
                  <a:lnTo>
                    <a:pt x="606" y="622"/>
                  </a:lnTo>
                  <a:lnTo>
                    <a:pt x="599" y="623"/>
                  </a:lnTo>
                  <a:lnTo>
                    <a:pt x="594" y="624"/>
                  </a:lnTo>
                  <a:lnTo>
                    <a:pt x="594" y="624"/>
                  </a:lnTo>
                  <a:close/>
                  <a:moveTo>
                    <a:pt x="56" y="567"/>
                  </a:moveTo>
                  <a:lnTo>
                    <a:pt x="566" y="567"/>
                  </a:lnTo>
                  <a:lnTo>
                    <a:pt x="566" y="57"/>
                  </a:lnTo>
                  <a:lnTo>
                    <a:pt x="56" y="57"/>
                  </a:lnTo>
                  <a:lnTo>
                    <a:pt x="56" y="5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="" xmlns:a16="http://schemas.microsoft.com/office/drawing/2014/main" id="{7255BEBA-AFBF-474A-951A-4B65E6CDA924}"/>
              </a:ext>
            </a:extLst>
          </p:cNvPr>
          <p:cNvGrpSpPr/>
          <p:nvPr/>
        </p:nvGrpSpPr>
        <p:grpSpPr>
          <a:xfrm>
            <a:off x="6672316" y="4377487"/>
            <a:ext cx="398144" cy="398144"/>
            <a:chOff x="9155113" y="3608388"/>
            <a:chExt cx="360363" cy="360363"/>
          </a:xfrm>
          <a:solidFill>
            <a:schemeClr val="bg1"/>
          </a:solidFill>
        </p:grpSpPr>
        <p:sp>
          <p:nvSpPr>
            <p:cNvPr id="72" name="Freeform 829">
              <a:extLst>
                <a:ext uri="{FF2B5EF4-FFF2-40B4-BE49-F238E27FC236}">
                  <a16:creationId xmlns="" xmlns:a16="http://schemas.microsoft.com/office/drawing/2014/main" id="{A3D4C099-2F8D-4546-96E6-24E502FAC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5113" y="3954463"/>
              <a:ext cx="360363" cy="14288"/>
            </a:xfrm>
            <a:custGeom>
              <a:avLst/>
              <a:gdLst>
                <a:gd name="T0" fmla="*/ 1554 w 1587"/>
                <a:gd name="T1" fmla="*/ 66 h 66"/>
                <a:gd name="T2" fmla="*/ 33 w 1587"/>
                <a:gd name="T3" fmla="*/ 66 h 66"/>
                <a:gd name="T4" fmla="*/ 33 w 1587"/>
                <a:gd name="T5" fmla="*/ 66 h 66"/>
                <a:gd name="T6" fmla="*/ 26 w 1587"/>
                <a:gd name="T7" fmla="*/ 65 h 66"/>
                <a:gd name="T8" fmla="*/ 20 w 1587"/>
                <a:gd name="T9" fmla="*/ 64 h 66"/>
                <a:gd name="T10" fmla="*/ 14 w 1587"/>
                <a:gd name="T11" fmla="*/ 61 h 66"/>
                <a:gd name="T12" fmla="*/ 10 w 1587"/>
                <a:gd name="T13" fmla="*/ 57 h 66"/>
                <a:gd name="T14" fmla="*/ 6 w 1587"/>
                <a:gd name="T15" fmla="*/ 52 h 66"/>
                <a:gd name="T16" fmla="*/ 3 w 1587"/>
                <a:gd name="T17" fmla="*/ 47 h 66"/>
                <a:gd name="T18" fmla="*/ 1 w 1587"/>
                <a:gd name="T19" fmla="*/ 41 h 66"/>
                <a:gd name="T20" fmla="*/ 0 w 1587"/>
                <a:gd name="T21" fmla="*/ 33 h 66"/>
                <a:gd name="T22" fmla="*/ 0 w 1587"/>
                <a:gd name="T23" fmla="*/ 33 h 66"/>
                <a:gd name="T24" fmla="*/ 1 w 1587"/>
                <a:gd name="T25" fmla="*/ 27 h 66"/>
                <a:gd name="T26" fmla="*/ 3 w 1587"/>
                <a:gd name="T27" fmla="*/ 21 h 66"/>
                <a:gd name="T28" fmla="*/ 6 w 1587"/>
                <a:gd name="T29" fmla="*/ 15 h 66"/>
                <a:gd name="T30" fmla="*/ 10 w 1587"/>
                <a:gd name="T31" fmla="*/ 11 h 66"/>
                <a:gd name="T32" fmla="*/ 14 w 1587"/>
                <a:gd name="T33" fmla="*/ 6 h 66"/>
                <a:gd name="T34" fmla="*/ 20 w 1587"/>
                <a:gd name="T35" fmla="*/ 3 h 66"/>
                <a:gd name="T36" fmla="*/ 26 w 1587"/>
                <a:gd name="T37" fmla="*/ 1 h 66"/>
                <a:gd name="T38" fmla="*/ 33 w 1587"/>
                <a:gd name="T39" fmla="*/ 0 h 66"/>
                <a:gd name="T40" fmla="*/ 1554 w 1587"/>
                <a:gd name="T41" fmla="*/ 0 h 66"/>
                <a:gd name="T42" fmla="*/ 1554 w 1587"/>
                <a:gd name="T43" fmla="*/ 0 h 66"/>
                <a:gd name="T44" fmla="*/ 1560 w 1587"/>
                <a:gd name="T45" fmla="*/ 1 h 66"/>
                <a:gd name="T46" fmla="*/ 1566 w 1587"/>
                <a:gd name="T47" fmla="*/ 3 h 66"/>
                <a:gd name="T48" fmla="*/ 1573 w 1587"/>
                <a:gd name="T49" fmla="*/ 6 h 66"/>
                <a:gd name="T50" fmla="*/ 1578 w 1587"/>
                <a:gd name="T51" fmla="*/ 11 h 66"/>
                <a:gd name="T52" fmla="*/ 1582 w 1587"/>
                <a:gd name="T53" fmla="*/ 15 h 66"/>
                <a:gd name="T54" fmla="*/ 1584 w 1587"/>
                <a:gd name="T55" fmla="*/ 21 h 66"/>
                <a:gd name="T56" fmla="*/ 1586 w 1587"/>
                <a:gd name="T57" fmla="*/ 27 h 66"/>
                <a:gd name="T58" fmla="*/ 1587 w 1587"/>
                <a:gd name="T59" fmla="*/ 33 h 66"/>
                <a:gd name="T60" fmla="*/ 1587 w 1587"/>
                <a:gd name="T61" fmla="*/ 33 h 66"/>
                <a:gd name="T62" fmla="*/ 1586 w 1587"/>
                <a:gd name="T63" fmla="*/ 41 h 66"/>
                <a:gd name="T64" fmla="*/ 1584 w 1587"/>
                <a:gd name="T65" fmla="*/ 47 h 66"/>
                <a:gd name="T66" fmla="*/ 1582 w 1587"/>
                <a:gd name="T67" fmla="*/ 52 h 66"/>
                <a:gd name="T68" fmla="*/ 1578 w 1587"/>
                <a:gd name="T69" fmla="*/ 57 h 66"/>
                <a:gd name="T70" fmla="*/ 1573 w 1587"/>
                <a:gd name="T71" fmla="*/ 61 h 66"/>
                <a:gd name="T72" fmla="*/ 1566 w 1587"/>
                <a:gd name="T73" fmla="*/ 64 h 66"/>
                <a:gd name="T74" fmla="*/ 1560 w 1587"/>
                <a:gd name="T75" fmla="*/ 65 h 66"/>
                <a:gd name="T76" fmla="*/ 1554 w 1587"/>
                <a:gd name="T77" fmla="*/ 66 h 66"/>
                <a:gd name="T78" fmla="*/ 1554 w 1587"/>
                <a:gd name="T7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87" h="66">
                  <a:moveTo>
                    <a:pt x="1554" y="66"/>
                  </a:moveTo>
                  <a:lnTo>
                    <a:pt x="33" y="66"/>
                  </a:lnTo>
                  <a:lnTo>
                    <a:pt x="33" y="66"/>
                  </a:lnTo>
                  <a:lnTo>
                    <a:pt x="26" y="65"/>
                  </a:lnTo>
                  <a:lnTo>
                    <a:pt x="20" y="64"/>
                  </a:lnTo>
                  <a:lnTo>
                    <a:pt x="14" y="61"/>
                  </a:lnTo>
                  <a:lnTo>
                    <a:pt x="10" y="57"/>
                  </a:lnTo>
                  <a:lnTo>
                    <a:pt x="6" y="52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1"/>
                  </a:lnTo>
                  <a:lnTo>
                    <a:pt x="6" y="15"/>
                  </a:lnTo>
                  <a:lnTo>
                    <a:pt x="10" y="11"/>
                  </a:lnTo>
                  <a:lnTo>
                    <a:pt x="14" y="6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1554" y="0"/>
                  </a:lnTo>
                  <a:lnTo>
                    <a:pt x="1554" y="0"/>
                  </a:lnTo>
                  <a:lnTo>
                    <a:pt x="1560" y="1"/>
                  </a:lnTo>
                  <a:lnTo>
                    <a:pt x="1566" y="3"/>
                  </a:lnTo>
                  <a:lnTo>
                    <a:pt x="1573" y="6"/>
                  </a:lnTo>
                  <a:lnTo>
                    <a:pt x="1578" y="11"/>
                  </a:lnTo>
                  <a:lnTo>
                    <a:pt x="1582" y="15"/>
                  </a:lnTo>
                  <a:lnTo>
                    <a:pt x="1584" y="21"/>
                  </a:lnTo>
                  <a:lnTo>
                    <a:pt x="1586" y="27"/>
                  </a:lnTo>
                  <a:lnTo>
                    <a:pt x="1587" y="33"/>
                  </a:lnTo>
                  <a:lnTo>
                    <a:pt x="1587" y="33"/>
                  </a:lnTo>
                  <a:lnTo>
                    <a:pt x="1586" y="41"/>
                  </a:lnTo>
                  <a:lnTo>
                    <a:pt x="1584" y="47"/>
                  </a:lnTo>
                  <a:lnTo>
                    <a:pt x="1582" y="52"/>
                  </a:lnTo>
                  <a:lnTo>
                    <a:pt x="1578" y="57"/>
                  </a:lnTo>
                  <a:lnTo>
                    <a:pt x="1573" y="61"/>
                  </a:lnTo>
                  <a:lnTo>
                    <a:pt x="1566" y="64"/>
                  </a:lnTo>
                  <a:lnTo>
                    <a:pt x="1560" y="65"/>
                  </a:lnTo>
                  <a:lnTo>
                    <a:pt x="1554" y="66"/>
                  </a:lnTo>
                  <a:lnTo>
                    <a:pt x="1554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73" name="Freeform 830">
              <a:extLst>
                <a:ext uri="{FF2B5EF4-FFF2-40B4-BE49-F238E27FC236}">
                  <a16:creationId xmlns="" xmlns:a16="http://schemas.microsoft.com/office/drawing/2014/main" id="{2B0E9DF8-61EE-4BA6-A6FB-7A36D91EB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70988" y="3879851"/>
              <a:ext cx="60325" cy="88900"/>
            </a:xfrm>
            <a:custGeom>
              <a:avLst/>
              <a:gdLst>
                <a:gd name="T0" fmla="*/ 232 w 265"/>
                <a:gd name="T1" fmla="*/ 396 h 396"/>
                <a:gd name="T2" fmla="*/ 33 w 265"/>
                <a:gd name="T3" fmla="*/ 396 h 396"/>
                <a:gd name="T4" fmla="*/ 33 w 265"/>
                <a:gd name="T5" fmla="*/ 396 h 396"/>
                <a:gd name="T6" fmla="*/ 27 w 265"/>
                <a:gd name="T7" fmla="*/ 395 h 396"/>
                <a:gd name="T8" fmla="*/ 20 w 265"/>
                <a:gd name="T9" fmla="*/ 394 h 396"/>
                <a:gd name="T10" fmla="*/ 14 w 265"/>
                <a:gd name="T11" fmla="*/ 391 h 396"/>
                <a:gd name="T12" fmla="*/ 10 w 265"/>
                <a:gd name="T13" fmla="*/ 387 h 396"/>
                <a:gd name="T14" fmla="*/ 6 w 265"/>
                <a:gd name="T15" fmla="*/ 382 h 396"/>
                <a:gd name="T16" fmla="*/ 3 w 265"/>
                <a:gd name="T17" fmla="*/ 377 h 396"/>
                <a:gd name="T18" fmla="*/ 1 w 265"/>
                <a:gd name="T19" fmla="*/ 371 h 396"/>
                <a:gd name="T20" fmla="*/ 0 w 265"/>
                <a:gd name="T21" fmla="*/ 363 h 396"/>
                <a:gd name="T22" fmla="*/ 0 w 265"/>
                <a:gd name="T23" fmla="*/ 33 h 396"/>
                <a:gd name="T24" fmla="*/ 0 w 265"/>
                <a:gd name="T25" fmla="*/ 33 h 396"/>
                <a:gd name="T26" fmla="*/ 1 w 265"/>
                <a:gd name="T27" fmla="*/ 26 h 396"/>
                <a:gd name="T28" fmla="*/ 3 w 265"/>
                <a:gd name="T29" fmla="*/ 20 h 396"/>
                <a:gd name="T30" fmla="*/ 6 w 265"/>
                <a:gd name="T31" fmla="*/ 14 h 396"/>
                <a:gd name="T32" fmla="*/ 10 w 265"/>
                <a:gd name="T33" fmla="*/ 9 h 396"/>
                <a:gd name="T34" fmla="*/ 14 w 265"/>
                <a:gd name="T35" fmla="*/ 5 h 396"/>
                <a:gd name="T36" fmla="*/ 20 w 265"/>
                <a:gd name="T37" fmla="*/ 2 h 396"/>
                <a:gd name="T38" fmla="*/ 27 w 265"/>
                <a:gd name="T39" fmla="*/ 0 h 396"/>
                <a:gd name="T40" fmla="*/ 33 w 265"/>
                <a:gd name="T41" fmla="*/ 0 h 396"/>
                <a:gd name="T42" fmla="*/ 232 w 265"/>
                <a:gd name="T43" fmla="*/ 0 h 396"/>
                <a:gd name="T44" fmla="*/ 232 w 265"/>
                <a:gd name="T45" fmla="*/ 0 h 396"/>
                <a:gd name="T46" fmla="*/ 238 w 265"/>
                <a:gd name="T47" fmla="*/ 0 h 396"/>
                <a:gd name="T48" fmla="*/ 244 w 265"/>
                <a:gd name="T49" fmla="*/ 2 h 396"/>
                <a:gd name="T50" fmla="*/ 250 w 265"/>
                <a:gd name="T51" fmla="*/ 5 h 396"/>
                <a:gd name="T52" fmla="*/ 254 w 265"/>
                <a:gd name="T53" fmla="*/ 9 h 396"/>
                <a:gd name="T54" fmla="*/ 258 w 265"/>
                <a:gd name="T55" fmla="*/ 14 h 396"/>
                <a:gd name="T56" fmla="*/ 262 w 265"/>
                <a:gd name="T57" fmla="*/ 20 h 396"/>
                <a:gd name="T58" fmla="*/ 264 w 265"/>
                <a:gd name="T59" fmla="*/ 26 h 396"/>
                <a:gd name="T60" fmla="*/ 265 w 265"/>
                <a:gd name="T61" fmla="*/ 33 h 396"/>
                <a:gd name="T62" fmla="*/ 265 w 265"/>
                <a:gd name="T63" fmla="*/ 363 h 396"/>
                <a:gd name="T64" fmla="*/ 265 w 265"/>
                <a:gd name="T65" fmla="*/ 363 h 396"/>
                <a:gd name="T66" fmla="*/ 264 w 265"/>
                <a:gd name="T67" fmla="*/ 371 h 396"/>
                <a:gd name="T68" fmla="*/ 262 w 265"/>
                <a:gd name="T69" fmla="*/ 377 h 396"/>
                <a:gd name="T70" fmla="*/ 258 w 265"/>
                <a:gd name="T71" fmla="*/ 382 h 396"/>
                <a:gd name="T72" fmla="*/ 254 w 265"/>
                <a:gd name="T73" fmla="*/ 387 h 396"/>
                <a:gd name="T74" fmla="*/ 250 w 265"/>
                <a:gd name="T75" fmla="*/ 391 h 396"/>
                <a:gd name="T76" fmla="*/ 244 w 265"/>
                <a:gd name="T77" fmla="*/ 394 h 396"/>
                <a:gd name="T78" fmla="*/ 238 w 265"/>
                <a:gd name="T79" fmla="*/ 395 h 396"/>
                <a:gd name="T80" fmla="*/ 232 w 265"/>
                <a:gd name="T81" fmla="*/ 396 h 396"/>
                <a:gd name="T82" fmla="*/ 232 w 265"/>
                <a:gd name="T83" fmla="*/ 396 h 396"/>
                <a:gd name="T84" fmla="*/ 66 w 265"/>
                <a:gd name="T85" fmla="*/ 330 h 396"/>
                <a:gd name="T86" fmla="*/ 198 w 265"/>
                <a:gd name="T87" fmla="*/ 330 h 396"/>
                <a:gd name="T88" fmla="*/ 198 w 265"/>
                <a:gd name="T89" fmla="*/ 66 h 396"/>
                <a:gd name="T90" fmla="*/ 66 w 265"/>
                <a:gd name="T91" fmla="*/ 66 h 396"/>
                <a:gd name="T92" fmla="*/ 66 w 265"/>
                <a:gd name="T93" fmla="*/ 33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5" h="396">
                  <a:moveTo>
                    <a:pt x="232" y="396"/>
                  </a:moveTo>
                  <a:lnTo>
                    <a:pt x="33" y="396"/>
                  </a:lnTo>
                  <a:lnTo>
                    <a:pt x="33" y="396"/>
                  </a:lnTo>
                  <a:lnTo>
                    <a:pt x="27" y="395"/>
                  </a:lnTo>
                  <a:lnTo>
                    <a:pt x="20" y="394"/>
                  </a:lnTo>
                  <a:lnTo>
                    <a:pt x="14" y="391"/>
                  </a:lnTo>
                  <a:lnTo>
                    <a:pt x="10" y="387"/>
                  </a:lnTo>
                  <a:lnTo>
                    <a:pt x="6" y="382"/>
                  </a:lnTo>
                  <a:lnTo>
                    <a:pt x="3" y="377"/>
                  </a:lnTo>
                  <a:lnTo>
                    <a:pt x="1" y="371"/>
                  </a:lnTo>
                  <a:lnTo>
                    <a:pt x="0" y="36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4"/>
                  </a:lnTo>
                  <a:lnTo>
                    <a:pt x="10" y="9"/>
                  </a:lnTo>
                  <a:lnTo>
                    <a:pt x="14" y="5"/>
                  </a:lnTo>
                  <a:lnTo>
                    <a:pt x="20" y="2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8" y="0"/>
                  </a:lnTo>
                  <a:lnTo>
                    <a:pt x="244" y="2"/>
                  </a:lnTo>
                  <a:lnTo>
                    <a:pt x="250" y="5"/>
                  </a:lnTo>
                  <a:lnTo>
                    <a:pt x="254" y="9"/>
                  </a:lnTo>
                  <a:lnTo>
                    <a:pt x="258" y="14"/>
                  </a:lnTo>
                  <a:lnTo>
                    <a:pt x="262" y="20"/>
                  </a:lnTo>
                  <a:lnTo>
                    <a:pt x="264" y="26"/>
                  </a:lnTo>
                  <a:lnTo>
                    <a:pt x="265" y="33"/>
                  </a:lnTo>
                  <a:lnTo>
                    <a:pt x="265" y="363"/>
                  </a:lnTo>
                  <a:lnTo>
                    <a:pt x="265" y="363"/>
                  </a:lnTo>
                  <a:lnTo>
                    <a:pt x="264" y="371"/>
                  </a:lnTo>
                  <a:lnTo>
                    <a:pt x="262" y="377"/>
                  </a:lnTo>
                  <a:lnTo>
                    <a:pt x="258" y="382"/>
                  </a:lnTo>
                  <a:lnTo>
                    <a:pt x="254" y="387"/>
                  </a:lnTo>
                  <a:lnTo>
                    <a:pt x="250" y="391"/>
                  </a:lnTo>
                  <a:lnTo>
                    <a:pt x="244" y="394"/>
                  </a:lnTo>
                  <a:lnTo>
                    <a:pt x="238" y="395"/>
                  </a:lnTo>
                  <a:lnTo>
                    <a:pt x="232" y="396"/>
                  </a:lnTo>
                  <a:lnTo>
                    <a:pt x="232" y="396"/>
                  </a:lnTo>
                  <a:close/>
                  <a:moveTo>
                    <a:pt x="66" y="330"/>
                  </a:moveTo>
                  <a:lnTo>
                    <a:pt x="198" y="330"/>
                  </a:lnTo>
                  <a:lnTo>
                    <a:pt x="198" y="66"/>
                  </a:lnTo>
                  <a:lnTo>
                    <a:pt x="66" y="66"/>
                  </a:lnTo>
                  <a:lnTo>
                    <a:pt x="66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74" name="Freeform 831">
              <a:extLst>
                <a:ext uri="{FF2B5EF4-FFF2-40B4-BE49-F238E27FC236}">
                  <a16:creationId xmlns="" xmlns:a16="http://schemas.microsoft.com/office/drawing/2014/main" id="{E9EE408D-9B08-43E9-9146-89AC006398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59888" y="3803651"/>
              <a:ext cx="60325" cy="165100"/>
            </a:xfrm>
            <a:custGeom>
              <a:avLst/>
              <a:gdLst>
                <a:gd name="T0" fmla="*/ 231 w 264"/>
                <a:gd name="T1" fmla="*/ 727 h 727"/>
                <a:gd name="T2" fmla="*/ 33 w 264"/>
                <a:gd name="T3" fmla="*/ 727 h 727"/>
                <a:gd name="T4" fmla="*/ 33 w 264"/>
                <a:gd name="T5" fmla="*/ 727 h 727"/>
                <a:gd name="T6" fmla="*/ 26 w 264"/>
                <a:gd name="T7" fmla="*/ 726 h 727"/>
                <a:gd name="T8" fmla="*/ 20 w 264"/>
                <a:gd name="T9" fmla="*/ 725 h 727"/>
                <a:gd name="T10" fmla="*/ 15 w 264"/>
                <a:gd name="T11" fmla="*/ 722 h 727"/>
                <a:gd name="T12" fmla="*/ 9 w 264"/>
                <a:gd name="T13" fmla="*/ 718 h 727"/>
                <a:gd name="T14" fmla="*/ 5 w 264"/>
                <a:gd name="T15" fmla="*/ 713 h 727"/>
                <a:gd name="T16" fmla="*/ 2 w 264"/>
                <a:gd name="T17" fmla="*/ 708 h 727"/>
                <a:gd name="T18" fmla="*/ 0 w 264"/>
                <a:gd name="T19" fmla="*/ 702 h 727"/>
                <a:gd name="T20" fmla="*/ 0 w 264"/>
                <a:gd name="T21" fmla="*/ 694 h 727"/>
                <a:gd name="T22" fmla="*/ 0 w 264"/>
                <a:gd name="T23" fmla="*/ 33 h 727"/>
                <a:gd name="T24" fmla="*/ 0 w 264"/>
                <a:gd name="T25" fmla="*/ 33 h 727"/>
                <a:gd name="T26" fmla="*/ 0 w 264"/>
                <a:gd name="T27" fmla="*/ 27 h 727"/>
                <a:gd name="T28" fmla="*/ 2 w 264"/>
                <a:gd name="T29" fmla="*/ 20 h 727"/>
                <a:gd name="T30" fmla="*/ 5 w 264"/>
                <a:gd name="T31" fmla="*/ 14 h 727"/>
                <a:gd name="T32" fmla="*/ 9 w 264"/>
                <a:gd name="T33" fmla="*/ 9 h 727"/>
                <a:gd name="T34" fmla="*/ 15 w 264"/>
                <a:gd name="T35" fmla="*/ 6 h 727"/>
                <a:gd name="T36" fmla="*/ 20 w 264"/>
                <a:gd name="T37" fmla="*/ 3 h 727"/>
                <a:gd name="T38" fmla="*/ 26 w 264"/>
                <a:gd name="T39" fmla="*/ 1 h 727"/>
                <a:gd name="T40" fmla="*/ 33 w 264"/>
                <a:gd name="T41" fmla="*/ 0 h 727"/>
                <a:gd name="T42" fmla="*/ 231 w 264"/>
                <a:gd name="T43" fmla="*/ 0 h 727"/>
                <a:gd name="T44" fmla="*/ 231 w 264"/>
                <a:gd name="T45" fmla="*/ 0 h 727"/>
                <a:gd name="T46" fmla="*/ 238 w 264"/>
                <a:gd name="T47" fmla="*/ 1 h 727"/>
                <a:gd name="T48" fmla="*/ 244 w 264"/>
                <a:gd name="T49" fmla="*/ 3 h 727"/>
                <a:gd name="T50" fmla="*/ 250 w 264"/>
                <a:gd name="T51" fmla="*/ 6 h 727"/>
                <a:gd name="T52" fmla="*/ 255 w 264"/>
                <a:gd name="T53" fmla="*/ 9 h 727"/>
                <a:gd name="T54" fmla="*/ 259 w 264"/>
                <a:gd name="T55" fmla="*/ 14 h 727"/>
                <a:gd name="T56" fmla="*/ 262 w 264"/>
                <a:gd name="T57" fmla="*/ 20 h 727"/>
                <a:gd name="T58" fmla="*/ 264 w 264"/>
                <a:gd name="T59" fmla="*/ 27 h 727"/>
                <a:gd name="T60" fmla="*/ 264 w 264"/>
                <a:gd name="T61" fmla="*/ 33 h 727"/>
                <a:gd name="T62" fmla="*/ 264 w 264"/>
                <a:gd name="T63" fmla="*/ 694 h 727"/>
                <a:gd name="T64" fmla="*/ 264 w 264"/>
                <a:gd name="T65" fmla="*/ 694 h 727"/>
                <a:gd name="T66" fmla="*/ 264 w 264"/>
                <a:gd name="T67" fmla="*/ 702 h 727"/>
                <a:gd name="T68" fmla="*/ 262 w 264"/>
                <a:gd name="T69" fmla="*/ 708 h 727"/>
                <a:gd name="T70" fmla="*/ 259 w 264"/>
                <a:gd name="T71" fmla="*/ 713 h 727"/>
                <a:gd name="T72" fmla="*/ 255 w 264"/>
                <a:gd name="T73" fmla="*/ 718 h 727"/>
                <a:gd name="T74" fmla="*/ 250 w 264"/>
                <a:gd name="T75" fmla="*/ 722 h 727"/>
                <a:gd name="T76" fmla="*/ 244 w 264"/>
                <a:gd name="T77" fmla="*/ 725 h 727"/>
                <a:gd name="T78" fmla="*/ 238 w 264"/>
                <a:gd name="T79" fmla="*/ 726 h 727"/>
                <a:gd name="T80" fmla="*/ 231 w 264"/>
                <a:gd name="T81" fmla="*/ 727 h 727"/>
                <a:gd name="T82" fmla="*/ 231 w 264"/>
                <a:gd name="T83" fmla="*/ 727 h 727"/>
                <a:gd name="T84" fmla="*/ 66 w 264"/>
                <a:gd name="T85" fmla="*/ 661 h 727"/>
                <a:gd name="T86" fmla="*/ 198 w 264"/>
                <a:gd name="T87" fmla="*/ 661 h 727"/>
                <a:gd name="T88" fmla="*/ 198 w 264"/>
                <a:gd name="T89" fmla="*/ 66 h 727"/>
                <a:gd name="T90" fmla="*/ 66 w 264"/>
                <a:gd name="T91" fmla="*/ 66 h 727"/>
                <a:gd name="T92" fmla="*/ 66 w 264"/>
                <a:gd name="T93" fmla="*/ 6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4" h="727">
                  <a:moveTo>
                    <a:pt x="231" y="727"/>
                  </a:moveTo>
                  <a:lnTo>
                    <a:pt x="33" y="727"/>
                  </a:lnTo>
                  <a:lnTo>
                    <a:pt x="33" y="727"/>
                  </a:lnTo>
                  <a:lnTo>
                    <a:pt x="26" y="726"/>
                  </a:lnTo>
                  <a:lnTo>
                    <a:pt x="20" y="725"/>
                  </a:lnTo>
                  <a:lnTo>
                    <a:pt x="15" y="722"/>
                  </a:lnTo>
                  <a:lnTo>
                    <a:pt x="9" y="718"/>
                  </a:lnTo>
                  <a:lnTo>
                    <a:pt x="5" y="713"/>
                  </a:lnTo>
                  <a:lnTo>
                    <a:pt x="2" y="708"/>
                  </a:lnTo>
                  <a:lnTo>
                    <a:pt x="0" y="702"/>
                  </a:lnTo>
                  <a:lnTo>
                    <a:pt x="0" y="69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38" y="1"/>
                  </a:lnTo>
                  <a:lnTo>
                    <a:pt x="244" y="3"/>
                  </a:lnTo>
                  <a:lnTo>
                    <a:pt x="250" y="6"/>
                  </a:lnTo>
                  <a:lnTo>
                    <a:pt x="255" y="9"/>
                  </a:lnTo>
                  <a:lnTo>
                    <a:pt x="259" y="14"/>
                  </a:lnTo>
                  <a:lnTo>
                    <a:pt x="262" y="20"/>
                  </a:lnTo>
                  <a:lnTo>
                    <a:pt x="264" y="27"/>
                  </a:lnTo>
                  <a:lnTo>
                    <a:pt x="264" y="33"/>
                  </a:lnTo>
                  <a:lnTo>
                    <a:pt x="264" y="694"/>
                  </a:lnTo>
                  <a:lnTo>
                    <a:pt x="264" y="694"/>
                  </a:lnTo>
                  <a:lnTo>
                    <a:pt x="264" y="702"/>
                  </a:lnTo>
                  <a:lnTo>
                    <a:pt x="262" y="708"/>
                  </a:lnTo>
                  <a:lnTo>
                    <a:pt x="259" y="713"/>
                  </a:lnTo>
                  <a:lnTo>
                    <a:pt x="255" y="718"/>
                  </a:lnTo>
                  <a:lnTo>
                    <a:pt x="250" y="722"/>
                  </a:lnTo>
                  <a:lnTo>
                    <a:pt x="244" y="725"/>
                  </a:lnTo>
                  <a:lnTo>
                    <a:pt x="238" y="726"/>
                  </a:lnTo>
                  <a:lnTo>
                    <a:pt x="231" y="727"/>
                  </a:lnTo>
                  <a:lnTo>
                    <a:pt x="231" y="727"/>
                  </a:lnTo>
                  <a:close/>
                  <a:moveTo>
                    <a:pt x="66" y="661"/>
                  </a:moveTo>
                  <a:lnTo>
                    <a:pt x="198" y="661"/>
                  </a:lnTo>
                  <a:lnTo>
                    <a:pt x="198" y="66"/>
                  </a:lnTo>
                  <a:lnTo>
                    <a:pt x="66" y="66"/>
                  </a:lnTo>
                  <a:lnTo>
                    <a:pt x="66" y="6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75" name="Freeform 832">
              <a:extLst>
                <a:ext uri="{FF2B5EF4-FFF2-40B4-BE49-F238E27FC236}">
                  <a16:creationId xmlns="" xmlns:a16="http://schemas.microsoft.com/office/drawing/2014/main" id="{F12D961E-03EF-4E9D-A76B-712DC0ABE7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0375" y="3833813"/>
              <a:ext cx="60325" cy="134938"/>
            </a:xfrm>
            <a:custGeom>
              <a:avLst/>
              <a:gdLst>
                <a:gd name="T0" fmla="*/ 232 w 265"/>
                <a:gd name="T1" fmla="*/ 595 h 595"/>
                <a:gd name="T2" fmla="*/ 34 w 265"/>
                <a:gd name="T3" fmla="*/ 595 h 595"/>
                <a:gd name="T4" fmla="*/ 34 w 265"/>
                <a:gd name="T5" fmla="*/ 595 h 595"/>
                <a:gd name="T6" fmla="*/ 27 w 265"/>
                <a:gd name="T7" fmla="*/ 594 h 595"/>
                <a:gd name="T8" fmla="*/ 21 w 265"/>
                <a:gd name="T9" fmla="*/ 593 h 595"/>
                <a:gd name="T10" fmla="*/ 15 w 265"/>
                <a:gd name="T11" fmla="*/ 590 h 595"/>
                <a:gd name="T12" fmla="*/ 10 w 265"/>
                <a:gd name="T13" fmla="*/ 586 h 595"/>
                <a:gd name="T14" fmla="*/ 7 w 265"/>
                <a:gd name="T15" fmla="*/ 581 h 595"/>
                <a:gd name="T16" fmla="*/ 4 w 265"/>
                <a:gd name="T17" fmla="*/ 576 h 595"/>
                <a:gd name="T18" fmla="*/ 2 w 265"/>
                <a:gd name="T19" fmla="*/ 570 h 595"/>
                <a:gd name="T20" fmla="*/ 0 w 265"/>
                <a:gd name="T21" fmla="*/ 562 h 595"/>
                <a:gd name="T22" fmla="*/ 0 w 265"/>
                <a:gd name="T23" fmla="*/ 33 h 595"/>
                <a:gd name="T24" fmla="*/ 0 w 265"/>
                <a:gd name="T25" fmla="*/ 33 h 595"/>
                <a:gd name="T26" fmla="*/ 2 w 265"/>
                <a:gd name="T27" fmla="*/ 26 h 595"/>
                <a:gd name="T28" fmla="*/ 4 w 265"/>
                <a:gd name="T29" fmla="*/ 20 h 595"/>
                <a:gd name="T30" fmla="*/ 7 w 265"/>
                <a:gd name="T31" fmla="*/ 15 h 595"/>
                <a:gd name="T32" fmla="*/ 10 w 265"/>
                <a:gd name="T33" fmla="*/ 9 h 595"/>
                <a:gd name="T34" fmla="*/ 15 w 265"/>
                <a:gd name="T35" fmla="*/ 5 h 595"/>
                <a:gd name="T36" fmla="*/ 21 w 265"/>
                <a:gd name="T37" fmla="*/ 2 h 595"/>
                <a:gd name="T38" fmla="*/ 27 w 265"/>
                <a:gd name="T39" fmla="*/ 1 h 595"/>
                <a:gd name="T40" fmla="*/ 34 w 265"/>
                <a:gd name="T41" fmla="*/ 0 h 595"/>
                <a:gd name="T42" fmla="*/ 232 w 265"/>
                <a:gd name="T43" fmla="*/ 0 h 595"/>
                <a:gd name="T44" fmla="*/ 232 w 265"/>
                <a:gd name="T45" fmla="*/ 0 h 595"/>
                <a:gd name="T46" fmla="*/ 239 w 265"/>
                <a:gd name="T47" fmla="*/ 1 h 595"/>
                <a:gd name="T48" fmla="*/ 245 w 265"/>
                <a:gd name="T49" fmla="*/ 2 h 595"/>
                <a:gd name="T50" fmla="*/ 251 w 265"/>
                <a:gd name="T51" fmla="*/ 5 h 595"/>
                <a:gd name="T52" fmla="*/ 255 w 265"/>
                <a:gd name="T53" fmla="*/ 9 h 595"/>
                <a:gd name="T54" fmla="*/ 259 w 265"/>
                <a:gd name="T55" fmla="*/ 15 h 595"/>
                <a:gd name="T56" fmla="*/ 262 w 265"/>
                <a:gd name="T57" fmla="*/ 20 h 595"/>
                <a:gd name="T58" fmla="*/ 264 w 265"/>
                <a:gd name="T59" fmla="*/ 26 h 595"/>
                <a:gd name="T60" fmla="*/ 265 w 265"/>
                <a:gd name="T61" fmla="*/ 33 h 595"/>
                <a:gd name="T62" fmla="*/ 265 w 265"/>
                <a:gd name="T63" fmla="*/ 562 h 595"/>
                <a:gd name="T64" fmla="*/ 265 w 265"/>
                <a:gd name="T65" fmla="*/ 562 h 595"/>
                <a:gd name="T66" fmla="*/ 264 w 265"/>
                <a:gd name="T67" fmla="*/ 570 h 595"/>
                <a:gd name="T68" fmla="*/ 262 w 265"/>
                <a:gd name="T69" fmla="*/ 576 h 595"/>
                <a:gd name="T70" fmla="*/ 259 w 265"/>
                <a:gd name="T71" fmla="*/ 581 h 595"/>
                <a:gd name="T72" fmla="*/ 255 w 265"/>
                <a:gd name="T73" fmla="*/ 586 h 595"/>
                <a:gd name="T74" fmla="*/ 251 w 265"/>
                <a:gd name="T75" fmla="*/ 590 h 595"/>
                <a:gd name="T76" fmla="*/ 245 w 265"/>
                <a:gd name="T77" fmla="*/ 593 h 595"/>
                <a:gd name="T78" fmla="*/ 239 w 265"/>
                <a:gd name="T79" fmla="*/ 594 h 595"/>
                <a:gd name="T80" fmla="*/ 232 w 265"/>
                <a:gd name="T81" fmla="*/ 595 h 595"/>
                <a:gd name="T82" fmla="*/ 232 w 265"/>
                <a:gd name="T83" fmla="*/ 595 h 595"/>
                <a:gd name="T84" fmla="*/ 67 w 265"/>
                <a:gd name="T85" fmla="*/ 529 h 595"/>
                <a:gd name="T86" fmla="*/ 199 w 265"/>
                <a:gd name="T87" fmla="*/ 529 h 595"/>
                <a:gd name="T88" fmla="*/ 199 w 265"/>
                <a:gd name="T89" fmla="*/ 66 h 595"/>
                <a:gd name="T90" fmla="*/ 67 w 265"/>
                <a:gd name="T91" fmla="*/ 66 h 595"/>
                <a:gd name="T92" fmla="*/ 67 w 265"/>
                <a:gd name="T93" fmla="*/ 52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5" h="595">
                  <a:moveTo>
                    <a:pt x="232" y="595"/>
                  </a:moveTo>
                  <a:lnTo>
                    <a:pt x="34" y="595"/>
                  </a:lnTo>
                  <a:lnTo>
                    <a:pt x="34" y="595"/>
                  </a:lnTo>
                  <a:lnTo>
                    <a:pt x="27" y="594"/>
                  </a:lnTo>
                  <a:lnTo>
                    <a:pt x="21" y="593"/>
                  </a:lnTo>
                  <a:lnTo>
                    <a:pt x="15" y="590"/>
                  </a:lnTo>
                  <a:lnTo>
                    <a:pt x="10" y="586"/>
                  </a:lnTo>
                  <a:lnTo>
                    <a:pt x="7" y="581"/>
                  </a:lnTo>
                  <a:lnTo>
                    <a:pt x="4" y="576"/>
                  </a:lnTo>
                  <a:lnTo>
                    <a:pt x="2" y="570"/>
                  </a:lnTo>
                  <a:lnTo>
                    <a:pt x="0" y="56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26"/>
                  </a:lnTo>
                  <a:lnTo>
                    <a:pt x="4" y="20"/>
                  </a:lnTo>
                  <a:lnTo>
                    <a:pt x="7" y="15"/>
                  </a:lnTo>
                  <a:lnTo>
                    <a:pt x="10" y="9"/>
                  </a:lnTo>
                  <a:lnTo>
                    <a:pt x="15" y="5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9" y="1"/>
                  </a:lnTo>
                  <a:lnTo>
                    <a:pt x="245" y="2"/>
                  </a:lnTo>
                  <a:lnTo>
                    <a:pt x="251" y="5"/>
                  </a:lnTo>
                  <a:lnTo>
                    <a:pt x="255" y="9"/>
                  </a:lnTo>
                  <a:lnTo>
                    <a:pt x="259" y="15"/>
                  </a:lnTo>
                  <a:lnTo>
                    <a:pt x="262" y="20"/>
                  </a:lnTo>
                  <a:lnTo>
                    <a:pt x="264" y="26"/>
                  </a:lnTo>
                  <a:lnTo>
                    <a:pt x="265" y="33"/>
                  </a:lnTo>
                  <a:lnTo>
                    <a:pt x="265" y="562"/>
                  </a:lnTo>
                  <a:lnTo>
                    <a:pt x="265" y="562"/>
                  </a:lnTo>
                  <a:lnTo>
                    <a:pt x="264" y="570"/>
                  </a:lnTo>
                  <a:lnTo>
                    <a:pt x="262" y="576"/>
                  </a:lnTo>
                  <a:lnTo>
                    <a:pt x="259" y="581"/>
                  </a:lnTo>
                  <a:lnTo>
                    <a:pt x="255" y="586"/>
                  </a:lnTo>
                  <a:lnTo>
                    <a:pt x="251" y="590"/>
                  </a:lnTo>
                  <a:lnTo>
                    <a:pt x="245" y="593"/>
                  </a:lnTo>
                  <a:lnTo>
                    <a:pt x="239" y="594"/>
                  </a:lnTo>
                  <a:lnTo>
                    <a:pt x="232" y="595"/>
                  </a:lnTo>
                  <a:lnTo>
                    <a:pt x="232" y="595"/>
                  </a:lnTo>
                  <a:close/>
                  <a:moveTo>
                    <a:pt x="67" y="529"/>
                  </a:moveTo>
                  <a:lnTo>
                    <a:pt x="199" y="529"/>
                  </a:lnTo>
                  <a:lnTo>
                    <a:pt x="199" y="66"/>
                  </a:lnTo>
                  <a:lnTo>
                    <a:pt x="67" y="66"/>
                  </a:lnTo>
                  <a:lnTo>
                    <a:pt x="67" y="5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76" name="Freeform 833">
              <a:extLst>
                <a:ext uri="{FF2B5EF4-FFF2-40B4-BE49-F238E27FC236}">
                  <a16:creationId xmlns="" xmlns:a16="http://schemas.microsoft.com/office/drawing/2014/main" id="{259A364F-4C2E-44B8-8100-9DCB98FC86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0863" y="3729038"/>
              <a:ext cx="60325" cy="239713"/>
            </a:xfrm>
            <a:custGeom>
              <a:avLst/>
              <a:gdLst>
                <a:gd name="T0" fmla="*/ 232 w 265"/>
                <a:gd name="T1" fmla="*/ 1058 h 1058"/>
                <a:gd name="T2" fmla="*/ 33 w 265"/>
                <a:gd name="T3" fmla="*/ 1058 h 1058"/>
                <a:gd name="T4" fmla="*/ 33 w 265"/>
                <a:gd name="T5" fmla="*/ 1058 h 1058"/>
                <a:gd name="T6" fmla="*/ 27 w 265"/>
                <a:gd name="T7" fmla="*/ 1057 h 1058"/>
                <a:gd name="T8" fmla="*/ 21 w 265"/>
                <a:gd name="T9" fmla="*/ 1056 h 1058"/>
                <a:gd name="T10" fmla="*/ 15 w 265"/>
                <a:gd name="T11" fmla="*/ 1053 h 1058"/>
                <a:gd name="T12" fmla="*/ 10 w 265"/>
                <a:gd name="T13" fmla="*/ 1049 h 1058"/>
                <a:gd name="T14" fmla="*/ 6 w 265"/>
                <a:gd name="T15" fmla="*/ 1044 h 1058"/>
                <a:gd name="T16" fmla="*/ 3 w 265"/>
                <a:gd name="T17" fmla="*/ 1039 h 1058"/>
                <a:gd name="T18" fmla="*/ 1 w 265"/>
                <a:gd name="T19" fmla="*/ 1033 h 1058"/>
                <a:gd name="T20" fmla="*/ 0 w 265"/>
                <a:gd name="T21" fmla="*/ 1025 h 1058"/>
                <a:gd name="T22" fmla="*/ 0 w 265"/>
                <a:gd name="T23" fmla="*/ 34 h 1058"/>
                <a:gd name="T24" fmla="*/ 0 w 265"/>
                <a:gd name="T25" fmla="*/ 34 h 1058"/>
                <a:gd name="T26" fmla="*/ 1 w 265"/>
                <a:gd name="T27" fmla="*/ 26 h 1058"/>
                <a:gd name="T28" fmla="*/ 3 w 265"/>
                <a:gd name="T29" fmla="*/ 20 h 1058"/>
                <a:gd name="T30" fmla="*/ 6 w 265"/>
                <a:gd name="T31" fmla="*/ 15 h 1058"/>
                <a:gd name="T32" fmla="*/ 10 w 265"/>
                <a:gd name="T33" fmla="*/ 10 h 1058"/>
                <a:gd name="T34" fmla="*/ 15 w 265"/>
                <a:gd name="T35" fmla="*/ 6 h 1058"/>
                <a:gd name="T36" fmla="*/ 21 w 265"/>
                <a:gd name="T37" fmla="*/ 3 h 1058"/>
                <a:gd name="T38" fmla="*/ 27 w 265"/>
                <a:gd name="T39" fmla="*/ 0 h 1058"/>
                <a:gd name="T40" fmla="*/ 33 w 265"/>
                <a:gd name="T41" fmla="*/ 0 h 1058"/>
                <a:gd name="T42" fmla="*/ 232 w 265"/>
                <a:gd name="T43" fmla="*/ 0 h 1058"/>
                <a:gd name="T44" fmla="*/ 232 w 265"/>
                <a:gd name="T45" fmla="*/ 0 h 1058"/>
                <a:gd name="T46" fmla="*/ 239 w 265"/>
                <a:gd name="T47" fmla="*/ 0 h 1058"/>
                <a:gd name="T48" fmla="*/ 245 w 265"/>
                <a:gd name="T49" fmla="*/ 3 h 1058"/>
                <a:gd name="T50" fmla="*/ 250 w 265"/>
                <a:gd name="T51" fmla="*/ 6 h 1058"/>
                <a:gd name="T52" fmla="*/ 255 w 265"/>
                <a:gd name="T53" fmla="*/ 10 h 1058"/>
                <a:gd name="T54" fmla="*/ 260 w 265"/>
                <a:gd name="T55" fmla="*/ 15 h 1058"/>
                <a:gd name="T56" fmla="*/ 263 w 265"/>
                <a:gd name="T57" fmla="*/ 20 h 1058"/>
                <a:gd name="T58" fmla="*/ 264 w 265"/>
                <a:gd name="T59" fmla="*/ 26 h 1058"/>
                <a:gd name="T60" fmla="*/ 265 w 265"/>
                <a:gd name="T61" fmla="*/ 34 h 1058"/>
                <a:gd name="T62" fmla="*/ 265 w 265"/>
                <a:gd name="T63" fmla="*/ 1025 h 1058"/>
                <a:gd name="T64" fmla="*/ 265 w 265"/>
                <a:gd name="T65" fmla="*/ 1025 h 1058"/>
                <a:gd name="T66" fmla="*/ 264 w 265"/>
                <a:gd name="T67" fmla="*/ 1033 h 1058"/>
                <a:gd name="T68" fmla="*/ 263 w 265"/>
                <a:gd name="T69" fmla="*/ 1039 h 1058"/>
                <a:gd name="T70" fmla="*/ 260 w 265"/>
                <a:gd name="T71" fmla="*/ 1044 h 1058"/>
                <a:gd name="T72" fmla="*/ 255 w 265"/>
                <a:gd name="T73" fmla="*/ 1049 h 1058"/>
                <a:gd name="T74" fmla="*/ 250 w 265"/>
                <a:gd name="T75" fmla="*/ 1053 h 1058"/>
                <a:gd name="T76" fmla="*/ 245 w 265"/>
                <a:gd name="T77" fmla="*/ 1056 h 1058"/>
                <a:gd name="T78" fmla="*/ 239 w 265"/>
                <a:gd name="T79" fmla="*/ 1057 h 1058"/>
                <a:gd name="T80" fmla="*/ 232 w 265"/>
                <a:gd name="T81" fmla="*/ 1058 h 1058"/>
                <a:gd name="T82" fmla="*/ 232 w 265"/>
                <a:gd name="T83" fmla="*/ 1058 h 1058"/>
                <a:gd name="T84" fmla="*/ 66 w 265"/>
                <a:gd name="T85" fmla="*/ 992 h 1058"/>
                <a:gd name="T86" fmla="*/ 199 w 265"/>
                <a:gd name="T87" fmla="*/ 992 h 1058"/>
                <a:gd name="T88" fmla="*/ 199 w 265"/>
                <a:gd name="T89" fmla="*/ 67 h 1058"/>
                <a:gd name="T90" fmla="*/ 66 w 265"/>
                <a:gd name="T91" fmla="*/ 67 h 1058"/>
                <a:gd name="T92" fmla="*/ 66 w 265"/>
                <a:gd name="T93" fmla="*/ 992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5" h="1058">
                  <a:moveTo>
                    <a:pt x="232" y="1058"/>
                  </a:moveTo>
                  <a:lnTo>
                    <a:pt x="33" y="1058"/>
                  </a:lnTo>
                  <a:lnTo>
                    <a:pt x="33" y="1058"/>
                  </a:lnTo>
                  <a:lnTo>
                    <a:pt x="27" y="1057"/>
                  </a:lnTo>
                  <a:lnTo>
                    <a:pt x="21" y="1056"/>
                  </a:lnTo>
                  <a:lnTo>
                    <a:pt x="15" y="1053"/>
                  </a:lnTo>
                  <a:lnTo>
                    <a:pt x="10" y="1049"/>
                  </a:lnTo>
                  <a:lnTo>
                    <a:pt x="6" y="1044"/>
                  </a:lnTo>
                  <a:lnTo>
                    <a:pt x="3" y="1039"/>
                  </a:lnTo>
                  <a:lnTo>
                    <a:pt x="1" y="1033"/>
                  </a:lnTo>
                  <a:lnTo>
                    <a:pt x="0" y="1025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5"/>
                  </a:lnTo>
                  <a:lnTo>
                    <a:pt x="10" y="10"/>
                  </a:lnTo>
                  <a:lnTo>
                    <a:pt x="15" y="6"/>
                  </a:lnTo>
                  <a:lnTo>
                    <a:pt x="21" y="3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9" y="0"/>
                  </a:lnTo>
                  <a:lnTo>
                    <a:pt x="245" y="3"/>
                  </a:lnTo>
                  <a:lnTo>
                    <a:pt x="250" y="6"/>
                  </a:lnTo>
                  <a:lnTo>
                    <a:pt x="255" y="10"/>
                  </a:lnTo>
                  <a:lnTo>
                    <a:pt x="260" y="15"/>
                  </a:lnTo>
                  <a:lnTo>
                    <a:pt x="263" y="20"/>
                  </a:lnTo>
                  <a:lnTo>
                    <a:pt x="264" y="26"/>
                  </a:lnTo>
                  <a:lnTo>
                    <a:pt x="265" y="34"/>
                  </a:lnTo>
                  <a:lnTo>
                    <a:pt x="265" y="1025"/>
                  </a:lnTo>
                  <a:lnTo>
                    <a:pt x="265" y="1025"/>
                  </a:lnTo>
                  <a:lnTo>
                    <a:pt x="264" y="1033"/>
                  </a:lnTo>
                  <a:lnTo>
                    <a:pt x="263" y="1039"/>
                  </a:lnTo>
                  <a:lnTo>
                    <a:pt x="260" y="1044"/>
                  </a:lnTo>
                  <a:lnTo>
                    <a:pt x="255" y="1049"/>
                  </a:lnTo>
                  <a:lnTo>
                    <a:pt x="250" y="1053"/>
                  </a:lnTo>
                  <a:lnTo>
                    <a:pt x="245" y="1056"/>
                  </a:lnTo>
                  <a:lnTo>
                    <a:pt x="239" y="1057"/>
                  </a:lnTo>
                  <a:lnTo>
                    <a:pt x="232" y="1058"/>
                  </a:lnTo>
                  <a:lnTo>
                    <a:pt x="232" y="1058"/>
                  </a:lnTo>
                  <a:close/>
                  <a:moveTo>
                    <a:pt x="66" y="992"/>
                  </a:moveTo>
                  <a:lnTo>
                    <a:pt x="199" y="992"/>
                  </a:lnTo>
                  <a:lnTo>
                    <a:pt x="199" y="67"/>
                  </a:lnTo>
                  <a:lnTo>
                    <a:pt x="66" y="67"/>
                  </a:lnTo>
                  <a:lnTo>
                    <a:pt x="66" y="9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77" name="Freeform 834">
              <a:extLst>
                <a:ext uri="{FF2B5EF4-FFF2-40B4-BE49-F238E27FC236}">
                  <a16:creationId xmlns="" xmlns:a16="http://schemas.microsoft.com/office/drawing/2014/main" id="{F93BBEC8-2EA2-4A1A-B137-0D079FFA4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77338" y="3759201"/>
              <a:ext cx="46038" cy="44450"/>
            </a:xfrm>
            <a:custGeom>
              <a:avLst/>
              <a:gdLst>
                <a:gd name="T0" fmla="*/ 99 w 199"/>
                <a:gd name="T1" fmla="*/ 199 h 199"/>
                <a:gd name="T2" fmla="*/ 80 w 199"/>
                <a:gd name="T3" fmla="*/ 197 h 199"/>
                <a:gd name="T4" fmla="*/ 61 w 199"/>
                <a:gd name="T5" fmla="*/ 191 h 199"/>
                <a:gd name="T6" fmla="*/ 43 w 199"/>
                <a:gd name="T7" fmla="*/ 182 h 199"/>
                <a:gd name="T8" fmla="*/ 29 w 199"/>
                <a:gd name="T9" fmla="*/ 170 h 199"/>
                <a:gd name="T10" fmla="*/ 17 w 199"/>
                <a:gd name="T11" fmla="*/ 155 h 199"/>
                <a:gd name="T12" fmla="*/ 8 w 199"/>
                <a:gd name="T13" fmla="*/ 139 h 199"/>
                <a:gd name="T14" fmla="*/ 2 w 199"/>
                <a:gd name="T15" fmla="*/ 120 h 199"/>
                <a:gd name="T16" fmla="*/ 0 w 199"/>
                <a:gd name="T17" fmla="*/ 99 h 199"/>
                <a:gd name="T18" fmla="*/ 1 w 199"/>
                <a:gd name="T19" fmla="*/ 89 h 199"/>
                <a:gd name="T20" fmla="*/ 4 w 199"/>
                <a:gd name="T21" fmla="*/ 70 h 199"/>
                <a:gd name="T22" fmla="*/ 12 w 199"/>
                <a:gd name="T23" fmla="*/ 53 h 199"/>
                <a:gd name="T24" fmla="*/ 23 w 199"/>
                <a:gd name="T25" fmla="*/ 36 h 199"/>
                <a:gd name="T26" fmla="*/ 36 w 199"/>
                <a:gd name="T27" fmla="*/ 23 h 199"/>
                <a:gd name="T28" fmla="*/ 52 w 199"/>
                <a:gd name="T29" fmla="*/ 12 h 199"/>
                <a:gd name="T30" fmla="*/ 70 w 199"/>
                <a:gd name="T31" fmla="*/ 5 h 199"/>
                <a:gd name="T32" fmla="*/ 89 w 199"/>
                <a:gd name="T33" fmla="*/ 1 h 199"/>
                <a:gd name="T34" fmla="*/ 99 w 199"/>
                <a:gd name="T35" fmla="*/ 0 h 199"/>
                <a:gd name="T36" fmla="*/ 119 w 199"/>
                <a:gd name="T37" fmla="*/ 2 h 199"/>
                <a:gd name="T38" fmla="*/ 137 w 199"/>
                <a:gd name="T39" fmla="*/ 8 h 199"/>
                <a:gd name="T40" fmla="*/ 155 w 199"/>
                <a:gd name="T41" fmla="*/ 18 h 199"/>
                <a:gd name="T42" fmla="*/ 170 w 199"/>
                <a:gd name="T43" fmla="*/ 30 h 199"/>
                <a:gd name="T44" fmla="*/ 181 w 199"/>
                <a:gd name="T45" fmla="*/ 44 h 199"/>
                <a:gd name="T46" fmla="*/ 190 w 199"/>
                <a:gd name="T47" fmla="*/ 61 h 199"/>
                <a:gd name="T48" fmla="*/ 196 w 199"/>
                <a:gd name="T49" fmla="*/ 80 h 199"/>
                <a:gd name="T50" fmla="*/ 199 w 199"/>
                <a:gd name="T51" fmla="*/ 99 h 199"/>
                <a:gd name="T52" fmla="*/ 198 w 199"/>
                <a:gd name="T53" fmla="*/ 110 h 199"/>
                <a:gd name="T54" fmla="*/ 194 w 199"/>
                <a:gd name="T55" fmla="*/ 129 h 199"/>
                <a:gd name="T56" fmla="*/ 186 w 199"/>
                <a:gd name="T57" fmla="*/ 147 h 199"/>
                <a:gd name="T58" fmla="*/ 176 w 199"/>
                <a:gd name="T59" fmla="*/ 162 h 199"/>
                <a:gd name="T60" fmla="*/ 162 w 199"/>
                <a:gd name="T61" fmla="*/ 176 h 199"/>
                <a:gd name="T62" fmla="*/ 147 w 199"/>
                <a:gd name="T63" fmla="*/ 187 h 199"/>
                <a:gd name="T64" fmla="*/ 128 w 199"/>
                <a:gd name="T65" fmla="*/ 195 h 199"/>
                <a:gd name="T66" fmla="*/ 110 w 199"/>
                <a:gd name="T67" fmla="*/ 199 h 199"/>
                <a:gd name="T68" fmla="*/ 99 w 199"/>
                <a:gd name="T69" fmla="*/ 199 h 199"/>
                <a:gd name="T70" fmla="*/ 99 w 199"/>
                <a:gd name="T71" fmla="*/ 66 h 199"/>
                <a:gd name="T72" fmla="*/ 87 w 199"/>
                <a:gd name="T73" fmla="*/ 69 h 199"/>
                <a:gd name="T74" fmla="*/ 75 w 199"/>
                <a:gd name="T75" fmla="*/ 77 h 199"/>
                <a:gd name="T76" fmla="*/ 69 w 199"/>
                <a:gd name="T77" fmla="*/ 87 h 199"/>
                <a:gd name="T78" fmla="*/ 66 w 199"/>
                <a:gd name="T79" fmla="*/ 99 h 199"/>
                <a:gd name="T80" fmla="*/ 67 w 199"/>
                <a:gd name="T81" fmla="*/ 107 h 199"/>
                <a:gd name="T82" fmla="*/ 72 w 199"/>
                <a:gd name="T83" fmla="*/ 118 h 199"/>
                <a:gd name="T84" fmla="*/ 81 w 199"/>
                <a:gd name="T85" fmla="*/ 127 h 199"/>
                <a:gd name="T86" fmla="*/ 93 w 199"/>
                <a:gd name="T87" fmla="*/ 132 h 199"/>
                <a:gd name="T88" fmla="*/ 99 w 199"/>
                <a:gd name="T89" fmla="*/ 132 h 199"/>
                <a:gd name="T90" fmla="*/ 112 w 199"/>
                <a:gd name="T91" fmla="*/ 130 h 199"/>
                <a:gd name="T92" fmla="*/ 123 w 199"/>
                <a:gd name="T93" fmla="*/ 123 h 199"/>
                <a:gd name="T94" fmla="*/ 129 w 199"/>
                <a:gd name="T95" fmla="*/ 113 h 199"/>
                <a:gd name="T96" fmla="*/ 132 w 199"/>
                <a:gd name="T97" fmla="*/ 99 h 199"/>
                <a:gd name="T98" fmla="*/ 131 w 199"/>
                <a:gd name="T99" fmla="*/ 93 h 199"/>
                <a:gd name="T100" fmla="*/ 126 w 199"/>
                <a:gd name="T101" fmla="*/ 81 h 199"/>
                <a:gd name="T102" fmla="*/ 118 w 199"/>
                <a:gd name="T103" fmla="*/ 72 h 199"/>
                <a:gd name="T104" fmla="*/ 105 w 199"/>
                <a:gd name="T105" fmla="*/ 67 h 199"/>
                <a:gd name="T106" fmla="*/ 99 w 199"/>
                <a:gd name="T107" fmla="*/ 6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9" h="199">
                  <a:moveTo>
                    <a:pt x="99" y="199"/>
                  </a:moveTo>
                  <a:lnTo>
                    <a:pt x="99" y="199"/>
                  </a:lnTo>
                  <a:lnTo>
                    <a:pt x="89" y="199"/>
                  </a:lnTo>
                  <a:lnTo>
                    <a:pt x="80" y="197"/>
                  </a:lnTo>
                  <a:lnTo>
                    <a:pt x="70" y="195"/>
                  </a:lnTo>
                  <a:lnTo>
                    <a:pt x="61" y="191"/>
                  </a:lnTo>
                  <a:lnTo>
                    <a:pt x="52" y="187"/>
                  </a:lnTo>
                  <a:lnTo>
                    <a:pt x="43" y="182"/>
                  </a:lnTo>
                  <a:lnTo>
                    <a:pt x="36" y="176"/>
                  </a:lnTo>
                  <a:lnTo>
                    <a:pt x="29" y="170"/>
                  </a:lnTo>
                  <a:lnTo>
                    <a:pt x="23" y="162"/>
                  </a:lnTo>
                  <a:lnTo>
                    <a:pt x="17" y="155"/>
                  </a:lnTo>
                  <a:lnTo>
                    <a:pt x="12" y="147"/>
                  </a:lnTo>
                  <a:lnTo>
                    <a:pt x="8" y="139"/>
                  </a:lnTo>
                  <a:lnTo>
                    <a:pt x="4" y="129"/>
                  </a:lnTo>
                  <a:lnTo>
                    <a:pt x="2" y="120"/>
                  </a:lnTo>
                  <a:lnTo>
                    <a:pt x="1" y="110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1" y="89"/>
                  </a:lnTo>
                  <a:lnTo>
                    <a:pt x="2" y="80"/>
                  </a:lnTo>
                  <a:lnTo>
                    <a:pt x="4" y="70"/>
                  </a:lnTo>
                  <a:lnTo>
                    <a:pt x="8" y="61"/>
                  </a:lnTo>
                  <a:lnTo>
                    <a:pt x="12" y="53"/>
                  </a:lnTo>
                  <a:lnTo>
                    <a:pt x="17" y="44"/>
                  </a:lnTo>
                  <a:lnTo>
                    <a:pt x="23" y="36"/>
                  </a:lnTo>
                  <a:lnTo>
                    <a:pt x="29" y="30"/>
                  </a:lnTo>
                  <a:lnTo>
                    <a:pt x="36" y="23"/>
                  </a:lnTo>
                  <a:lnTo>
                    <a:pt x="43" y="18"/>
                  </a:lnTo>
                  <a:lnTo>
                    <a:pt x="52" y="12"/>
                  </a:lnTo>
                  <a:lnTo>
                    <a:pt x="61" y="8"/>
                  </a:lnTo>
                  <a:lnTo>
                    <a:pt x="70" y="5"/>
                  </a:lnTo>
                  <a:lnTo>
                    <a:pt x="80" y="2"/>
                  </a:lnTo>
                  <a:lnTo>
                    <a:pt x="89" y="1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10" y="1"/>
                  </a:lnTo>
                  <a:lnTo>
                    <a:pt x="119" y="2"/>
                  </a:lnTo>
                  <a:lnTo>
                    <a:pt x="128" y="5"/>
                  </a:lnTo>
                  <a:lnTo>
                    <a:pt x="137" y="8"/>
                  </a:lnTo>
                  <a:lnTo>
                    <a:pt x="147" y="12"/>
                  </a:lnTo>
                  <a:lnTo>
                    <a:pt x="155" y="18"/>
                  </a:lnTo>
                  <a:lnTo>
                    <a:pt x="162" y="23"/>
                  </a:lnTo>
                  <a:lnTo>
                    <a:pt x="170" y="30"/>
                  </a:lnTo>
                  <a:lnTo>
                    <a:pt x="176" y="36"/>
                  </a:lnTo>
                  <a:lnTo>
                    <a:pt x="181" y="44"/>
                  </a:lnTo>
                  <a:lnTo>
                    <a:pt x="186" y="53"/>
                  </a:lnTo>
                  <a:lnTo>
                    <a:pt x="190" y="61"/>
                  </a:lnTo>
                  <a:lnTo>
                    <a:pt x="194" y="70"/>
                  </a:lnTo>
                  <a:lnTo>
                    <a:pt x="196" y="80"/>
                  </a:lnTo>
                  <a:lnTo>
                    <a:pt x="198" y="89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198" y="110"/>
                  </a:lnTo>
                  <a:lnTo>
                    <a:pt x="196" y="120"/>
                  </a:lnTo>
                  <a:lnTo>
                    <a:pt x="194" y="129"/>
                  </a:lnTo>
                  <a:lnTo>
                    <a:pt x="190" y="139"/>
                  </a:lnTo>
                  <a:lnTo>
                    <a:pt x="186" y="147"/>
                  </a:lnTo>
                  <a:lnTo>
                    <a:pt x="181" y="155"/>
                  </a:lnTo>
                  <a:lnTo>
                    <a:pt x="176" y="162"/>
                  </a:lnTo>
                  <a:lnTo>
                    <a:pt x="170" y="170"/>
                  </a:lnTo>
                  <a:lnTo>
                    <a:pt x="162" y="176"/>
                  </a:lnTo>
                  <a:lnTo>
                    <a:pt x="155" y="182"/>
                  </a:lnTo>
                  <a:lnTo>
                    <a:pt x="147" y="187"/>
                  </a:lnTo>
                  <a:lnTo>
                    <a:pt x="137" y="191"/>
                  </a:lnTo>
                  <a:lnTo>
                    <a:pt x="128" y="195"/>
                  </a:lnTo>
                  <a:lnTo>
                    <a:pt x="119" y="197"/>
                  </a:lnTo>
                  <a:lnTo>
                    <a:pt x="110" y="199"/>
                  </a:lnTo>
                  <a:lnTo>
                    <a:pt x="99" y="199"/>
                  </a:lnTo>
                  <a:lnTo>
                    <a:pt x="99" y="199"/>
                  </a:lnTo>
                  <a:close/>
                  <a:moveTo>
                    <a:pt x="99" y="66"/>
                  </a:moveTo>
                  <a:lnTo>
                    <a:pt x="99" y="66"/>
                  </a:lnTo>
                  <a:lnTo>
                    <a:pt x="93" y="67"/>
                  </a:lnTo>
                  <a:lnTo>
                    <a:pt x="87" y="69"/>
                  </a:lnTo>
                  <a:lnTo>
                    <a:pt x="81" y="72"/>
                  </a:lnTo>
                  <a:lnTo>
                    <a:pt x="75" y="77"/>
                  </a:lnTo>
                  <a:lnTo>
                    <a:pt x="72" y="81"/>
                  </a:lnTo>
                  <a:lnTo>
                    <a:pt x="69" y="87"/>
                  </a:lnTo>
                  <a:lnTo>
                    <a:pt x="67" y="93"/>
                  </a:lnTo>
                  <a:lnTo>
                    <a:pt x="66" y="99"/>
                  </a:lnTo>
                  <a:lnTo>
                    <a:pt x="66" y="99"/>
                  </a:lnTo>
                  <a:lnTo>
                    <a:pt x="67" y="107"/>
                  </a:lnTo>
                  <a:lnTo>
                    <a:pt x="69" y="113"/>
                  </a:lnTo>
                  <a:lnTo>
                    <a:pt x="72" y="118"/>
                  </a:lnTo>
                  <a:lnTo>
                    <a:pt x="75" y="123"/>
                  </a:lnTo>
                  <a:lnTo>
                    <a:pt x="81" y="127"/>
                  </a:lnTo>
                  <a:lnTo>
                    <a:pt x="87" y="130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99" y="132"/>
                  </a:lnTo>
                  <a:lnTo>
                    <a:pt x="105" y="132"/>
                  </a:lnTo>
                  <a:lnTo>
                    <a:pt x="112" y="130"/>
                  </a:lnTo>
                  <a:lnTo>
                    <a:pt x="118" y="127"/>
                  </a:lnTo>
                  <a:lnTo>
                    <a:pt x="123" y="123"/>
                  </a:lnTo>
                  <a:lnTo>
                    <a:pt x="126" y="118"/>
                  </a:lnTo>
                  <a:lnTo>
                    <a:pt x="129" y="113"/>
                  </a:lnTo>
                  <a:lnTo>
                    <a:pt x="131" y="107"/>
                  </a:lnTo>
                  <a:lnTo>
                    <a:pt x="132" y="99"/>
                  </a:lnTo>
                  <a:lnTo>
                    <a:pt x="132" y="99"/>
                  </a:lnTo>
                  <a:lnTo>
                    <a:pt x="131" y="93"/>
                  </a:lnTo>
                  <a:lnTo>
                    <a:pt x="129" y="87"/>
                  </a:lnTo>
                  <a:lnTo>
                    <a:pt x="126" y="81"/>
                  </a:lnTo>
                  <a:lnTo>
                    <a:pt x="123" y="77"/>
                  </a:lnTo>
                  <a:lnTo>
                    <a:pt x="118" y="72"/>
                  </a:lnTo>
                  <a:lnTo>
                    <a:pt x="112" y="69"/>
                  </a:lnTo>
                  <a:lnTo>
                    <a:pt x="105" y="67"/>
                  </a:lnTo>
                  <a:lnTo>
                    <a:pt x="99" y="66"/>
                  </a:lnTo>
                  <a:lnTo>
                    <a:pt x="9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78" name="Freeform 835">
              <a:extLst>
                <a:ext uri="{FF2B5EF4-FFF2-40B4-BE49-F238E27FC236}">
                  <a16:creationId xmlns="" xmlns:a16="http://schemas.microsoft.com/office/drawing/2014/main" id="{67CC1987-5D23-4554-BA8B-1CD52BDEDA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67825" y="3684588"/>
              <a:ext cx="44450" cy="44450"/>
            </a:xfrm>
            <a:custGeom>
              <a:avLst/>
              <a:gdLst>
                <a:gd name="T0" fmla="*/ 99 w 198"/>
                <a:gd name="T1" fmla="*/ 198 h 198"/>
                <a:gd name="T2" fmla="*/ 79 w 198"/>
                <a:gd name="T3" fmla="*/ 196 h 198"/>
                <a:gd name="T4" fmla="*/ 60 w 198"/>
                <a:gd name="T5" fmla="*/ 190 h 198"/>
                <a:gd name="T6" fmla="*/ 44 w 198"/>
                <a:gd name="T7" fmla="*/ 181 h 198"/>
                <a:gd name="T8" fmla="*/ 29 w 198"/>
                <a:gd name="T9" fmla="*/ 169 h 198"/>
                <a:gd name="T10" fmla="*/ 17 w 198"/>
                <a:gd name="T11" fmla="*/ 154 h 198"/>
                <a:gd name="T12" fmla="*/ 7 w 198"/>
                <a:gd name="T13" fmla="*/ 137 h 198"/>
                <a:gd name="T14" fmla="*/ 2 w 198"/>
                <a:gd name="T15" fmla="*/ 119 h 198"/>
                <a:gd name="T16" fmla="*/ 0 w 198"/>
                <a:gd name="T17" fmla="*/ 99 h 198"/>
                <a:gd name="T18" fmla="*/ 0 w 198"/>
                <a:gd name="T19" fmla="*/ 89 h 198"/>
                <a:gd name="T20" fmla="*/ 4 w 198"/>
                <a:gd name="T21" fmla="*/ 69 h 198"/>
                <a:gd name="T22" fmla="*/ 12 w 198"/>
                <a:gd name="T23" fmla="*/ 51 h 198"/>
                <a:gd name="T24" fmla="*/ 23 w 198"/>
                <a:gd name="T25" fmla="*/ 36 h 198"/>
                <a:gd name="T26" fmla="*/ 36 w 198"/>
                <a:gd name="T27" fmla="*/ 22 h 198"/>
                <a:gd name="T28" fmla="*/ 52 w 198"/>
                <a:gd name="T29" fmla="*/ 11 h 198"/>
                <a:gd name="T30" fmla="*/ 70 w 198"/>
                <a:gd name="T31" fmla="*/ 4 h 198"/>
                <a:gd name="T32" fmla="*/ 89 w 198"/>
                <a:gd name="T33" fmla="*/ 0 h 198"/>
                <a:gd name="T34" fmla="*/ 99 w 198"/>
                <a:gd name="T35" fmla="*/ 0 h 198"/>
                <a:gd name="T36" fmla="*/ 119 w 198"/>
                <a:gd name="T37" fmla="*/ 2 h 198"/>
                <a:gd name="T38" fmla="*/ 138 w 198"/>
                <a:gd name="T39" fmla="*/ 7 h 198"/>
                <a:gd name="T40" fmla="*/ 154 w 198"/>
                <a:gd name="T41" fmla="*/ 16 h 198"/>
                <a:gd name="T42" fmla="*/ 169 w 198"/>
                <a:gd name="T43" fmla="*/ 29 h 198"/>
                <a:gd name="T44" fmla="*/ 181 w 198"/>
                <a:gd name="T45" fmla="*/ 43 h 198"/>
                <a:gd name="T46" fmla="*/ 191 w 198"/>
                <a:gd name="T47" fmla="*/ 60 h 198"/>
                <a:gd name="T48" fmla="*/ 196 w 198"/>
                <a:gd name="T49" fmla="*/ 78 h 198"/>
                <a:gd name="T50" fmla="*/ 198 w 198"/>
                <a:gd name="T51" fmla="*/ 99 h 198"/>
                <a:gd name="T52" fmla="*/ 198 w 198"/>
                <a:gd name="T53" fmla="*/ 109 h 198"/>
                <a:gd name="T54" fmla="*/ 194 w 198"/>
                <a:gd name="T55" fmla="*/ 128 h 198"/>
                <a:gd name="T56" fmla="*/ 187 w 198"/>
                <a:gd name="T57" fmla="*/ 146 h 198"/>
                <a:gd name="T58" fmla="*/ 175 w 198"/>
                <a:gd name="T59" fmla="*/ 162 h 198"/>
                <a:gd name="T60" fmla="*/ 162 w 198"/>
                <a:gd name="T61" fmla="*/ 176 h 198"/>
                <a:gd name="T62" fmla="*/ 146 w 198"/>
                <a:gd name="T63" fmla="*/ 186 h 198"/>
                <a:gd name="T64" fmla="*/ 129 w 198"/>
                <a:gd name="T65" fmla="*/ 193 h 198"/>
                <a:gd name="T66" fmla="*/ 109 w 198"/>
                <a:gd name="T67" fmla="*/ 197 h 198"/>
                <a:gd name="T68" fmla="*/ 99 w 198"/>
                <a:gd name="T69" fmla="*/ 198 h 198"/>
                <a:gd name="T70" fmla="*/ 99 w 198"/>
                <a:gd name="T71" fmla="*/ 66 h 198"/>
                <a:gd name="T72" fmla="*/ 86 w 198"/>
                <a:gd name="T73" fmla="*/ 68 h 198"/>
                <a:gd name="T74" fmla="*/ 76 w 198"/>
                <a:gd name="T75" fmla="*/ 75 h 198"/>
                <a:gd name="T76" fmla="*/ 69 w 198"/>
                <a:gd name="T77" fmla="*/ 86 h 198"/>
                <a:gd name="T78" fmla="*/ 65 w 198"/>
                <a:gd name="T79" fmla="*/ 99 h 198"/>
                <a:gd name="T80" fmla="*/ 66 w 198"/>
                <a:gd name="T81" fmla="*/ 105 h 198"/>
                <a:gd name="T82" fmla="*/ 72 w 198"/>
                <a:gd name="T83" fmla="*/ 118 h 198"/>
                <a:gd name="T84" fmla="*/ 81 w 198"/>
                <a:gd name="T85" fmla="*/ 126 h 198"/>
                <a:gd name="T86" fmla="*/ 92 w 198"/>
                <a:gd name="T87" fmla="*/ 131 h 198"/>
                <a:gd name="T88" fmla="*/ 99 w 198"/>
                <a:gd name="T89" fmla="*/ 132 h 198"/>
                <a:gd name="T90" fmla="*/ 112 w 198"/>
                <a:gd name="T91" fmla="*/ 129 h 198"/>
                <a:gd name="T92" fmla="*/ 122 w 198"/>
                <a:gd name="T93" fmla="*/ 122 h 198"/>
                <a:gd name="T94" fmla="*/ 130 w 198"/>
                <a:gd name="T95" fmla="*/ 112 h 198"/>
                <a:gd name="T96" fmla="*/ 132 w 198"/>
                <a:gd name="T97" fmla="*/ 99 h 198"/>
                <a:gd name="T98" fmla="*/ 132 w 198"/>
                <a:gd name="T99" fmla="*/ 92 h 198"/>
                <a:gd name="T100" fmla="*/ 127 w 198"/>
                <a:gd name="T101" fmla="*/ 80 h 198"/>
                <a:gd name="T102" fmla="*/ 117 w 198"/>
                <a:gd name="T103" fmla="*/ 71 h 198"/>
                <a:gd name="T104" fmla="*/ 106 w 198"/>
                <a:gd name="T105" fmla="*/ 66 h 198"/>
                <a:gd name="T106" fmla="*/ 99 w 198"/>
                <a:gd name="T107" fmla="*/ 6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8" h="198">
                  <a:moveTo>
                    <a:pt x="99" y="198"/>
                  </a:moveTo>
                  <a:lnTo>
                    <a:pt x="99" y="198"/>
                  </a:lnTo>
                  <a:lnTo>
                    <a:pt x="89" y="197"/>
                  </a:lnTo>
                  <a:lnTo>
                    <a:pt x="79" y="196"/>
                  </a:lnTo>
                  <a:lnTo>
                    <a:pt x="70" y="193"/>
                  </a:lnTo>
                  <a:lnTo>
                    <a:pt x="60" y="190"/>
                  </a:lnTo>
                  <a:lnTo>
                    <a:pt x="52" y="186"/>
                  </a:lnTo>
                  <a:lnTo>
                    <a:pt x="44" y="181"/>
                  </a:lnTo>
                  <a:lnTo>
                    <a:pt x="36" y="176"/>
                  </a:lnTo>
                  <a:lnTo>
                    <a:pt x="29" y="169"/>
                  </a:lnTo>
                  <a:lnTo>
                    <a:pt x="23" y="162"/>
                  </a:lnTo>
                  <a:lnTo>
                    <a:pt x="17" y="154"/>
                  </a:lnTo>
                  <a:lnTo>
                    <a:pt x="12" y="146"/>
                  </a:lnTo>
                  <a:lnTo>
                    <a:pt x="7" y="137"/>
                  </a:lnTo>
                  <a:lnTo>
                    <a:pt x="4" y="128"/>
                  </a:lnTo>
                  <a:lnTo>
                    <a:pt x="2" y="119"/>
                  </a:lnTo>
                  <a:lnTo>
                    <a:pt x="0" y="10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89"/>
                  </a:lnTo>
                  <a:lnTo>
                    <a:pt x="2" y="78"/>
                  </a:lnTo>
                  <a:lnTo>
                    <a:pt x="4" y="69"/>
                  </a:lnTo>
                  <a:lnTo>
                    <a:pt x="7" y="60"/>
                  </a:lnTo>
                  <a:lnTo>
                    <a:pt x="12" y="51"/>
                  </a:lnTo>
                  <a:lnTo>
                    <a:pt x="17" y="43"/>
                  </a:lnTo>
                  <a:lnTo>
                    <a:pt x="23" y="36"/>
                  </a:lnTo>
                  <a:lnTo>
                    <a:pt x="29" y="29"/>
                  </a:lnTo>
                  <a:lnTo>
                    <a:pt x="36" y="22"/>
                  </a:lnTo>
                  <a:lnTo>
                    <a:pt x="44" y="16"/>
                  </a:lnTo>
                  <a:lnTo>
                    <a:pt x="52" y="11"/>
                  </a:lnTo>
                  <a:lnTo>
                    <a:pt x="60" y="7"/>
                  </a:lnTo>
                  <a:lnTo>
                    <a:pt x="70" y="4"/>
                  </a:lnTo>
                  <a:lnTo>
                    <a:pt x="79" y="2"/>
                  </a:lnTo>
                  <a:lnTo>
                    <a:pt x="8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9" y="0"/>
                  </a:lnTo>
                  <a:lnTo>
                    <a:pt x="119" y="2"/>
                  </a:lnTo>
                  <a:lnTo>
                    <a:pt x="129" y="4"/>
                  </a:lnTo>
                  <a:lnTo>
                    <a:pt x="138" y="7"/>
                  </a:lnTo>
                  <a:lnTo>
                    <a:pt x="146" y="11"/>
                  </a:lnTo>
                  <a:lnTo>
                    <a:pt x="154" y="16"/>
                  </a:lnTo>
                  <a:lnTo>
                    <a:pt x="162" y="22"/>
                  </a:lnTo>
                  <a:lnTo>
                    <a:pt x="169" y="29"/>
                  </a:lnTo>
                  <a:lnTo>
                    <a:pt x="175" y="36"/>
                  </a:lnTo>
                  <a:lnTo>
                    <a:pt x="181" y="43"/>
                  </a:lnTo>
                  <a:lnTo>
                    <a:pt x="187" y="51"/>
                  </a:lnTo>
                  <a:lnTo>
                    <a:pt x="191" y="60"/>
                  </a:lnTo>
                  <a:lnTo>
                    <a:pt x="194" y="69"/>
                  </a:lnTo>
                  <a:lnTo>
                    <a:pt x="196" y="78"/>
                  </a:lnTo>
                  <a:lnTo>
                    <a:pt x="198" y="8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109"/>
                  </a:lnTo>
                  <a:lnTo>
                    <a:pt x="196" y="119"/>
                  </a:lnTo>
                  <a:lnTo>
                    <a:pt x="194" y="128"/>
                  </a:lnTo>
                  <a:lnTo>
                    <a:pt x="191" y="137"/>
                  </a:lnTo>
                  <a:lnTo>
                    <a:pt x="187" y="146"/>
                  </a:lnTo>
                  <a:lnTo>
                    <a:pt x="181" y="154"/>
                  </a:lnTo>
                  <a:lnTo>
                    <a:pt x="175" y="162"/>
                  </a:lnTo>
                  <a:lnTo>
                    <a:pt x="169" y="169"/>
                  </a:lnTo>
                  <a:lnTo>
                    <a:pt x="162" y="176"/>
                  </a:lnTo>
                  <a:lnTo>
                    <a:pt x="154" y="181"/>
                  </a:lnTo>
                  <a:lnTo>
                    <a:pt x="146" y="186"/>
                  </a:lnTo>
                  <a:lnTo>
                    <a:pt x="138" y="190"/>
                  </a:lnTo>
                  <a:lnTo>
                    <a:pt x="129" y="193"/>
                  </a:lnTo>
                  <a:lnTo>
                    <a:pt x="119" y="196"/>
                  </a:lnTo>
                  <a:lnTo>
                    <a:pt x="109" y="197"/>
                  </a:lnTo>
                  <a:lnTo>
                    <a:pt x="99" y="198"/>
                  </a:lnTo>
                  <a:lnTo>
                    <a:pt x="99" y="198"/>
                  </a:lnTo>
                  <a:close/>
                  <a:moveTo>
                    <a:pt x="99" y="66"/>
                  </a:moveTo>
                  <a:lnTo>
                    <a:pt x="99" y="66"/>
                  </a:lnTo>
                  <a:lnTo>
                    <a:pt x="92" y="66"/>
                  </a:lnTo>
                  <a:lnTo>
                    <a:pt x="86" y="68"/>
                  </a:lnTo>
                  <a:lnTo>
                    <a:pt x="81" y="71"/>
                  </a:lnTo>
                  <a:lnTo>
                    <a:pt x="76" y="75"/>
                  </a:lnTo>
                  <a:lnTo>
                    <a:pt x="72" y="80"/>
                  </a:lnTo>
                  <a:lnTo>
                    <a:pt x="69" y="86"/>
                  </a:lnTo>
                  <a:lnTo>
                    <a:pt x="66" y="92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6" y="105"/>
                  </a:lnTo>
                  <a:lnTo>
                    <a:pt x="69" y="112"/>
                  </a:lnTo>
                  <a:lnTo>
                    <a:pt x="72" y="118"/>
                  </a:lnTo>
                  <a:lnTo>
                    <a:pt x="76" y="122"/>
                  </a:lnTo>
                  <a:lnTo>
                    <a:pt x="81" y="126"/>
                  </a:lnTo>
                  <a:lnTo>
                    <a:pt x="86" y="129"/>
                  </a:lnTo>
                  <a:lnTo>
                    <a:pt x="92" y="131"/>
                  </a:lnTo>
                  <a:lnTo>
                    <a:pt x="99" y="132"/>
                  </a:lnTo>
                  <a:lnTo>
                    <a:pt x="99" y="132"/>
                  </a:lnTo>
                  <a:lnTo>
                    <a:pt x="106" y="131"/>
                  </a:lnTo>
                  <a:lnTo>
                    <a:pt x="112" y="129"/>
                  </a:lnTo>
                  <a:lnTo>
                    <a:pt x="117" y="126"/>
                  </a:lnTo>
                  <a:lnTo>
                    <a:pt x="122" y="122"/>
                  </a:lnTo>
                  <a:lnTo>
                    <a:pt x="127" y="118"/>
                  </a:lnTo>
                  <a:lnTo>
                    <a:pt x="130" y="112"/>
                  </a:lnTo>
                  <a:lnTo>
                    <a:pt x="132" y="105"/>
                  </a:lnTo>
                  <a:lnTo>
                    <a:pt x="132" y="99"/>
                  </a:lnTo>
                  <a:lnTo>
                    <a:pt x="132" y="99"/>
                  </a:lnTo>
                  <a:lnTo>
                    <a:pt x="132" y="92"/>
                  </a:lnTo>
                  <a:lnTo>
                    <a:pt x="130" y="86"/>
                  </a:lnTo>
                  <a:lnTo>
                    <a:pt x="127" y="80"/>
                  </a:lnTo>
                  <a:lnTo>
                    <a:pt x="122" y="75"/>
                  </a:lnTo>
                  <a:lnTo>
                    <a:pt x="117" y="71"/>
                  </a:lnTo>
                  <a:lnTo>
                    <a:pt x="112" y="68"/>
                  </a:lnTo>
                  <a:lnTo>
                    <a:pt x="106" y="66"/>
                  </a:lnTo>
                  <a:lnTo>
                    <a:pt x="99" y="66"/>
                  </a:lnTo>
                  <a:lnTo>
                    <a:pt x="9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79" name="Freeform 836">
              <a:extLst>
                <a:ext uri="{FF2B5EF4-FFF2-40B4-BE49-F238E27FC236}">
                  <a16:creationId xmlns="" xmlns:a16="http://schemas.microsoft.com/office/drawing/2014/main" id="{C00194DA-FDC3-40D7-93E0-F2CD67FEA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8313" y="3714751"/>
              <a:ext cx="44450" cy="44450"/>
            </a:xfrm>
            <a:custGeom>
              <a:avLst/>
              <a:gdLst>
                <a:gd name="T0" fmla="*/ 99 w 198"/>
                <a:gd name="T1" fmla="*/ 198 h 198"/>
                <a:gd name="T2" fmla="*/ 79 w 198"/>
                <a:gd name="T3" fmla="*/ 196 h 198"/>
                <a:gd name="T4" fmla="*/ 61 w 198"/>
                <a:gd name="T5" fmla="*/ 191 h 198"/>
                <a:gd name="T6" fmla="*/ 43 w 198"/>
                <a:gd name="T7" fmla="*/ 181 h 198"/>
                <a:gd name="T8" fmla="*/ 29 w 198"/>
                <a:gd name="T9" fmla="*/ 169 h 198"/>
                <a:gd name="T10" fmla="*/ 16 w 198"/>
                <a:gd name="T11" fmla="*/ 154 h 198"/>
                <a:gd name="T12" fmla="*/ 8 w 198"/>
                <a:gd name="T13" fmla="*/ 138 h 198"/>
                <a:gd name="T14" fmla="*/ 2 w 198"/>
                <a:gd name="T15" fmla="*/ 119 h 198"/>
                <a:gd name="T16" fmla="*/ 0 w 198"/>
                <a:gd name="T17" fmla="*/ 100 h 198"/>
                <a:gd name="T18" fmla="*/ 1 w 198"/>
                <a:gd name="T19" fmla="*/ 89 h 198"/>
                <a:gd name="T20" fmla="*/ 4 w 198"/>
                <a:gd name="T21" fmla="*/ 70 h 198"/>
                <a:gd name="T22" fmla="*/ 12 w 198"/>
                <a:gd name="T23" fmla="*/ 52 h 198"/>
                <a:gd name="T24" fmla="*/ 22 w 198"/>
                <a:gd name="T25" fmla="*/ 36 h 198"/>
                <a:gd name="T26" fmla="*/ 36 w 198"/>
                <a:gd name="T27" fmla="*/ 23 h 198"/>
                <a:gd name="T28" fmla="*/ 51 w 198"/>
                <a:gd name="T29" fmla="*/ 12 h 198"/>
                <a:gd name="T30" fmla="*/ 69 w 198"/>
                <a:gd name="T31" fmla="*/ 4 h 198"/>
                <a:gd name="T32" fmla="*/ 89 w 198"/>
                <a:gd name="T33" fmla="*/ 0 h 198"/>
                <a:gd name="T34" fmla="*/ 99 w 198"/>
                <a:gd name="T35" fmla="*/ 0 h 198"/>
                <a:gd name="T36" fmla="*/ 119 w 198"/>
                <a:gd name="T37" fmla="*/ 2 h 198"/>
                <a:gd name="T38" fmla="*/ 137 w 198"/>
                <a:gd name="T39" fmla="*/ 7 h 198"/>
                <a:gd name="T40" fmla="*/ 154 w 198"/>
                <a:gd name="T41" fmla="*/ 17 h 198"/>
                <a:gd name="T42" fmla="*/ 169 w 198"/>
                <a:gd name="T43" fmla="*/ 29 h 198"/>
                <a:gd name="T44" fmla="*/ 181 w 198"/>
                <a:gd name="T45" fmla="*/ 44 h 198"/>
                <a:gd name="T46" fmla="*/ 190 w 198"/>
                <a:gd name="T47" fmla="*/ 60 h 198"/>
                <a:gd name="T48" fmla="*/ 196 w 198"/>
                <a:gd name="T49" fmla="*/ 79 h 198"/>
                <a:gd name="T50" fmla="*/ 198 w 198"/>
                <a:gd name="T51" fmla="*/ 100 h 198"/>
                <a:gd name="T52" fmla="*/ 197 w 198"/>
                <a:gd name="T53" fmla="*/ 109 h 198"/>
                <a:gd name="T54" fmla="*/ 193 w 198"/>
                <a:gd name="T55" fmla="*/ 129 h 198"/>
                <a:gd name="T56" fmla="*/ 186 w 198"/>
                <a:gd name="T57" fmla="*/ 146 h 198"/>
                <a:gd name="T58" fmla="*/ 176 w 198"/>
                <a:gd name="T59" fmla="*/ 163 h 198"/>
                <a:gd name="T60" fmla="*/ 162 w 198"/>
                <a:gd name="T61" fmla="*/ 176 h 198"/>
                <a:gd name="T62" fmla="*/ 147 w 198"/>
                <a:gd name="T63" fmla="*/ 187 h 198"/>
                <a:gd name="T64" fmla="*/ 128 w 198"/>
                <a:gd name="T65" fmla="*/ 194 h 198"/>
                <a:gd name="T66" fmla="*/ 109 w 198"/>
                <a:gd name="T67" fmla="*/ 198 h 198"/>
                <a:gd name="T68" fmla="*/ 99 w 198"/>
                <a:gd name="T69" fmla="*/ 198 h 198"/>
                <a:gd name="T70" fmla="*/ 99 w 198"/>
                <a:gd name="T71" fmla="*/ 66 h 198"/>
                <a:gd name="T72" fmla="*/ 85 w 198"/>
                <a:gd name="T73" fmla="*/ 69 h 198"/>
                <a:gd name="T74" fmla="*/ 75 w 198"/>
                <a:gd name="T75" fmla="*/ 76 h 198"/>
                <a:gd name="T76" fmla="*/ 68 w 198"/>
                <a:gd name="T77" fmla="*/ 86 h 198"/>
                <a:gd name="T78" fmla="*/ 66 w 198"/>
                <a:gd name="T79" fmla="*/ 100 h 198"/>
                <a:gd name="T80" fmla="*/ 67 w 198"/>
                <a:gd name="T81" fmla="*/ 106 h 198"/>
                <a:gd name="T82" fmla="*/ 71 w 198"/>
                <a:gd name="T83" fmla="*/ 117 h 198"/>
                <a:gd name="T84" fmla="*/ 80 w 198"/>
                <a:gd name="T85" fmla="*/ 126 h 198"/>
                <a:gd name="T86" fmla="*/ 92 w 198"/>
                <a:gd name="T87" fmla="*/ 132 h 198"/>
                <a:gd name="T88" fmla="*/ 99 w 198"/>
                <a:gd name="T89" fmla="*/ 133 h 198"/>
                <a:gd name="T90" fmla="*/ 111 w 198"/>
                <a:gd name="T91" fmla="*/ 130 h 198"/>
                <a:gd name="T92" fmla="*/ 122 w 198"/>
                <a:gd name="T93" fmla="*/ 122 h 198"/>
                <a:gd name="T94" fmla="*/ 129 w 198"/>
                <a:gd name="T95" fmla="*/ 112 h 198"/>
                <a:gd name="T96" fmla="*/ 132 w 198"/>
                <a:gd name="T97" fmla="*/ 100 h 198"/>
                <a:gd name="T98" fmla="*/ 131 w 198"/>
                <a:gd name="T99" fmla="*/ 92 h 198"/>
                <a:gd name="T100" fmla="*/ 126 w 198"/>
                <a:gd name="T101" fmla="*/ 81 h 198"/>
                <a:gd name="T102" fmla="*/ 118 w 198"/>
                <a:gd name="T103" fmla="*/ 72 h 198"/>
                <a:gd name="T104" fmla="*/ 105 w 198"/>
                <a:gd name="T105" fmla="*/ 66 h 198"/>
                <a:gd name="T106" fmla="*/ 99 w 198"/>
                <a:gd name="T107" fmla="*/ 6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8" h="198">
                  <a:moveTo>
                    <a:pt x="99" y="198"/>
                  </a:moveTo>
                  <a:lnTo>
                    <a:pt x="99" y="198"/>
                  </a:lnTo>
                  <a:lnTo>
                    <a:pt x="89" y="198"/>
                  </a:lnTo>
                  <a:lnTo>
                    <a:pt x="79" y="196"/>
                  </a:lnTo>
                  <a:lnTo>
                    <a:pt x="69" y="194"/>
                  </a:lnTo>
                  <a:lnTo>
                    <a:pt x="61" y="191"/>
                  </a:lnTo>
                  <a:lnTo>
                    <a:pt x="51" y="187"/>
                  </a:lnTo>
                  <a:lnTo>
                    <a:pt x="43" y="181"/>
                  </a:lnTo>
                  <a:lnTo>
                    <a:pt x="36" y="176"/>
                  </a:lnTo>
                  <a:lnTo>
                    <a:pt x="29" y="169"/>
                  </a:lnTo>
                  <a:lnTo>
                    <a:pt x="22" y="163"/>
                  </a:lnTo>
                  <a:lnTo>
                    <a:pt x="16" y="154"/>
                  </a:lnTo>
                  <a:lnTo>
                    <a:pt x="12" y="146"/>
                  </a:lnTo>
                  <a:lnTo>
                    <a:pt x="8" y="138"/>
                  </a:lnTo>
                  <a:lnTo>
                    <a:pt x="4" y="129"/>
                  </a:lnTo>
                  <a:lnTo>
                    <a:pt x="2" y="119"/>
                  </a:lnTo>
                  <a:lnTo>
                    <a:pt x="1" y="109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1" y="89"/>
                  </a:lnTo>
                  <a:lnTo>
                    <a:pt x="2" y="79"/>
                  </a:lnTo>
                  <a:lnTo>
                    <a:pt x="4" y="70"/>
                  </a:lnTo>
                  <a:lnTo>
                    <a:pt x="8" y="60"/>
                  </a:lnTo>
                  <a:lnTo>
                    <a:pt x="12" y="52"/>
                  </a:lnTo>
                  <a:lnTo>
                    <a:pt x="16" y="44"/>
                  </a:lnTo>
                  <a:lnTo>
                    <a:pt x="22" y="36"/>
                  </a:lnTo>
                  <a:lnTo>
                    <a:pt x="29" y="29"/>
                  </a:lnTo>
                  <a:lnTo>
                    <a:pt x="36" y="23"/>
                  </a:lnTo>
                  <a:lnTo>
                    <a:pt x="43" y="17"/>
                  </a:lnTo>
                  <a:lnTo>
                    <a:pt x="51" y="12"/>
                  </a:lnTo>
                  <a:lnTo>
                    <a:pt x="61" y="7"/>
                  </a:lnTo>
                  <a:lnTo>
                    <a:pt x="69" y="4"/>
                  </a:lnTo>
                  <a:lnTo>
                    <a:pt x="79" y="2"/>
                  </a:lnTo>
                  <a:lnTo>
                    <a:pt x="8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9" y="0"/>
                  </a:lnTo>
                  <a:lnTo>
                    <a:pt x="119" y="2"/>
                  </a:lnTo>
                  <a:lnTo>
                    <a:pt x="128" y="4"/>
                  </a:lnTo>
                  <a:lnTo>
                    <a:pt x="137" y="7"/>
                  </a:lnTo>
                  <a:lnTo>
                    <a:pt x="147" y="12"/>
                  </a:lnTo>
                  <a:lnTo>
                    <a:pt x="154" y="17"/>
                  </a:lnTo>
                  <a:lnTo>
                    <a:pt x="162" y="23"/>
                  </a:lnTo>
                  <a:lnTo>
                    <a:pt x="169" y="29"/>
                  </a:lnTo>
                  <a:lnTo>
                    <a:pt x="176" y="36"/>
                  </a:lnTo>
                  <a:lnTo>
                    <a:pt x="181" y="44"/>
                  </a:lnTo>
                  <a:lnTo>
                    <a:pt x="186" y="52"/>
                  </a:lnTo>
                  <a:lnTo>
                    <a:pt x="190" y="60"/>
                  </a:lnTo>
                  <a:lnTo>
                    <a:pt x="193" y="70"/>
                  </a:lnTo>
                  <a:lnTo>
                    <a:pt x="196" y="79"/>
                  </a:lnTo>
                  <a:lnTo>
                    <a:pt x="197" y="89"/>
                  </a:lnTo>
                  <a:lnTo>
                    <a:pt x="198" y="100"/>
                  </a:lnTo>
                  <a:lnTo>
                    <a:pt x="198" y="100"/>
                  </a:lnTo>
                  <a:lnTo>
                    <a:pt x="197" y="109"/>
                  </a:lnTo>
                  <a:lnTo>
                    <a:pt x="196" y="119"/>
                  </a:lnTo>
                  <a:lnTo>
                    <a:pt x="193" y="129"/>
                  </a:lnTo>
                  <a:lnTo>
                    <a:pt x="190" y="138"/>
                  </a:lnTo>
                  <a:lnTo>
                    <a:pt x="186" y="146"/>
                  </a:lnTo>
                  <a:lnTo>
                    <a:pt x="181" y="154"/>
                  </a:lnTo>
                  <a:lnTo>
                    <a:pt x="176" y="163"/>
                  </a:lnTo>
                  <a:lnTo>
                    <a:pt x="169" y="169"/>
                  </a:lnTo>
                  <a:lnTo>
                    <a:pt x="162" y="176"/>
                  </a:lnTo>
                  <a:lnTo>
                    <a:pt x="154" y="181"/>
                  </a:lnTo>
                  <a:lnTo>
                    <a:pt x="147" y="187"/>
                  </a:lnTo>
                  <a:lnTo>
                    <a:pt x="137" y="191"/>
                  </a:lnTo>
                  <a:lnTo>
                    <a:pt x="128" y="194"/>
                  </a:lnTo>
                  <a:lnTo>
                    <a:pt x="119" y="196"/>
                  </a:lnTo>
                  <a:lnTo>
                    <a:pt x="109" y="198"/>
                  </a:lnTo>
                  <a:lnTo>
                    <a:pt x="99" y="198"/>
                  </a:lnTo>
                  <a:lnTo>
                    <a:pt x="99" y="198"/>
                  </a:lnTo>
                  <a:close/>
                  <a:moveTo>
                    <a:pt x="99" y="66"/>
                  </a:moveTo>
                  <a:lnTo>
                    <a:pt x="99" y="66"/>
                  </a:lnTo>
                  <a:lnTo>
                    <a:pt x="92" y="66"/>
                  </a:lnTo>
                  <a:lnTo>
                    <a:pt x="85" y="69"/>
                  </a:lnTo>
                  <a:lnTo>
                    <a:pt x="80" y="72"/>
                  </a:lnTo>
                  <a:lnTo>
                    <a:pt x="75" y="76"/>
                  </a:lnTo>
                  <a:lnTo>
                    <a:pt x="71" y="81"/>
                  </a:lnTo>
                  <a:lnTo>
                    <a:pt x="68" y="86"/>
                  </a:lnTo>
                  <a:lnTo>
                    <a:pt x="67" y="92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7" y="106"/>
                  </a:lnTo>
                  <a:lnTo>
                    <a:pt x="68" y="112"/>
                  </a:lnTo>
                  <a:lnTo>
                    <a:pt x="71" y="117"/>
                  </a:lnTo>
                  <a:lnTo>
                    <a:pt x="75" y="122"/>
                  </a:lnTo>
                  <a:lnTo>
                    <a:pt x="80" y="126"/>
                  </a:lnTo>
                  <a:lnTo>
                    <a:pt x="85" y="130"/>
                  </a:lnTo>
                  <a:lnTo>
                    <a:pt x="92" y="132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105" y="132"/>
                  </a:lnTo>
                  <a:lnTo>
                    <a:pt x="111" y="130"/>
                  </a:lnTo>
                  <a:lnTo>
                    <a:pt x="118" y="126"/>
                  </a:lnTo>
                  <a:lnTo>
                    <a:pt x="122" y="122"/>
                  </a:lnTo>
                  <a:lnTo>
                    <a:pt x="126" y="117"/>
                  </a:lnTo>
                  <a:lnTo>
                    <a:pt x="129" y="112"/>
                  </a:lnTo>
                  <a:lnTo>
                    <a:pt x="131" y="106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1" y="92"/>
                  </a:lnTo>
                  <a:lnTo>
                    <a:pt x="129" y="86"/>
                  </a:lnTo>
                  <a:lnTo>
                    <a:pt x="126" y="81"/>
                  </a:lnTo>
                  <a:lnTo>
                    <a:pt x="122" y="76"/>
                  </a:lnTo>
                  <a:lnTo>
                    <a:pt x="118" y="72"/>
                  </a:lnTo>
                  <a:lnTo>
                    <a:pt x="111" y="69"/>
                  </a:lnTo>
                  <a:lnTo>
                    <a:pt x="105" y="66"/>
                  </a:lnTo>
                  <a:lnTo>
                    <a:pt x="99" y="66"/>
                  </a:lnTo>
                  <a:lnTo>
                    <a:pt x="9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80" name="Freeform 837">
              <a:extLst>
                <a:ext uri="{FF2B5EF4-FFF2-40B4-BE49-F238E27FC236}">
                  <a16:creationId xmlns="" xmlns:a16="http://schemas.microsoft.com/office/drawing/2014/main" id="{299BF63E-E616-4179-91D2-1191EDAC1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7213" y="3608388"/>
              <a:ext cx="46038" cy="46038"/>
            </a:xfrm>
            <a:custGeom>
              <a:avLst/>
              <a:gdLst>
                <a:gd name="T0" fmla="*/ 99 w 199"/>
                <a:gd name="T1" fmla="*/ 199 h 199"/>
                <a:gd name="T2" fmla="*/ 80 w 199"/>
                <a:gd name="T3" fmla="*/ 197 h 199"/>
                <a:gd name="T4" fmla="*/ 61 w 199"/>
                <a:gd name="T5" fmla="*/ 192 h 199"/>
                <a:gd name="T6" fmla="*/ 44 w 199"/>
                <a:gd name="T7" fmla="*/ 183 h 199"/>
                <a:gd name="T8" fmla="*/ 30 w 199"/>
                <a:gd name="T9" fmla="*/ 170 h 199"/>
                <a:gd name="T10" fmla="*/ 18 w 199"/>
                <a:gd name="T11" fmla="*/ 156 h 199"/>
                <a:gd name="T12" fmla="*/ 8 w 199"/>
                <a:gd name="T13" fmla="*/ 139 h 199"/>
                <a:gd name="T14" fmla="*/ 2 w 199"/>
                <a:gd name="T15" fmla="*/ 121 h 199"/>
                <a:gd name="T16" fmla="*/ 0 w 199"/>
                <a:gd name="T17" fmla="*/ 100 h 199"/>
                <a:gd name="T18" fmla="*/ 1 w 199"/>
                <a:gd name="T19" fmla="*/ 89 h 199"/>
                <a:gd name="T20" fmla="*/ 5 w 199"/>
                <a:gd name="T21" fmla="*/ 71 h 199"/>
                <a:gd name="T22" fmla="*/ 12 w 199"/>
                <a:gd name="T23" fmla="*/ 53 h 199"/>
                <a:gd name="T24" fmla="*/ 23 w 199"/>
                <a:gd name="T25" fmla="*/ 37 h 199"/>
                <a:gd name="T26" fmla="*/ 36 w 199"/>
                <a:gd name="T27" fmla="*/ 23 h 199"/>
                <a:gd name="T28" fmla="*/ 53 w 199"/>
                <a:gd name="T29" fmla="*/ 13 h 199"/>
                <a:gd name="T30" fmla="*/ 70 w 199"/>
                <a:gd name="T31" fmla="*/ 6 h 199"/>
                <a:gd name="T32" fmla="*/ 90 w 199"/>
                <a:gd name="T33" fmla="*/ 1 h 199"/>
                <a:gd name="T34" fmla="*/ 99 w 199"/>
                <a:gd name="T35" fmla="*/ 0 h 199"/>
                <a:gd name="T36" fmla="*/ 120 w 199"/>
                <a:gd name="T37" fmla="*/ 3 h 199"/>
                <a:gd name="T38" fmla="*/ 139 w 199"/>
                <a:gd name="T39" fmla="*/ 9 h 199"/>
                <a:gd name="T40" fmla="*/ 155 w 199"/>
                <a:gd name="T41" fmla="*/ 18 h 199"/>
                <a:gd name="T42" fmla="*/ 170 w 199"/>
                <a:gd name="T43" fmla="*/ 29 h 199"/>
                <a:gd name="T44" fmla="*/ 182 w 199"/>
                <a:gd name="T45" fmla="*/ 45 h 199"/>
                <a:gd name="T46" fmla="*/ 191 w 199"/>
                <a:gd name="T47" fmla="*/ 62 h 199"/>
                <a:gd name="T48" fmla="*/ 197 w 199"/>
                <a:gd name="T49" fmla="*/ 80 h 199"/>
                <a:gd name="T50" fmla="*/ 199 w 199"/>
                <a:gd name="T51" fmla="*/ 100 h 199"/>
                <a:gd name="T52" fmla="*/ 199 w 199"/>
                <a:gd name="T53" fmla="*/ 110 h 199"/>
                <a:gd name="T54" fmla="*/ 195 w 199"/>
                <a:gd name="T55" fmla="*/ 130 h 199"/>
                <a:gd name="T56" fmla="*/ 187 w 199"/>
                <a:gd name="T57" fmla="*/ 147 h 199"/>
                <a:gd name="T58" fmla="*/ 176 w 199"/>
                <a:gd name="T59" fmla="*/ 163 h 199"/>
                <a:gd name="T60" fmla="*/ 162 w 199"/>
                <a:gd name="T61" fmla="*/ 176 h 199"/>
                <a:gd name="T62" fmla="*/ 147 w 199"/>
                <a:gd name="T63" fmla="*/ 188 h 199"/>
                <a:gd name="T64" fmla="*/ 129 w 199"/>
                <a:gd name="T65" fmla="*/ 195 h 199"/>
                <a:gd name="T66" fmla="*/ 110 w 199"/>
                <a:gd name="T67" fmla="*/ 199 h 199"/>
                <a:gd name="T68" fmla="*/ 99 w 199"/>
                <a:gd name="T69" fmla="*/ 199 h 199"/>
                <a:gd name="T70" fmla="*/ 99 w 199"/>
                <a:gd name="T71" fmla="*/ 67 h 199"/>
                <a:gd name="T72" fmla="*/ 87 w 199"/>
                <a:gd name="T73" fmla="*/ 70 h 199"/>
                <a:gd name="T74" fmla="*/ 77 w 199"/>
                <a:gd name="T75" fmla="*/ 77 h 199"/>
                <a:gd name="T76" fmla="*/ 69 w 199"/>
                <a:gd name="T77" fmla="*/ 87 h 199"/>
                <a:gd name="T78" fmla="*/ 66 w 199"/>
                <a:gd name="T79" fmla="*/ 100 h 199"/>
                <a:gd name="T80" fmla="*/ 67 w 199"/>
                <a:gd name="T81" fmla="*/ 107 h 199"/>
                <a:gd name="T82" fmla="*/ 72 w 199"/>
                <a:gd name="T83" fmla="*/ 118 h 199"/>
                <a:gd name="T84" fmla="*/ 81 w 199"/>
                <a:gd name="T85" fmla="*/ 128 h 199"/>
                <a:gd name="T86" fmla="*/ 93 w 199"/>
                <a:gd name="T87" fmla="*/ 133 h 199"/>
                <a:gd name="T88" fmla="*/ 99 w 199"/>
                <a:gd name="T89" fmla="*/ 133 h 199"/>
                <a:gd name="T90" fmla="*/ 113 w 199"/>
                <a:gd name="T91" fmla="*/ 131 h 199"/>
                <a:gd name="T92" fmla="*/ 123 w 199"/>
                <a:gd name="T93" fmla="*/ 124 h 199"/>
                <a:gd name="T94" fmla="*/ 130 w 199"/>
                <a:gd name="T95" fmla="*/ 113 h 199"/>
                <a:gd name="T96" fmla="*/ 132 w 199"/>
                <a:gd name="T97" fmla="*/ 100 h 199"/>
                <a:gd name="T98" fmla="*/ 132 w 199"/>
                <a:gd name="T99" fmla="*/ 94 h 199"/>
                <a:gd name="T100" fmla="*/ 127 w 199"/>
                <a:gd name="T101" fmla="*/ 81 h 199"/>
                <a:gd name="T102" fmla="*/ 118 w 199"/>
                <a:gd name="T103" fmla="*/ 73 h 199"/>
                <a:gd name="T104" fmla="*/ 107 w 199"/>
                <a:gd name="T105" fmla="*/ 68 h 199"/>
                <a:gd name="T106" fmla="*/ 99 w 199"/>
                <a:gd name="T107" fmla="*/ 67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9" h="199">
                  <a:moveTo>
                    <a:pt x="99" y="199"/>
                  </a:moveTo>
                  <a:lnTo>
                    <a:pt x="99" y="199"/>
                  </a:lnTo>
                  <a:lnTo>
                    <a:pt x="90" y="199"/>
                  </a:lnTo>
                  <a:lnTo>
                    <a:pt x="80" y="197"/>
                  </a:lnTo>
                  <a:lnTo>
                    <a:pt x="70" y="195"/>
                  </a:lnTo>
                  <a:lnTo>
                    <a:pt x="61" y="192"/>
                  </a:lnTo>
                  <a:lnTo>
                    <a:pt x="53" y="188"/>
                  </a:lnTo>
                  <a:lnTo>
                    <a:pt x="44" y="183"/>
                  </a:lnTo>
                  <a:lnTo>
                    <a:pt x="36" y="176"/>
                  </a:lnTo>
                  <a:lnTo>
                    <a:pt x="30" y="170"/>
                  </a:lnTo>
                  <a:lnTo>
                    <a:pt x="23" y="163"/>
                  </a:lnTo>
                  <a:lnTo>
                    <a:pt x="18" y="156"/>
                  </a:lnTo>
                  <a:lnTo>
                    <a:pt x="12" y="147"/>
                  </a:lnTo>
                  <a:lnTo>
                    <a:pt x="8" y="139"/>
                  </a:lnTo>
                  <a:lnTo>
                    <a:pt x="5" y="130"/>
                  </a:lnTo>
                  <a:lnTo>
                    <a:pt x="2" y="121"/>
                  </a:lnTo>
                  <a:lnTo>
                    <a:pt x="1" y="11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1" y="89"/>
                  </a:lnTo>
                  <a:lnTo>
                    <a:pt x="2" y="80"/>
                  </a:lnTo>
                  <a:lnTo>
                    <a:pt x="5" y="71"/>
                  </a:lnTo>
                  <a:lnTo>
                    <a:pt x="8" y="62"/>
                  </a:lnTo>
                  <a:lnTo>
                    <a:pt x="12" y="53"/>
                  </a:lnTo>
                  <a:lnTo>
                    <a:pt x="18" y="45"/>
                  </a:lnTo>
                  <a:lnTo>
                    <a:pt x="23" y="37"/>
                  </a:lnTo>
                  <a:lnTo>
                    <a:pt x="30" y="29"/>
                  </a:lnTo>
                  <a:lnTo>
                    <a:pt x="36" y="23"/>
                  </a:lnTo>
                  <a:lnTo>
                    <a:pt x="44" y="18"/>
                  </a:lnTo>
                  <a:lnTo>
                    <a:pt x="53" y="13"/>
                  </a:lnTo>
                  <a:lnTo>
                    <a:pt x="61" y="9"/>
                  </a:lnTo>
                  <a:lnTo>
                    <a:pt x="70" y="6"/>
                  </a:lnTo>
                  <a:lnTo>
                    <a:pt x="80" y="3"/>
                  </a:lnTo>
                  <a:lnTo>
                    <a:pt x="90" y="1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10" y="1"/>
                  </a:lnTo>
                  <a:lnTo>
                    <a:pt x="120" y="3"/>
                  </a:lnTo>
                  <a:lnTo>
                    <a:pt x="129" y="6"/>
                  </a:lnTo>
                  <a:lnTo>
                    <a:pt x="139" y="9"/>
                  </a:lnTo>
                  <a:lnTo>
                    <a:pt x="147" y="13"/>
                  </a:lnTo>
                  <a:lnTo>
                    <a:pt x="155" y="18"/>
                  </a:lnTo>
                  <a:lnTo>
                    <a:pt x="162" y="23"/>
                  </a:lnTo>
                  <a:lnTo>
                    <a:pt x="170" y="29"/>
                  </a:lnTo>
                  <a:lnTo>
                    <a:pt x="176" y="37"/>
                  </a:lnTo>
                  <a:lnTo>
                    <a:pt x="182" y="45"/>
                  </a:lnTo>
                  <a:lnTo>
                    <a:pt x="187" y="53"/>
                  </a:lnTo>
                  <a:lnTo>
                    <a:pt x="191" y="62"/>
                  </a:lnTo>
                  <a:lnTo>
                    <a:pt x="195" y="71"/>
                  </a:lnTo>
                  <a:lnTo>
                    <a:pt x="197" y="80"/>
                  </a:lnTo>
                  <a:lnTo>
                    <a:pt x="199" y="89"/>
                  </a:lnTo>
                  <a:lnTo>
                    <a:pt x="199" y="100"/>
                  </a:lnTo>
                  <a:lnTo>
                    <a:pt x="199" y="100"/>
                  </a:lnTo>
                  <a:lnTo>
                    <a:pt x="199" y="110"/>
                  </a:lnTo>
                  <a:lnTo>
                    <a:pt x="197" y="121"/>
                  </a:lnTo>
                  <a:lnTo>
                    <a:pt x="195" y="130"/>
                  </a:lnTo>
                  <a:lnTo>
                    <a:pt x="191" y="139"/>
                  </a:lnTo>
                  <a:lnTo>
                    <a:pt x="187" y="147"/>
                  </a:lnTo>
                  <a:lnTo>
                    <a:pt x="182" y="156"/>
                  </a:lnTo>
                  <a:lnTo>
                    <a:pt x="176" y="163"/>
                  </a:lnTo>
                  <a:lnTo>
                    <a:pt x="170" y="170"/>
                  </a:lnTo>
                  <a:lnTo>
                    <a:pt x="162" y="176"/>
                  </a:lnTo>
                  <a:lnTo>
                    <a:pt x="155" y="183"/>
                  </a:lnTo>
                  <a:lnTo>
                    <a:pt x="147" y="188"/>
                  </a:lnTo>
                  <a:lnTo>
                    <a:pt x="139" y="192"/>
                  </a:lnTo>
                  <a:lnTo>
                    <a:pt x="129" y="195"/>
                  </a:lnTo>
                  <a:lnTo>
                    <a:pt x="120" y="197"/>
                  </a:lnTo>
                  <a:lnTo>
                    <a:pt x="110" y="199"/>
                  </a:lnTo>
                  <a:lnTo>
                    <a:pt x="99" y="199"/>
                  </a:lnTo>
                  <a:lnTo>
                    <a:pt x="99" y="199"/>
                  </a:lnTo>
                  <a:close/>
                  <a:moveTo>
                    <a:pt x="99" y="67"/>
                  </a:moveTo>
                  <a:lnTo>
                    <a:pt x="99" y="67"/>
                  </a:lnTo>
                  <a:lnTo>
                    <a:pt x="93" y="68"/>
                  </a:lnTo>
                  <a:lnTo>
                    <a:pt x="87" y="70"/>
                  </a:lnTo>
                  <a:lnTo>
                    <a:pt x="81" y="73"/>
                  </a:lnTo>
                  <a:lnTo>
                    <a:pt x="77" y="77"/>
                  </a:lnTo>
                  <a:lnTo>
                    <a:pt x="72" y="81"/>
                  </a:lnTo>
                  <a:lnTo>
                    <a:pt x="69" y="87"/>
                  </a:lnTo>
                  <a:lnTo>
                    <a:pt x="67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7" y="107"/>
                  </a:lnTo>
                  <a:lnTo>
                    <a:pt x="69" y="113"/>
                  </a:lnTo>
                  <a:lnTo>
                    <a:pt x="72" y="118"/>
                  </a:lnTo>
                  <a:lnTo>
                    <a:pt x="77" y="124"/>
                  </a:lnTo>
                  <a:lnTo>
                    <a:pt x="81" y="128"/>
                  </a:lnTo>
                  <a:lnTo>
                    <a:pt x="87" y="131"/>
                  </a:lnTo>
                  <a:lnTo>
                    <a:pt x="93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107" y="133"/>
                  </a:lnTo>
                  <a:lnTo>
                    <a:pt x="113" y="131"/>
                  </a:lnTo>
                  <a:lnTo>
                    <a:pt x="118" y="128"/>
                  </a:lnTo>
                  <a:lnTo>
                    <a:pt x="123" y="124"/>
                  </a:lnTo>
                  <a:lnTo>
                    <a:pt x="127" y="118"/>
                  </a:lnTo>
                  <a:lnTo>
                    <a:pt x="130" y="113"/>
                  </a:lnTo>
                  <a:lnTo>
                    <a:pt x="132" y="107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94"/>
                  </a:lnTo>
                  <a:lnTo>
                    <a:pt x="130" y="87"/>
                  </a:lnTo>
                  <a:lnTo>
                    <a:pt x="127" y="81"/>
                  </a:lnTo>
                  <a:lnTo>
                    <a:pt x="123" y="77"/>
                  </a:lnTo>
                  <a:lnTo>
                    <a:pt x="118" y="73"/>
                  </a:lnTo>
                  <a:lnTo>
                    <a:pt x="113" y="70"/>
                  </a:lnTo>
                  <a:lnTo>
                    <a:pt x="107" y="68"/>
                  </a:lnTo>
                  <a:lnTo>
                    <a:pt x="99" y="67"/>
                  </a:lnTo>
                  <a:lnTo>
                    <a:pt x="99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81" name="Freeform 838">
              <a:extLst>
                <a:ext uri="{FF2B5EF4-FFF2-40B4-BE49-F238E27FC236}">
                  <a16:creationId xmlns="" xmlns:a16="http://schemas.microsoft.com/office/drawing/2014/main" id="{77EDD9FE-DC84-4890-AF56-1DFBF8ED3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4325" y="3708401"/>
              <a:ext cx="82550" cy="71438"/>
            </a:xfrm>
            <a:custGeom>
              <a:avLst/>
              <a:gdLst>
                <a:gd name="T0" fmla="*/ 33 w 361"/>
                <a:gd name="T1" fmla="*/ 312 h 312"/>
                <a:gd name="T2" fmla="*/ 33 w 361"/>
                <a:gd name="T3" fmla="*/ 312 h 312"/>
                <a:gd name="T4" fmla="*/ 26 w 361"/>
                <a:gd name="T5" fmla="*/ 312 h 312"/>
                <a:gd name="T6" fmla="*/ 19 w 361"/>
                <a:gd name="T7" fmla="*/ 309 h 312"/>
                <a:gd name="T8" fmla="*/ 13 w 361"/>
                <a:gd name="T9" fmla="*/ 306 h 312"/>
                <a:gd name="T10" fmla="*/ 8 w 361"/>
                <a:gd name="T11" fmla="*/ 301 h 312"/>
                <a:gd name="T12" fmla="*/ 8 w 361"/>
                <a:gd name="T13" fmla="*/ 301 h 312"/>
                <a:gd name="T14" fmla="*/ 4 w 361"/>
                <a:gd name="T15" fmla="*/ 295 h 312"/>
                <a:gd name="T16" fmla="*/ 2 w 361"/>
                <a:gd name="T17" fmla="*/ 289 h 312"/>
                <a:gd name="T18" fmla="*/ 0 w 361"/>
                <a:gd name="T19" fmla="*/ 283 h 312"/>
                <a:gd name="T20" fmla="*/ 0 w 361"/>
                <a:gd name="T21" fmla="*/ 277 h 312"/>
                <a:gd name="T22" fmla="*/ 1 w 361"/>
                <a:gd name="T23" fmla="*/ 270 h 312"/>
                <a:gd name="T24" fmla="*/ 4 w 361"/>
                <a:gd name="T25" fmla="*/ 264 h 312"/>
                <a:gd name="T26" fmla="*/ 7 w 361"/>
                <a:gd name="T27" fmla="*/ 258 h 312"/>
                <a:gd name="T28" fmla="*/ 12 w 361"/>
                <a:gd name="T29" fmla="*/ 254 h 312"/>
                <a:gd name="T30" fmla="*/ 307 w 361"/>
                <a:gd name="T31" fmla="*/ 8 h 312"/>
                <a:gd name="T32" fmla="*/ 307 w 361"/>
                <a:gd name="T33" fmla="*/ 8 h 312"/>
                <a:gd name="T34" fmla="*/ 312 w 361"/>
                <a:gd name="T35" fmla="*/ 4 h 312"/>
                <a:gd name="T36" fmla="*/ 319 w 361"/>
                <a:gd name="T37" fmla="*/ 1 h 312"/>
                <a:gd name="T38" fmla="*/ 325 w 361"/>
                <a:gd name="T39" fmla="*/ 0 h 312"/>
                <a:gd name="T40" fmla="*/ 331 w 361"/>
                <a:gd name="T41" fmla="*/ 0 h 312"/>
                <a:gd name="T42" fmla="*/ 337 w 361"/>
                <a:gd name="T43" fmla="*/ 1 h 312"/>
                <a:gd name="T44" fmla="*/ 343 w 361"/>
                <a:gd name="T45" fmla="*/ 4 h 312"/>
                <a:gd name="T46" fmla="*/ 349 w 361"/>
                <a:gd name="T47" fmla="*/ 8 h 312"/>
                <a:gd name="T48" fmla="*/ 354 w 361"/>
                <a:gd name="T49" fmla="*/ 12 h 312"/>
                <a:gd name="T50" fmla="*/ 354 w 361"/>
                <a:gd name="T51" fmla="*/ 12 h 312"/>
                <a:gd name="T52" fmla="*/ 358 w 361"/>
                <a:gd name="T53" fmla="*/ 17 h 312"/>
                <a:gd name="T54" fmla="*/ 360 w 361"/>
                <a:gd name="T55" fmla="*/ 23 h 312"/>
                <a:gd name="T56" fmla="*/ 361 w 361"/>
                <a:gd name="T57" fmla="*/ 29 h 312"/>
                <a:gd name="T58" fmla="*/ 361 w 361"/>
                <a:gd name="T59" fmla="*/ 36 h 312"/>
                <a:gd name="T60" fmla="*/ 360 w 361"/>
                <a:gd name="T61" fmla="*/ 43 h 312"/>
                <a:gd name="T62" fmla="*/ 358 w 361"/>
                <a:gd name="T63" fmla="*/ 48 h 312"/>
                <a:gd name="T64" fmla="*/ 354 w 361"/>
                <a:gd name="T65" fmla="*/ 54 h 312"/>
                <a:gd name="T66" fmla="*/ 350 w 361"/>
                <a:gd name="T67" fmla="*/ 58 h 312"/>
                <a:gd name="T68" fmla="*/ 55 w 361"/>
                <a:gd name="T69" fmla="*/ 305 h 312"/>
                <a:gd name="T70" fmla="*/ 55 w 361"/>
                <a:gd name="T71" fmla="*/ 305 h 312"/>
                <a:gd name="T72" fmla="*/ 49 w 361"/>
                <a:gd name="T73" fmla="*/ 308 h 312"/>
                <a:gd name="T74" fmla="*/ 44 w 361"/>
                <a:gd name="T75" fmla="*/ 311 h 312"/>
                <a:gd name="T76" fmla="*/ 39 w 361"/>
                <a:gd name="T77" fmla="*/ 312 h 312"/>
                <a:gd name="T78" fmla="*/ 33 w 361"/>
                <a:gd name="T79" fmla="*/ 312 h 312"/>
                <a:gd name="T80" fmla="*/ 33 w 361"/>
                <a:gd name="T81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1" h="312">
                  <a:moveTo>
                    <a:pt x="33" y="312"/>
                  </a:moveTo>
                  <a:lnTo>
                    <a:pt x="33" y="312"/>
                  </a:lnTo>
                  <a:lnTo>
                    <a:pt x="26" y="312"/>
                  </a:lnTo>
                  <a:lnTo>
                    <a:pt x="19" y="309"/>
                  </a:lnTo>
                  <a:lnTo>
                    <a:pt x="13" y="306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4" y="295"/>
                  </a:lnTo>
                  <a:lnTo>
                    <a:pt x="2" y="289"/>
                  </a:lnTo>
                  <a:lnTo>
                    <a:pt x="0" y="283"/>
                  </a:lnTo>
                  <a:lnTo>
                    <a:pt x="0" y="277"/>
                  </a:lnTo>
                  <a:lnTo>
                    <a:pt x="1" y="270"/>
                  </a:lnTo>
                  <a:lnTo>
                    <a:pt x="4" y="264"/>
                  </a:lnTo>
                  <a:lnTo>
                    <a:pt x="7" y="258"/>
                  </a:lnTo>
                  <a:lnTo>
                    <a:pt x="12" y="254"/>
                  </a:lnTo>
                  <a:lnTo>
                    <a:pt x="307" y="8"/>
                  </a:lnTo>
                  <a:lnTo>
                    <a:pt x="307" y="8"/>
                  </a:lnTo>
                  <a:lnTo>
                    <a:pt x="312" y="4"/>
                  </a:lnTo>
                  <a:lnTo>
                    <a:pt x="319" y="1"/>
                  </a:lnTo>
                  <a:lnTo>
                    <a:pt x="325" y="0"/>
                  </a:lnTo>
                  <a:lnTo>
                    <a:pt x="331" y="0"/>
                  </a:lnTo>
                  <a:lnTo>
                    <a:pt x="337" y="1"/>
                  </a:lnTo>
                  <a:lnTo>
                    <a:pt x="343" y="4"/>
                  </a:lnTo>
                  <a:lnTo>
                    <a:pt x="349" y="8"/>
                  </a:lnTo>
                  <a:lnTo>
                    <a:pt x="354" y="12"/>
                  </a:lnTo>
                  <a:lnTo>
                    <a:pt x="354" y="12"/>
                  </a:lnTo>
                  <a:lnTo>
                    <a:pt x="358" y="17"/>
                  </a:lnTo>
                  <a:lnTo>
                    <a:pt x="360" y="23"/>
                  </a:lnTo>
                  <a:lnTo>
                    <a:pt x="361" y="29"/>
                  </a:lnTo>
                  <a:lnTo>
                    <a:pt x="361" y="36"/>
                  </a:lnTo>
                  <a:lnTo>
                    <a:pt x="360" y="43"/>
                  </a:lnTo>
                  <a:lnTo>
                    <a:pt x="358" y="48"/>
                  </a:lnTo>
                  <a:lnTo>
                    <a:pt x="354" y="54"/>
                  </a:lnTo>
                  <a:lnTo>
                    <a:pt x="350" y="58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49" y="308"/>
                  </a:lnTo>
                  <a:lnTo>
                    <a:pt x="44" y="311"/>
                  </a:lnTo>
                  <a:lnTo>
                    <a:pt x="39" y="312"/>
                  </a:lnTo>
                  <a:lnTo>
                    <a:pt x="33" y="312"/>
                  </a:lnTo>
                  <a:lnTo>
                    <a:pt x="33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82" name="Freeform 839">
              <a:extLst>
                <a:ext uri="{FF2B5EF4-FFF2-40B4-BE49-F238E27FC236}">
                  <a16:creationId xmlns="" xmlns:a16="http://schemas.microsoft.com/office/drawing/2014/main" id="{E3E7ABF6-12EE-4F60-9983-40C6D4C2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7988" y="3703638"/>
              <a:ext cx="76200" cy="36513"/>
            </a:xfrm>
            <a:custGeom>
              <a:avLst/>
              <a:gdLst>
                <a:gd name="T0" fmla="*/ 306 w 339"/>
                <a:gd name="T1" fmla="*/ 157 h 157"/>
                <a:gd name="T2" fmla="*/ 306 w 339"/>
                <a:gd name="T3" fmla="*/ 157 h 157"/>
                <a:gd name="T4" fmla="*/ 301 w 339"/>
                <a:gd name="T5" fmla="*/ 156 h 157"/>
                <a:gd name="T6" fmla="*/ 296 w 339"/>
                <a:gd name="T7" fmla="*/ 155 h 157"/>
                <a:gd name="T8" fmla="*/ 22 w 339"/>
                <a:gd name="T9" fmla="*/ 64 h 157"/>
                <a:gd name="T10" fmla="*/ 22 w 339"/>
                <a:gd name="T11" fmla="*/ 64 h 157"/>
                <a:gd name="T12" fmla="*/ 16 w 339"/>
                <a:gd name="T13" fmla="*/ 62 h 157"/>
                <a:gd name="T14" fmla="*/ 11 w 339"/>
                <a:gd name="T15" fmla="*/ 58 h 157"/>
                <a:gd name="T16" fmla="*/ 7 w 339"/>
                <a:gd name="T17" fmla="*/ 52 h 157"/>
                <a:gd name="T18" fmla="*/ 3 w 339"/>
                <a:gd name="T19" fmla="*/ 47 h 157"/>
                <a:gd name="T20" fmla="*/ 1 w 339"/>
                <a:gd name="T21" fmla="*/ 41 h 157"/>
                <a:gd name="T22" fmla="*/ 0 w 339"/>
                <a:gd name="T23" fmla="*/ 35 h 157"/>
                <a:gd name="T24" fmla="*/ 0 w 339"/>
                <a:gd name="T25" fmla="*/ 29 h 157"/>
                <a:gd name="T26" fmla="*/ 2 w 339"/>
                <a:gd name="T27" fmla="*/ 22 h 157"/>
                <a:gd name="T28" fmla="*/ 2 w 339"/>
                <a:gd name="T29" fmla="*/ 22 h 157"/>
                <a:gd name="T30" fmla="*/ 4 w 339"/>
                <a:gd name="T31" fmla="*/ 16 h 157"/>
                <a:gd name="T32" fmla="*/ 8 w 339"/>
                <a:gd name="T33" fmla="*/ 11 h 157"/>
                <a:gd name="T34" fmla="*/ 12 w 339"/>
                <a:gd name="T35" fmla="*/ 7 h 157"/>
                <a:gd name="T36" fmla="*/ 18 w 339"/>
                <a:gd name="T37" fmla="*/ 3 h 157"/>
                <a:gd name="T38" fmla="*/ 23 w 339"/>
                <a:gd name="T39" fmla="*/ 1 h 157"/>
                <a:gd name="T40" fmla="*/ 30 w 339"/>
                <a:gd name="T41" fmla="*/ 0 h 157"/>
                <a:gd name="T42" fmla="*/ 37 w 339"/>
                <a:gd name="T43" fmla="*/ 0 h 157"/>
                <a:gd name="T44" fmla="*/ 43 w 339"/>
                <a:gd name="T45" fmla="*/ 2 h 157"/>
                <a:gd name="T46" fmla="*/ 316 w 339"/>
                <a:gd name="T47" fmla="*/ 93 h 157"/>
                <a:gd name="T48" fmla="*/ 316 w 339"/>
                <a:gd name="T49" fmla="*/ 93 h 157"/>
                <a:gd name="T50" fmla="*/ 322 w 339"/>
                <a:gd name="T51" fmla="*/ 95 h 157"/>
                <a:gd name="T52" fmla="*/ 328 w 339"/>
                <a:gd name="T53" fmla="*/ 99 h 157"/>
                <a:gd name="T54" fmla="*/ 332 w 339"/>
                <a:gd name="T55" fmla="*/ 103 h 157"/>
                <a:gd name="T56" fmla="*/ 336 w 339"/>
                <a:gd name="T57" fmla="*/ 109 h 157"/>
                <a:gd name="T58" fmla="*/ 338 w 339"/>
                <a:gd name="T59" fmla="*/ 115 h 157"/>
                <a:gd name="T60" fmla="*/ 339 w 339"/>
                <a:gd name="T61" fmla="*/ 121 h 157"/>
                <a:gd name="T62" fmla="*/ 339 w 339"/>
                <a:gd name="T63" fmla="*/ 128 h 157"/>
                <a:gd name="T64" fmla="*/ 337 w 339"/>
                <a:gd name="T65" fmla="*/ 134 h 157"/>
                <a:gd name="T66" fmla="*/ 337 w 339"/>
                <a:gd name="T67" fmla="*/ 134 h 157"/>
                <a:gd name="T68" fmla="*/ 335 w 339"/>
                <a:gd name="T69" fmla="*/ 139 h 157"/>
                <a:gd name="T70" fmla="*/ 333 w 339"/>
                <a:gd name="T71" fmla="*/ 144 h 157"/>
                <a:gd name="T72" fmla="*/ 329 w 339"/>
                <a:gd name="T73" fmla="*/ 148 h 157"/>
                <a:gd name="T74" fmla="*/ 326 w 339"/>
                <a:gd name="T75" fmla="*/ 151 h 157"/>
                <a:gd name="T76" fmla="*/ 320 w 339"/>
                <a:gd name="T77" fmla="*/ 154 h 157"/>
                <a:gd name="T78" fmla="*/ 316 w 339"/>
                <a:gd name="T79" fmla="*/ 155 h 157"/>
                <a:gd name="T80" fmla="*/ 311 w 339"/>
                <a:gd name="T81" fmla="*/ 156 h 157"/>
                <a:gd name="T82" fmla="*/ 306 w 339"/>
                <a:gd name="T83" fmla="*/ 157 h 157"/>
                <a:gd name="T84" fmla="*/ 306 w 339"/>
                <a:gd name="T8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9" h="157">
                  <a:moveTo>
                    <a:pt x="306" y="157"/>
                  </a:moveTo>
                  <a:lnTo>
                    <a:pt x="306" y="157"/>
                  </a:lnTo>
                  <a:lnTo>
                    <a:pt x="301" y="156"/>
                  </a:lnTo>
                  <a:lnTo>
                    <a:pt x="296" y="155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16" y="62"/>
                  </a:lnTo>
                  <a:lnTo>
                    <a:pt x="11" y="58"/>
                  </a:lnTo>
                  <a:lnTo>
                    <a:pt x="7" y="52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5"/>
                  </a:lnTo>
                  <a:lnTo>
                    <a:pt x="0" y="29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16"/>
                  </a:lnTo>
                  <a:lnTo>
                    <a:pt x="8" y="11"/>
                  </a:lnTo>
                  <a:lnTo>
                    <a:pt x="12" y="7"/>
                  </a:lnTo>
                  <a:lnTo>
                    <a:pt x="18" y="3"/>
                  </a:lnTo>
                  <a:lnTo>
                    <a:pt x="23" y="1"/>
                  </a:lnTo>
                  <a:lnTo>
                    <a:pt x="30" y="0"/>
                  </a:lnTo>
                  <a:lnTo>
                    <a:pt x="37" y="0"/>
                  </a:lnTo>
                  <a:lnTo>
                    <a:pt x="43" y="2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22" y="95"/>
                  </a:lnTo>
                  <a:lnTo>
                    <a:pt x="328" y="99"/>
                  </a:lnTo>
                  <a:lnTo>
                    <a:pt x="332" y="103"/>
                  </a:lnTo>
                  <a:lnTo>
                    <a:pt x="336" y="109"/>
                  </a:lnTo>
                  <a:lnTo>
                    <a:pt x="338" y="115"/>
                  </a:lnTo>
                  <a:lnTo>
                    <a:pt x="339" y="121"/>
                  </a:lnTo>
                  <a:lnTo>
                    <a:pt x="339" y="128"/>
                  </a:lnTo>
                  <a:lnTo>
                    <a:pt x="337" y="134"/>
                  </a:lnTo>
                  <a:lnTo>
                    <a:pt x="337" y="134"/>
                  </a:lnTo>
                  <a:lnTo>
                    <a:pt x="335" y="139"/>
                  </a:lnTo>
                  <a:lnTo>
                    <a:pt x="333" y="144"/>
                  </a:lnTo>
                  <a:lnTo>
                    <a:pt x="329" y="148"/>
                  </a:lnTo>
                  <a:lnTo>
                    <a:pt x="326" y="151"/>
                  </a:lnTo>
                  <a:lnTo>
                    <a:pt x="320" y="154"/>
                  </a:lnTo>
                  <a:lnTo>
                    <a:pt x="316" y="155"/>
                  </a:lnTo>
                  <a:lnTo>
                    <a:pt x="311" y="156"/>
                  </a:lnTo>
                  <a:lnTo>
                    <a:pt x="306" y="157"/>
                  </a:lnTo>
                  <a:lnTo>
                    <a:pt x="306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  <p:sp>
          <p:nvSpPr>
            <p:cNvPr id="83" name="Freeform 840">
              <a:extLst>
                <a:ext uri="{FF2B5EF4-FFF2-40B4-BE49-F238E27FC236}">
                  <a16:creationId xmlns="" xmlns:a16="http://schemas.microsoft.com/office/drawing/2014/main" id="{06A9219E-A165-4476-BE0E-3360B52A8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2125" y="3635376"/>
              <a:ext cx="85725" cy="96838"/>
            </a:xfrm>
            <a:custGeom>
              <a:avLst/>
              <a:gdLst>
                <a:gd name="T0" fmla="*/ 32 w 377"/>
                <a:gd name="T1" fmla="*/ 429 h 429"/>
                <a:gd name="T2" fmla="*/ 32 w 377"/>
                <a:gd name="T3" fmla="*/ 429 h 429"/>
                <a:gd name="T4" fmla="*/ 27 w 377"/>
                <a:gd name="T5" fmla="*/ 428 h 429"/>
                <a:gd name="T6" fmla="*/ 22 w 377"/>
                <a:gd name="T7" fmla="*/ 427 h 429"/>
                <a:gd name="T8" fmla="*/ 16 w 377"/>
                <a:gd name="T9" fmla="*/ 425 h 429"/>
                <a:gd name="T10" fmla="*/ 12 w 377"/>
                <a:gd name="T11" fmla="*/ 421 h 429"/>
                <a:gd name="T12" fmla="*/ 12 w 377"/>
                <a:gd name="T13" fmla="*/ 421 h 429"/>
                <a:gd name="T14" fmla="*/ 7 w 377"/>
                <a:gd name="T15" fmla="*/ 417 h 429"/>
                <a:gd name="T16" fmla="*/ 3 w 377"/>
                <a:gd name="T17" fmla="*/ 410 h 429"/>
                <a:gd name="T18" fmla="*/ 1 w 377"/>
                <a:gd name="T19" fmla="*/ 404 h 429"/>
                <a:gd name="T20" fmla="*/ 0 w 377"/>
                <a:gd name="T21" fmla="*/ 398 h 429"/>
                <a:gd name="T22" fmla="*/ 0 w 377"/>
                <a:gd name="T23" fmla="*/ 392 h 429"/>
                <a:gd name="T24" fmla="*/ 1 w 377"/>
                <a:gd name="T25" fmla="*/ 386 h 429"/>
                <a:gd name="T26" fmla="*/ 3 w 377"/>
                <a:gd name="T27" fmla="*/ 380 h 429"/>
                <a:gd name="T28" fmla="*/ 8 w 377"/>
                <a:gd name="T29" fmla="*/ 374 h 429"/>
                <a:gd name="T30" fmla="*/ 318 w 377"/>
                <a:gd name="T31" fmla="*/ 12 h 429"/>
                <a:gd name="T32" fmla="*/ 318 w 377"/>
                <a:gd name="T33" fmla="*/ 12 h 429"/>
                <a:gd name="T34" fmla="*/ 323 w 377"/>
                <a:gd name="T35" fmla="*/ 7 h 429"/>
                <a:gd name="T36" fmla="*/ 329 w 377"/>
                <a:gd name="T37" fmla="*/ 4 h 429"/>
                <a:gd name="T38" fmla="*/ 335 w 377"/>
                <a:gd name="T39" fmla="*/ 1 h 429"/>
                <a:gd name="T40" fmla="*/ 341 w 377"/>
                <a:gd name="T41" fmla="*/ 0 h 429"/>
                <a:gd name="T42" fmla="*/ 347 w 377"/>
                <a:gd name="T43" fmla="*/ 0 h 429"/>
                <a:gd name="T44" fmla="*/ 354 w 377"/>
                <a:gd name="T45" fmla="*/ 1 h 429"/>
                <a:gd name="T46" fmla="*/ 359 w 377"/>
                <a:gd name="T47" fmla="*/ 5 h 429"/>
                <a:gd name="T48" fmla="*/ 366 w 377"/>
                <a:gd name="T49" fmla="*/ 8 h 429"/>
                <a:gd name="T50" fmla="*/ 366 w 377"/>
                <a:gd name="T51" fmla="*/ 8 h 429"/>
                <a:gd name="T52" fmla="*/ 370 w 377"/>
                <a:gd name="T53" fmla="*/ 13 h 429"/>
                <a:gd name="T54" fmla="*/ 373 w 377"/>
                <a:gd name="T55" fmla="*/ 18 h 429"/>
                <a:gd name="T56" fmla="*/ 376 w 377"/>
                <a:gd name="T57" fmla="*/ 24 h 429"/>
                <a:gd name="T58" fmla="*/ 377 w 377"/>
                <a:gd name="T59" fmla="*/ 30 h 429"/>
                <a:gd name="T60" fmla="*/ 376 w 377"/>
                <a:gd name="T61" fmla="*/ 37 h 429"/>
                <a:gd name="T62" fmla="*/ 375 w 377"/>
                <a:gd name="T63" fmla="*/ 43 h 429"/>
                <a:gd name="T64" fmla="*/ 373 w 377"/>
                <a:gd name="T65" fmla="*/ 49 h 429"/>
                <a:gd name="T66" fmla="*/ 369 w 377"/>
                <a:gd name="T67" fmla="*/ 54 h 429"/>
                <a:gd name="T68" fmla="*/ 58 w 377"/>
                <a:gd name="T69" fmla="*/ 418 h 429"/>
                <a:gd name="T70" fmla="*/ 58 w 377"/>
                <a:gd name="T71" fmla="*/ 418 h 429"/>
                <a:gd name="T72" fmla="*/ 52 w 377"/>
                <a:gd name="T73" fmla="*/ 423 h 429"/>
                <a:gd name="T74" fmla="*/ 47 w 377"/>
                <a:gd name="T75" fmla="*/ 426 h 429"/>
                <a:gd name="T76" fmla="*/ 40 w 377"/>
                <a:gd name="T77" fmla="*/ 428 h 429"/>
                <a:gd name="T78" fmla="*/ 32 w 377"/>
                <a:gd name="T79" fmla="*/ 429 h 429"/>
                <a:gd name="T80" fmla="*/ 32 w 377"/>
                <a:gd name="T81" fmla="*/ 429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7" h="429">
                  <a:moveTo>
                    <a:pt x="32" y="429"/>
                  </a:moveTo>
                  <a:lnTo>
                    <a:pt x="32" y="429"/>
                  </a:lnTo>
                  <a:lnTo>
                    <a:pt x="27" y="428"/>
                  </a:lnTo>
                  <a:lnTo>
                    <a:pt x="22" y="427"/>
                  </a:lnTo>
                  <a:lnTo>
                    <a:pt x="16" y="425"/>
                  </a:lnTo>
                  <a:lnTo>
                    <a:pt x="12" y="421"/>
                  </a:lnTo>
                  <a:lnTo>
                    <a:pt x="12" y="421"/>
                  </a:lnTo>
                  <a:lnTo>
                    <a:pt x="7" y="417"/>
                  </a:lnTo>
                  <a:lnTo>
                    <a:pt x="3" y="410"/>
                  </a:lnTo>
                  <a:lnTo>
                    <a:pt x="1" y="404"/>
                  </a:lnTo>
                  <a:lnTo>
                    <a:pt x="0" y="398"/>
                  </a:lnTo>
                  <a:lnTo>
                    <a:pt x="0" y="392"/>
                  </a:lnTo>
                  <a:lnTo>
                    <a:pt x="1" y="386"/>
                  </a:lnTo>
                  <a:lnTo>
                    <a:pt x="3" y="380"/>
                  </a:lnTo>
                  <a:lnTo>
                    <a:pt x="8" y="374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23" y="7"/>
                  </a:lnTo>
                  <a:lnTo>
                    <a:pt x="329" y="4"/>
                  </a:lnTo>
                  <a:lnTo>
                    <a:pt x="335" y="1"/>
                  </a:lnTo>
                  <a:lnTo>
                    <a:pt x="341" y="0"/>
                  </a:lnTo>
                  <a:lnTo>
                    <a:pt x="347" y="0"/>
                  </a:lnTo>
                  <a:lnTo>
                    <a:pt x="354" y="1"/>
                  </a:lnTo>
                  <a:lnTo>
                    <a:pt x="359" y="5"/>
                  </a:lnTo>
                  <a:lnTo>
                    <a:pt x="366" y="8"/>
                  </a:lnTo>
                  <a:lnTo>
                    <a:pt x="366" y="8"/>
                  </a:lnTo>
                  <a:lnTo>
                    <a:pt x="370" y="13"/>
                  </a:lnTo>
                  <a:lnTo>
                    <a:pt x="373" y="18"/>
                  </a:lnTo>
                  <a:lnTo>
                    <a:pt x="376" y="24"/>
                  </a:lnTo>
                  <a:lnTo>
                    <a:pt x="377" y="30"/>
                  </a:lnTo>
                  <a:lnTo>
                    <a:pt x="376" y="37"/>
                  </a:lnTo>
                  <a:lnTo>
                    <a:pt x="375" y="43"/>
                  </a:lnTo>
                  <a:lnTo>
                    <a:pt x="373" y="49"/>
                  </a:lnTo>
                  <a:lnTo>
                    <a:pt x="369" y="54"/>
                  </a:lnTo>
                  <a:lnTo>
                    <a:pt x="58" y="418"/>
                  </a:lnTo>
                  <a:lnTo>
                    <a:pt x="58" y="418"/>
                  </a:lnTo>
                  <a:lnTo>
                    <a:pt x="52" y="423"/>
                  </a:lnTo>
                  <a:lnTo>
                    <a:pt x="47" y="426"/>
                  </a:lnTo>
                  <a:lnTo>
                    <a:pt x="40" y="428"/>
                  </a:lnTo>
                  <a:lnTo>
                    <a:pt x="32" y="429"/>
                  </a:lnTo>
                  <a:lnTo>
                    <a:pt x="32" y="4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52D74"/>
                </a:solidFill>
              </a:endParaRPr>
            </a:p>
          </p:txBody>
        </p:sp>
      </p:grpSp>
      <p:cxnSp>
        <p:nvCxnSpPr>
          <p:cNvPr id="84" name="Connector: Elbow 34">
            <a:extLst>
              <a:ext uri="{FF2B5EF4-FFF2-40B4-BE49-F238E27FC236}">
                <a16:creationId xmlns="" xmlns:a16="http://schemas.microsoft.com/office/drawing/2014/main" id="{EB623C3B-9420-4457-AE23-2AF57004776E}"/>
              </a:ext>
            </a:extLst>
          </p:cNvPr>
          <p:cNvCxnSpPr>
            <a:cxnSpLocks/>
            <a:stCxn id="15" idx="0"/>
            <a:endCxn id="10" idx="3"/>
          </p:cNvCxnSpPr>
          <p:nvPr/>
        </p:nvCxnSpPr>
        <p:spPr>
          <a:xfrm rot="16200000" flipV="1">
            <a:off x="4057210" y="654738"/>
            <a:ext cx="144767" cy="1789690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189">
            <a:extLst>
              <a:ext uri="{FF2B5EF4-FFF2-40B4-BE49-F238E27FC236}">
                <a16:creationId xmlns="" xmlns:a16="http://schemas.microsoft.com/office/drawing/2014/main" id="{3C9E9346-2247-4876-8E27-C49D09632B95}"/>
              </a:ext>
            </a:extLst>
          </p:cNvPr>
          <p:cNvCxnSpPr>
            <a:cxnSpLocks/>
            <a:stCxn id="19" idx="0"/>
            <a:endCxn id="7" idx="1"/>
          </p:cNvCxnSpPr>
          <p:nvPr/>
        </p:nvCxnSpPr>
        <p:spPr>
          <a:xfrm rot="5400000" flipH="1" flipV="1">
            <a:off x="7668620" y="323713"/>
            <a:ext cx="801961" cy="1794547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51">
            <a:extLst>
              <a:ext uri="{FF2B5EF4-FFF2-40B4-BE49-F238E27FC236}">
                <a16:creationId xmlns="" xmlns:a16="http://schemas.microsoft.com/office/drawing/2014/main" id="{04F2447C-3FFD-477F-BCB0-C1A66D2EA076}"/>
              </a:ext>
            </a:extLst>
          </p:cNvPr>
          <p:cNvCxnSpPr>
            <a:cxnSpLocks/>
            <a:stCxn id="16" idx="4"/>
            <a:endCxn id="13" idx="3"/>
          </p:cNvCxnSpPr>
          <p:nvPr/>
        </p:nvCxnSpPr>
        <p:spPr>
          <a:xfrm rot="5400000">
            <a:off x="3900499" y="4303581"/>
            <a:ext cx="458189" cy="1789690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53">
            <a:extLst>
              <a:ext uri="{FF2B5EF4-FFF2-40B4-BE49-F238E27FC236}">
                <a16:creationId xmlns="" xmlns:a16="http://schemas.microsoft.com/office/drawing/2014/main" id="{7E9337C2-DB09-4152-99F2-BA067E7CE271}"/>
              </a:ext>
            </a:extLst>
          </p:cNvPr>
          <p:cNvCxnSpPr>
            <a:cxnSpLocks/>
            <a:stCxn id="22" idx="4"/>
            <a:endCxn id="14" idx="1"/>
          </p:cNvCxnSpPr>
          <p:nvPr/>
        </p:nvCxnSpPr>
        <p:spPr>
          <a:xfrm rot="16200000" flipH="1">
            <a:off x="7895132" y="4246527"/>
            <a:ext cx="333539" cy="1779148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="" xmlns:a16="http://schemas.microsoft.com/office/drawing/2014/main" id="{374973FC-A920-43CE-B2F6-8CCE6324FA1B}"/>
              </a:ext>
            </a:extLst>
          </p:cNvPr>
          <p:cNvCxnSpPr>
            <a:cxnSpLocks/>
            <a:stCxn id="17" idx="2"/>
            <a:endCxn id="11" idx="3"/>
          </p:cNvCxnSpPr>
          <p:nvPr/>
        </p:nvCxnSpPr>
        <p:spPr>
          <a:xfrm flipH="1" flipV="1">
            <a:off x="3225126" y="2684752"/>
            <a:ext cx="989803" cy="474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="" xmlns:a16="http://schemas.microsoft.com/office/drawing/2014/main" id="{AB9768E4-88D7-4D6E-8437-A8963E914FDA}"/>
              </a:ext>
            </a:extLst>
          </p:cNvPr>
          <p:cNvCxnSpPr>
            <a:cxnSpLocks/>
            <a:stCxn id="18" idx="2"/>
            <a:endCxn id="12" idx="3"/>
          </p:cNvCxnSpPr>
          <p:nvPr/>
        </p:nvCxnSpPr>
        <p:spPr>
          <a:xfrm flipH="1">
            <a:off x="3256537" y="3901800"/>
            <a:ext cx="958392" cy="2012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="" xmlns:a16="http://schemas.microsoft.com/office/drawing/2014/main" id="{B800FC37-0D52-483D-B15F-8E836E7CCEF4}"/>
              </a:ext>
            </a:extLst>
          </p:cNvPr>
          <p:cNvCxnSpPr>
            <a:cxnSpLocks/>
            <a:stCxn id="8" idx="1"/>
            <a:endCxn id="20" idx="6"/>
          </p:cNvCxnSpPr>
          <p:nvPr/>
        </p:nvCxnSpPr>
        <p:spPr>
          <a:xfrm flipH="1" flipV="1">
            <a:off x="7861821" y="2392012"/>
            <a:ext cx="1163439" cy="1441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="" xmlns:a16="http://schemas.microsoft.com/office/drawing/2014/main" id="{A6BB0945-B0ED-42DC-B4F6-FB1E12693B52}"/>
              </a:ext>
            </a:extLst>
          </p:cNvPr>
          <p:cNvCxnSpPr>
            <a:cxnSpLocks/>
            <a:stCxn id="9" idx="1"/>
            <a:endCxn id="21" idx="6"/>
          </p:cNvCxnSpPr>
          <p:nvPr/>
        </p:nvCxnSpPr>
        <p:spPr>
          <a:xfrm flipH="1" flipV="1">
            <a:off x="7861821" y="4204876"/>
            <a:ext cx="1101861" cy="1909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itle 16">
            <a:extLst>
              <a:ext uri="{FF2B5EF4-FFF2-40B4-BE49-F238E27FC236}">
                <a16:creationId xmlns="" xmlns:a16="http://schemas.microsoft.com/office/drawing/2014/main" id="{997E9E7B-E860-4F1B-9858-0307F429EBF0}"/>
              </a:ext>
            </a:extLst>
          </p:cNvPr>
          <p:cNvSpPr txBox="1">
            <a:spLocks/>
          </p:cNvSpPr>
          <p:nvPr/>
        </p:nvSpPr>
        <p:spPr>
          <a:xfrm>
            <a:off x="5172077" y="2963252"/>
            <a:ext cx="1847848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652D74"/>
                </a:solidFill>
                <a:latin typeface="Times"/>
                <a:cs typeface="Times"/>
              </a:rPr>
              <a:t>Framework for  8  weeks</a:t>
            </a:r>
            <a:endParaRPr lang="en-US" sz="2400" dirty="0">
              <a:solidFill>
                <a:srgbClr val="652D74"/>
              </a:solidFill>
              <a:latin typeface="Times"/>
              <a:cs typeface="Times"/>
            </a:endParaRPr>
          </a:p>
        </p:txBody>
      </p:sp>
    </p:spTree>
    <p:extLst>
      <p:ext uri="{BB962C8B-B14F-4D97-AF65-F5344CB8AC3E}">
        <p14:creationId xmlns:p14="http://schemas.microsoft.com/office/powerpoint/2010/main" val="17617384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5678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78514" y="1480457"/>
            <a:ext cx="947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journe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3430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523" y="357815"/>
            <a:ext cx="11370212" cy="628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831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217" y="1040146"/>
            <a:ext cx="10140463" cy="570401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692769" y="270705"/>
            <a:ext cx="346017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ER DIAGRAM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419782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015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6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xmlns="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866274" y="208093"/>
            <a:ext cx="10106526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-COMMERCE WEB APPLICATION</a:t>
            </a:r>
            <a:endParaRPr 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37938" y="1395664"/>
            <a:ext cx="98979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rgbClr val="002060"/>
                </a:solidFill>
              </a:rPr>
              <a:t>E-COMMERCE web application performs basic CRUD operations</a:t>
            </a:r>
            <a:endParaRPr lang="en-US" sz="2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585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Zw2iL.2yQ.KwK62gA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rGeVB2J0.11dNmX_wK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BZtSHR3OuSJzhCtKm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52D74"/>
      </a:accent1>
      <a:accent2>
        <a:srgbClr val="A53975"/>
      </a:accent2>
      <a:accent3>
        <a:srgbClr val="1F8492"/>
      </a:accent3>
      <a:accent4>
        <a:srgbClr val="DBCBD8"/>
      </a:accent4>
      <a:accent5>
        <a:srgbClr val="564787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2437B"/>
      </a:accent1>
      <a:accent2>
        <a:srgbClr val="FF7A8A"/>
      </a:accent2>
      <a:accent3>
        <a:srgbClr val="FCF594"/>
      </a:accent3>
      <a:accent4>
        <a:srgbClr val="52437B"/>
      </a:accent4>
      <a:accent5>
        <a:srgbClr val="FF7A8A"/>
      </a:accent5>
      <a:accent6>
        <a:srgbClr val="FCF594"/>
      </a:accent6>
      <a:hlink>
        <a:srgbClr val="0563C1"/>
      </a:hlink>
      <a:folHlink>
        <a:srgbClr val="954F72"/>
      </a:folHlink>
    </a:clrScheme>
    <a:fontScheme name="Custom 1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3</TotalTime>
  <Words>740</Words>
  <Application>Microsoft Office PowerPoint</Application>
  <PresentationFormat>Widescreen</PresentationFormat>
  <Paragraphs>111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Calibri</vt:lpstr>
      <vt:lpstr>Century Gothic</vt:lpstr>
      <vt:lpstr>Segoe UI</vt:lpstr>
      <vt:lpstr>Times</vt:lpstr>
      <vt:lpstr>Times New Roman</vt:lpstr>
      <vt:lpstr>Wingdings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etitor Analysis</vt:lpstr>
      <vt:lpstr>SWOT Analysis </vt:lpstr>
      <vt:lpstr>Marketing Plan</vt:lpstr>
      <vt:lpstr>Financial Planning</vt:lpstr>
      <vt:lpstr>Operation</vt:lpstr>
      <vt:lpstr>Executive Summary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NALD</dc:creator>
  <cp:lastModifiedBy>slk</cp:lastModifiedBy>
  <cp:revision>148</cp:revision>
  <dcterms:created xsi:type="dcterms:W3CDTF">2019-05-28T07:34:16Z</dcterms:created>
  <dcterms:modified xsi:type="dcterms:W3CDTF">2020-01-16T12:35:09Z</dcterms:modified>
</cp:coreProperties>
</file>